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2.xml" ContentType="application/vnd.openxmlformats-officedocument.them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3.xml" ContentType="application/vnd.openxmlformats-officedocument.theme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4.xml" ContentType="application/vnd.openxmlformats-officedocument.theme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5.xml" ContentType="application/vnd.openxmlformats-officedocument.theme+xml"/>
  <Override PartName="/ppt/tags/tag967.xml" ContentType="application/vnd.openxmlformats-officedocument.presentationml.tags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6.xml" ContentType="application/vnd.openxmlformats-officedocument.theme+xml"/>
  <Override PartName="/ppt/tags/tag968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theme/theme7.xml" ContentType="application/vnd.openxmlformats-officedocument.theme+xml"/>
  <Override PartName="/ppt/tags/tag969.xml" ContentType="application/vnd.openxmlformats-officedocument.presentationml.tags+xml"/>
  <Override PartName="/ppt/theme/theme8.xml" ContentType="application/vnd.openxmlformats-officedocument.theme+xml"/>
  <Override PartName="/ppt/tags/tag970.xml" ContentType="application/vnd.openxmlformats-officedocument.presentationml.tags+xml"/>
  <Override PartName="/ppt/notesSlides/notesSlide1.xml" ContentType="application/vnd.openxmlformats-officedocument.presentationml.notesSlide+xml"/>
  <Override PartName="/ppt/tags/tag97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972.xml" ContentType="application/vnd.openxmlformats-officedocument.presentationml.tags+xml"/>
  <Override PartName="/ppt/notesSlides/notesSlide4.xml" ContentType="application/vnd.openxmlformats-officedocument.presentationml.notesSlide+xml"/>
  <Override PartName="/ppt/tags/tag973.xml" ContentType="application/vnd.openxmlformats-officedocument.presentationml.tags+xml"/>
  <Override PartName="/ppt/notesSlides/notesSlide5.xml" ContentType="application/vnd.openxmlformats-officedocument.presentationml.notesSlide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tags/tag988.xml" ContentType="application/vnd.openxmlformats-officedocument.presentationml.tags+xml"/>
  <Override PartName="/ppt/notesSlides/notesSlide7.xml" ContentType="application/vnd.openxmlformats-officedocument.presentationml.notesSlide+xml"/>
  <Override PartName="/ppt/tags/tag989.xml" ContentType="application/vnd.openxmlformats-officedocument.presentationml.tags+xml"/>
  <Override PartName="/ppt/notesSlides/notesSlide8.xml" ContentType="application/vnd.openxmlformats-officedocument.presentationml.notesSlide+xml"/>
  <Override PartName="/ppt/tags/tag990.xml" ContentType="application/vnd.openxmlformats-officedocument.presentationml.tags+xml"/>
  <Override PartName="/ppt/notesSlides/notesSlide9.xml" ContentType="application/vnd.openxmlformats-officedocument.presentationml.notesSlide+xml"/>
  <Override PartName="/ppt/tags/tag991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016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017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018.xml" ContentType="application/vnd.openxmlformats-officedocument.presentationml.tags+xml"/>
  <Override PartName="/ppt/notesSlides/notesSlide14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019.xml" ContentType="application/vnd.openxmlformats-officedocument.presentationml.tags+xml"/>
  <Override PartName="/ppt/notesSlides/notesSlide1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1043.xml" ContentType="application/vnd.openxmlformats-officedocument.presentationml.tags+xml"/>
  <Override PartName="/ppt/notesSlides/notesSlide17.xml" ContentType="application/vnd.openxmlformats-officedocument.presentationml.notesSlide+xml"/>
  <Override PartName="/ppt/tags/tag1044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3" r:id="rId38"/>
    <p:sldMasterId id="2147483705" r:id="rId39"/>
    <p:sldMasterId id="2147483737" r:id="rId40"/>
    <p:sldMasterId id="2147483773" r:id="rId41"/>
    <p:sldMasterId id="2147483807" r:id="rId42"/>
    <p:sldMasterId id="2147483873" r:id="rId43"/>
    <p:sldMasterId id="2147483924" r:id="rId44"/>
  </p:sldMasterIdLst>
  <p:notesMasterIdLst>
    <p:notesMasterId r:id="rId70"/>
  </p:notesMasterIdLst>
  <p:sldIdLst>
    <p:sldId id="5149" r:id="rId45"/>
    <p:sldId id="2147348039" r:id="rId46"/>
    <p:sldId id="257" r:id="rId47"/>
    <p:sldId id="2147348022" r:id="rId48"/>
    <p:sldId id="2147348059" r:id="rId49"/>
    <p:sldId id="2147348065" r:id="rId50"/>
    <p:sldId id="2147348048" r:id="rId51"/>
    <p:sldId id="2147348063" r:id="rId52"/>
    <p:sldId id="2147348034" r:id="rId53"/>
    <p:sldId id="2147348033" r:id="rId54"/>
    <p:sldId id="2147348024" r:id="rId55"/>
    <p:sldId id="2147348036" r:id="rId56"/>
    <p:sldId id="2147348061" r:id="rId57"/>
    <p:sldId id="2147348032" r:id="rId58"/>
    <p:sldId id="2147348031" r:id="rId59"/>
    <p:sldId id="2147348013" r:id="rId60"/>
    <p:sldId id="2147348035" r:id="rId61"/>
    <p:sldId id="2147348060" r:id="rId62"/>
    <p:sldId id="2147348029" r:id="rId63"/>
    <p:sldId id="2147348003" r:id="rId64"/>
    <p:sldId id="2147348044" r:id="rId65"/>
    <p:sldId id="2147347998" r:id="rId66"/>
    <p:sldId id="2147347988" r:id="rId67"/>
    <p:sldId id="2147348043" r:id="rId68"/>
    <p:sldId id="272" r:id="rId69"/>
  </p:sldIdLst>
  <p:sldSz cx="12192000" cy="6858000"/>
  <p:notesSz cx="6858000" cy="9144000"/>
  <p:custDataLst>
    <p:custData r:id="rId5"/>
    <p:tags r:id="rId71"/>
  </p:custDataLst>
  <p:defaultTextStyle>
    <a:defPPr>
      <a:defRPr lang="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2EDB918-7E87-4231-A64C-AB7052EC6950}">
          <p14:sldIdLst>
            <p14:sldId id="5149"/>
            <p14:sldId id="2147348039"/>
            <p14:sldId id="257"/>
            <p14:sldId id="2147348022"/>
            <p14:sldId id="2147348059"/>
            <p14:sldId id="2147348065"/>
            <p14:sldId id="2147348048"/>
            <p14:sldId id="2147348063"/>
            <p14:sldId id="2147348034"/>
            <p14:sldId id="2147348033"/>
            <p14:sldId id="2147348024"/>
            <p14:sldId id="2147348036"/>
            <p14:sldId id="2147348061"/>
            <p14:sldId id="2147348032"/>
            <p14:sldId id="2147348031"/>
            <p14:sldId id="2147348013"/>
            <p14:sldId id="2147348035"/>
            <p14:sldId id="2147348060"/>
            <p14:sldId id="2147348029"/>
            <p14:sldId id="2147348003"/>
            <p14:sldId id="2147348044"/>
            <p14:sldId id="2147347998"/>
            <p14:sldId id="2147347988"/>
            <p14:sldId id="2147348043"/>
            <p14:sldId id="27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DA678BF-F811-C8E3-B016-BC15B7D237D6}" name="Shubhojeet Chakravarty (IN)" initials="S(" userId="S::shubhojeet.chakravarty@pwc.com::4e3963b2-2d3d-4185-a1e3-131fb8bedf7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0505"/>
    <a:srgbClr val="F9D5D2"/>
    <a:srgbClr val="BB2740"/>
    <a:srgbClr val="464646"/>
    <a:srgbClr val="C00000"/>
    <a:srgbClr val="FFE9C8"/>
    <a:srgbClr val="D04A02"/>
    <a:srgbClr val="000000"/>
    <a:srgbClr val="FFB600"/>
    <a:srgbClr val="DB53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075" autoAdjust="0"/>
  </p:normalViewPr>
  <p:slideViewPr>
    <p:cSldViewPr snapToGrid="0">
      <p:cViewPr>
        <p:scale>
          <a:sx n="62" d="100"/>
          <a:sy n="62" d="100"/>
        </p:scale>
        <p:origin x="80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slideMaster" Target="slideMasters/slideMaster5.xml"/><Relationship Id="rId47" Type="http://schemas.openxmlformats.org/officeDocument/2006/relationships/slide" Target="slides/slide3.xml"/><Relationship Id="rId63" Type="http://schemas.openxmlformats.org/officeDocument/2006/relationships/slide" Target="slides/slide19.xml"/><Relationship Id="rId68" Type="http://schemas.openxmlformats.org/officeDocument/2006/relationships/slide" Target="slides/slide24.xml"/><Relationship Id="rId16" Type="http://schemas.openxmlformats.org/officeDocument/2006/relationships/customXml" Target="../customXml/item1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slideMaster" Target="slideMasters/slideMaster3.xml"/><Relationship Id="rId45" Type="http://schemas.openxmlformats.org/officeDocument/2006/relationships/slide" Target="slides/slide1.xml"/><Relationship Id="rId53" Type="http://schemas.openxmlformats.org/officeDocument/2006/relationships/slide" Target="slides/slide9.xml"/><Relationship Id="rId58" Type="http://schemas.openxmlformats.org/officeDocument/2006/relationships/slide" Target="slides/slide14.xml"/><Relationship Id="rId66" Type="http://schemas.openxmlformats.org/officeDocument/2006/relationships/slide" Target="slides/slide22.xml"/><Relationship Id="rId74" Type="http://schemas.openxmlformats.org/officeDocument/2006/relationships/theme" Target="theme/theme1.xml"/><Relationship Id="rId5" Type="http://schemas.openxmlformats.org/officeDocument/2006/relationships/customXml" Target="../customXml/item5.xml"/><Relationship Id="rId61" Type="http://schemas.openxmlformats.org/officeDocument/2006/relationships/slide" Target="slides/slide17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slideMaster" Target="slideMasters/slideMaster6.xml"/><Relationship Id="rId48" Type="http://schemas.openxmlformats.org/officeDocument/2006/relationships/slide" Target="slides/slide4.xml"/><Relationship Id="rId56" Type="http://schemas.openxmlformats.org/officeDocument/2006/relationships/slide" Target="slides/slide12.xml"/><Relationship Id="rId64" Type="http://schemas.openxmlformats.org/officeDocument/2006/relationships/slide" Target="slides/slide20.xml"/><Relationship Id="rId69" Type="http://schemas.openxmlformats.org/officeDocument/2006/relationships/slide" Target="slides/slide25.xml"/><Relationship Id="rId77" Type="http://schemas.microsoft.com/office/2018/10/relationships/authors" Target="authors.xml"/><Relationship Id="rId8" Type="http://schemas.openxmlformats.org/officeDocument/2006/relationships/customXml" Target="../customXml/item8.xml"/><Relationship Id="rId51" Type="http://schemas.openxmlformats.org/officeDocument/2006/relationships/slide" Target="slides/slide7.xml"/><Relationship Id="rId72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slideMaster" Target="slideMasters/slideMaster1.xml"/><Relationship Id="rId46" Type="http://schemas.openxmlformats.org/officeDocument/2006/relationships/slide" Target="slides/slide2.xml"/><Relationship Id="rId59" Type="http://schemas.openxmlformats.org/officeDocument/2006/relationships/slide" Target="slides/slide15.xml"/><Relationship Id="rId67" Type="http://schemas.openxmlformats.org/officeDocument/2006/relationships/slide" Target="slides/slide23.xml"/><Relationship Id="rId20" Type="http://schemas.openxmlformats.org/officeDocument/2006/relationships/customXml" Target="../customXml/item20.xml"/><Relationship Id="rId41" Type="http://schemas.openxmlformats.org/officeDocument/2006/relationships/slideMaster" Target="slideMasters/slideMaster4.xml"/><Relationship Id="rId54" Type="http://schemas.openxmlformats.org/officeDocument/2006/relationships/slide" Target="slides/slide10.xml"/><Relationship Id="rId62" Type="http://schemas.openxmlformats.org/officeDocument/2006/relationships/slide" Target="slides/slide18.xml"/><Relationship Id="rId70" Type="http://schemas.openxmlformats.org/officeDocument/2006/relationships/notesMaster" Target="notesMasters/notesMaster1.xml"/><Relationship Id="rId75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slide" Target="slides/slide5.xml"/><Relationship Id="rId57" Type="http://schemas.openxmlformats.org/officeDocument/2006/relationships/slide" Target="slides/slide13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slideMaster" Target="slideMasters/slideMaster7.xml"/><Relationship Id="rId52" Type="http://schemas.openxmlformats.org/officeDocument/2006/relationships/slide" Target="slides/slide8.xml"/><Relationship Id="rId60" Type="http://schemas.openxmlformats.org/officeDocument/2006/relationships/slide" Target="slides/slide16.xml"/><Relationship Id="rId65" Type="http://schemas.openxmlformats.org/officeDocument/2006/relationships/slide" Target="slides/slide21.xml"/><Relationship Id="rId73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slideMaster" Target="slideMasters/slideMaster2.xml"/><Relationship Id="rId34" Type="http://schemas.openxmlformats.org/officeDocument/2006/relationships/customXml" Target="../customXml/item34.xml"/><Relationship Id="rId50" Type="http://schemas.openxmlformats.org/officeDocument/2006/relationships/slide" Target="slides/slide6.xml"/><Relationship Id="rId55" Type="http://schemas.openxmlformats.org/officeDocument/2006/relationships/slide" Target="slides/slide11.xml"/><Relationship Id="rId76" Type="http://schemas.microsoft.com/office/2016/11/relationships/changesInfo" Target="changesInfos/changesInfo1.xml"/><Relationship Id="rId7" Type="http://schemas.openxmlformats.org/officeDocument/2006/relationships/customXml" Target="../customXml/item7.xml"/><Relationship Id="rId71" Type="http://schemas.openxmlformats.org/officeDocument/2006/relationships/tags" Target="tags/tag1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Xinglan Hu" userId="61035392-b8e6-43fa-b39d-a05287957c90" providerId="ADAL" clId="{CEF7E2A8-73A4-4690-8985-26CCE759EB60}"/>
    <pc:docChg chg="undo custSel modSld">
      <pc:chgData name="Xinglan Hu" userId="61035392-b8e6-43fa-b39d-a05287957c90" providerId="ADAL" clId="{CEF7E2A8-73A4-4690-8985-26CCE759EB60}" dt="2023-09-05T05:58:33.719" v="96" actId="20577"/>
      <pc:docMkLst>
        <pc:docMk/>
      </pc:docMkLst>
      <pc:sldChg chg="modSp mod">
        <pc:chgData name="Xinglan Hu" userId="61035392-b8e6-43fa-b39d-a05287957c90" providerId="ADAL" clId="{CEF7E2A8-73A4-4690-8985-26CCE759EB60}" dt="2023-09-05T05:47:07.597" v="11" actId="20577"/>
        <pc:sldMkLst>
          <pc:docMk/>
          <pc:sldMk cId="0" sldId="257"/>
        </pc:sldMkLst>
        <pc:spChg chg="mod">
          <ac:chgData name="Xinglan Hu" userId="61035392-b8e6-43fa-b39d-a05287957c90" providerId="ADAL" clId="{CEF7E2A8-73A4-4690-8985-26CCE759EB60}" dt="2023-09-05T05:46:49.925" v="3" actId="20577"/>
          <ac:spMkLst>
            <pc:docMk/>
            <pc:sldMk cId="0" sldId="257"/>
            <ac:spMk id="26" creationId="{E90608CF-2B67-4E7F-9B70-F539F438F144}"/>
          </ac:spMkLst>
        </pc:spChg>
        <pc:spChg chg="mod">
          <ac:chgData name="Xinglan Hu" userId="61035392-b8e6-43fa-b39d-a05287957c90" providerId="ADAL" clId="{CEF7E2A8-73A4-4690-8985-26CCE759EB60}" dt="2023-09-05T05:47:00.584" v="7" actId="20577"/>
          <ac:spMkLst>
            <pc:docMk/>
            <pc:sldMk cId="0" sldId="257"/>
            <ac:spMk id="30" creationId="{C9AB18D2-031E-4451-8CDB-5C35ABCCBF57}"/>
          </ac:spMkLst>
        </pc:spChg>
        <pc:spChg chg="mod">
          <ac:chgData name="Xinglan Hu" userId="61035392-b8e6-43fa-b39d-a05287957c90" providerId="ADAL" clId="{CEF7E2A8-73A4-4690-8985-26CCE759EB60}" dt="2023-09-05T05:47:07.597" v="11" actId="20577"/>
          <ac:spMkLst>
            <pc:docMk/>
            <pc:sldMk cId="0" sldId="257"/>
            <ac:spMk id="38" creationId="{EC0C8A2B-23B8-411E-9435-6C49090456EE}"/>
          </ac:spMkLst>
        </pc:spChg>
        <pc:spChg chg="mod">
          <ac:chgData name="Xinglan Hu" userId="61035392-b8e6-43fa-b39d-a05287957c90" providerId="ADAL" clId="{CEF7E2A8-73A4-4690-8985-26CCE759EB60}" dt="2023-09-05T05:46:54.695" v="5" actId="20577"/>
          <ac:spMkLst>
            <pc:docMk/>
            <pc:sldMk cId="0" sldId="257"/>
            <ac:spMk id="39" creationId="{C191A723-D20E-431A-B531-EA05667C76ED}"/>
          </ac:spMkLst>
        </pc:spChg>
        <pc:spChg chg="mod">
          <ac:chgData name="Xinglan Hu" userId="61035392-b8e6-43fa-b39d-a05287957c90" providerId="ADAL" clId="{CEF7E2A8-73A4-4690-8985-26CCE759EB60}" dt="2023-09-05T05:46:46.785" v="1" actId="20577"/>
          <ac:spMkLst>
            <pc:docMk/>
            <pc:sldMk cId="0" sldId="257"/>
            <ac:spMk id="71" creationId="{5E08A3F0-2CD2-4E62-9783-0F492F274868}"/>
          </ac:spMkLst>
        </pc:spChg>
        <pc:spChg chg="mod">
          <ac:chgData name="Xinglan Hu" userId="61035392-b8e6-43fa-b39d-a05287957c90" providerId="ADAL" clId="{CEF7E2A8-73A4-4690-8985-26CCE759EB60}" dt="2023-09-05T05:47:03.754" v="9" actId="20577"/>
          <ac:spMkLst>
            <pc:docMk/>
            <pc:sldMk cId="0" sldId="257"/>
            <ac:spMk id="73" creationId="{387A40F4-096E-4D27-AB75-BEC21287E1FC}"/>
          </ac:spMkLst>
        </pc:spChg>
      </pc:sldChg>
      <pc:sldChg chg="modSp mod">
        <pc:chgData name="Xinglan Hu" userId="61035392-b8e6-43fa-b39d-a05287957c90" providerId="ADAL" clId="{CEF7E2A8-73A4-4690-8985-26CCE759EB60}" dt="2023-09-05T05:58:33.719" v="96" actId="20577"/>
        <pc:sldMkLst>
          <pc:docMk/>
          <pc:sldMk cId="2952679768" sldId="272"/>
        </pc:sldMkLst>
        <pc:spChg chg="mod">
          <ac:chgData name="Xinglan Hu" userId="61035392-b8e6-43fa-b39d-a05287957c90" providerId="ADAL" clId="{CEF7E2A8-73A4-4690-8985-26CCE759EB60}" dt="2023-09-05T05:58:33.719" v="96" actId="20577"/>
          <ac:spMkLst>
            <pc:docMk/>
            <pc:sldMk cId="2952679768" sldId="272"/>
            <ac:spMk id="2" creationId="{00000000-0000-0000-0000-000000000000}"/>
          </ac:spMkLst>
        </pc:spChg>
      </pc:sldChg>
      <pc:sldChg chg="modSp mod">
        <pc:chgData name="Xinglan Hu" userId="61035392-b8e6-43fa-b39d-a05287957c90" providerId="ADAL" clId="{CEF7E2A8-73A4-4690-8985-26CCE759EB60}" dt="2023-09-05T05:52:24.739" v="84" actId="20577"/>
        <pc:sldMkLst>
          <pc:docMk/>
          <pc:sldMk cId="1408224408" sldId="2147347988"/>
        </pc:sldMkLst>
        <pc:spChg chg="mod">
          <ac:chgData name="Xinglan Hu" userId="61035392-b8e6-43fa-b39d-a05287957c90" providerId="ADAL" clId="{CEF7E2A8-73A4-4690-8985-26CCE759EB60}" dt="2023-09-05T05:52:24.739" v="84" actId="20577"/>
          <ac:spMkLst>
            <pc:docMk/>
            <pc:sldMk cId="1408224408" sldId="2147347988"/>
            <ac:spMk id="37" creationId="{7A8A06F4-EDC1-4CC3-9433-DDBAAC98CF3B}"/>
          </ac:spMkLst>
        </pc:spChg>
        <pc:spChg chg="mod">
          <ac:chgData name="Xinglan Hu" userId="61035392-b8e6-43fa-b39d-a05287957c90" providerId="ADAL" clId="{CEF7E2A8-73A4-4690-8985-26CCE759EB60}" dt="2023-09-05T05:51:44.812" v="77" actId="20577"/>
          <ac:spMkLst>
            <pc:docMk/>
            <pc:sldMk cId="1408224408" sldId="2147347988"/>
            <ac:spMk id="79" creationId="{1AB6B992-7EFE-47E7-B708-6DFE940955CF}"/>
          </ac:spMkLst>
        </pc:spChg>
        <pc:spChg chg="mod">
          <ac:chgData name="Xinglan Hu" userId="61035392-b8e6-43fa-b39d-a05287957c90" providerId="ADAL" clId="{CEF7E2A8-73A4-4690-8985-26CCE759EB60}" dt="2023-09-05T05:52:11.192" v="82" actId="20577"/>
          <ac:spMkLst>
            <pc:docMk/>
            <pc:sldMk cId="1408224408" sldId="2147347988"/>
            <ac:spMk id="102" creationId="{EF4C357A-B4D8-47D0-A983-0CB72DC650C5}"/>
          </ac:spMkLst>
        </pc:spChg>
        <pc:spChg chg="mod">
          <ac:chgData name="Xinglan Hu" userId="61035392-b8e6-43fa-b39d-a05287957c90" providerId="ADAL" clId="{CEF7E2A8-73A4-4690-8985-26CCE759EB60}" dt="2023-09-05T05:51:48.123" v="78" actId="20577"/>
          <ac:spMkLst>
            <pc:docMk/>
            <pc:sldMk cId="1408224408" sldId="2147347988"/>
            <ac:spMk id="104" creationId="{8FFFF3EC-3024-4556-AFD2-B893441DFBBF}"/>
          </ac:spMkLst>
        </pc:spChg>
      </pc:sldChg>
      <pc:sldChg chg="modSp mod">
        <pc:chgData name="Xinglan Hu" userId="61035392-b8e6-43fa-b39d-a05287957c90" providerId="ADAL" clId="{CEF7E2A8-73A4-4690-8985-26CCE759EB60}" dt="2023-09-05T05:57:42.225" v="88" actId="20577"/>
        <pc:sldMkLst>
          <pc:docMk/>
          <pc:sldMk cId="323040935" sldId="2147348022"/>
        </pc:sldMkLst>
        <pc:spChg chg="mod">
          <ac:chgData name="Xinglan Hu" userId="61035392-b8e6-43fa-b39d-a05287957c90" providerId="ADAL" clId="{CEF7E2A8-73A4-4690-8985-26CCE759EB60}" dt="2023-09-05T05:57:42.225" v="88" actId="20577"/>
          <ac:spMkLst>
            <pc:docMk/>
            <pc:sldMk cId="323040935" sldId="2147348022"/>
            <ac:spMk id="8" creationId="{F2379AA2-ED46-4BD9-A397-5BBD93295767}"/>
          </ac:spMkLst>
        </pc:spChg>
      </pc:sldChg>
      <pc:sldChg chg="modSp mod">
        <pc:chgData name="Xinglan Hu" userId="61035392-b8e6-43fa-b39d-a05287957c90" providerId="ADAL" clId="{CEF7E2A8-73A4-4690-8985-26CCE759EB60}" dt="2023-09-05T05:50:37.799" v="62" actId="20577"/>
        <pc:sldMkLst>
          <pc:docMk/>
          <pc:sldMk cId="1209487091" sldId="2147348031"/>
        </pc:sldMkLst>
        <pc:spChg chg="mod">
          <ac:chgData name="Xinglan Hu" userId="61035392-b8e6-43fa-b39d-a05287957c90" providerId="ADAL" clId="{CEF7E2A8-73A4-4690-8985-26CCE759EB60}" dt="2023-09-05T05:50:37.799" v="62" actId="20577"/>
          <ac:spMkLst>
            <pc:docMk/>
            <pc:sldMk cId="1209487091" sldId="2147348031"/>
            <ac:spMk id="50" creationId="{00000000-0000-0000-0000-000000000000}"/>
          </ac:spMkLst>
        </pc:spChg>
      </pc:sldChg>
      <pc:sldChg chg="modSp mod">
        <pc:chgData name="Xinglan Hu" userId="61035392-b8e6-43fa-b39d-a05287957c90" providerId="ADAL" clId="{CEF7E2A8-73A4-4690-8985-26CCE759EB60}" dt="2023-09-05T05:50:17.091" v="54" actId="20577"/>
        <pc:sldMkLst>
          <pc:docMk/>
          <pc:sldMk cId="2289842308" sldId="2147348032"/>
        </pc:sldMkLst>
        <pc:spChg chg="mod">
          <ac:chgData name="Xinglan Hu" userId="61035392-b8e6-43fa-b39d-a05287957c90" providerId="ADAL" clId="{CEF7E2A8-73A4-4690-8985-26CCE759EB60}" dt="2023-09-05T05:50:17.091" v="54" actId="20577"/>
          <ac:spMkLst>
            <pc:docMk/>
            <pc:sldMk cId="2289842308" sldId="2147348032"/>
            <ac:spMk id="50" creationId="{00000000-0000-0000-0000-000000000000}"/>
          </ac:spMkLst>
        </pc:spChg>
      </pc:sldChg>
      <pc:sldChg chg="modSp mod">
        <pc:chgData name="Xinglan Hu" userId="61035392-b8e6-43fa-b39d-a05287957c90" providerId="ADAL" clId="{CEF7E2A8-73A4-4690-8985-26CCE759EB60}" dt="2023-09-05T05:48:38.172" v="37" actId="20577"/>
        <pc:sldMkLst>
          <pc:docMk/>
          <pc:sldMk cId="172032320" sldId="2147348033"/>
        </pc:sldMkLst>
        <pc:spChg chg="mod">
          <ac:chgData name="Xinglan Hu" userId="61035392-b8e6-43fa-b39d-a05287957c90" providerId="ADAL" clId="{CEF7E2A8-73A4-4690-8985-26CCE759EB60}" dt="2023-09-05T05:48:38.172" v="37" actId="20577"/>
          <ac:spMkLst>
            <pc:docMk/>
            <pc:sldMk cId="172032320" sldId="2147348033"/>
            <ac:spMk id="50" creationId="{00000000-0000-0000-0000-000000000000}"/>
          </ac:spMkLst>
        </pc:spChg>
      </pc:sldChg>
      <pc:sldChg chg="modSp mod">
        <pc:chgData name="Xinglan Hu" userId="61035392-b8e6-43fa-b39d-a05287957c90" providerId="ADAL" clId="{CEF7E2A8-73A4-4690-8985-26CCE759EB60}" dt="2023-09-05T05:48:27.498" v="35" actId="20577"/>
        <pc:sldMkLst>
          <pc:docMk/>
          <pc:sldMk cId="3538977937" sldId="2147348034"/>
        </pc:sldMkLst>
        <pc:spChg chg="mod">
          <ac:chgData name="Xinglan Hu" userId="61035392-b8e6-43fa-b39d-a05287957c90" providerId="ADAL" clId="{CEF7E2A8-73A4-4690-8985-26CCE759EB60}" dt="2023-09-05T05:48:27.498" v="35" actId="20577"/>
          <ac:spMkLst>
            <pc:docMk/>
            <pc:sldMk cId="3538977937" sldId="2147348034"/>
            <ac:spMk id="50" creationId="{00000000-0000-0000-0000-000000000000}"/>
          </ac:spMkLst>
        </pc:spChg>
      </pc:sldChg>
      <pc:sldChg chg="modSp mod">
        <pc:chgData name="Xinglan Hu" userId="61035392-b8e6-43fa-b39d-a05287957c90" providerId="ADAL" clId="{CEF7E2A8-73A4-4690-8985-26CCE759EB60}" dt="2023-09-05T05:49:00.387" v="44" actId="20577"/>
        <pc:sldMkLst>
          <pc:docMk/>
          <pc:sldMk cId="3961152223" sldId="2147348036"/>
        </pc:sldMkLst>
        <pc:spChg chg="mod">
          <ac:chgData name="Xinglan Hu" userId="61035392-b8e6-43fa-b39d-a05287957c90" providerId="ADAL" clId="{CEF7E2A8-73A4-4690-8985-26CCE759EB60}" dt="2023-09-05T05:49:00.387" v="44" actId="20577"/>
          <ac:spMkLst>
            <pc:docMk/>
            <pc:sldMk cId="3961152223" sldId="2147348036"/>
            <ac:spMk id="2" creationId="{B5FF7BFF-3987-4659-B09E-27AED13D7865}"/>
          </ac:spMkLst>
        </pc:spChg>
      </pc:sldChg>
      <pc:sldChg chg="modSp mod">
        <pc:chgData name="Xinglan Hu" userId="61035392-b8e6-43fa-b39d-a05287957c90" providerId="ADAL" clId="{CEF7E2A8-73A4-4690-8985-26CCE759EB60}" dt="2023-09-05T05:57:34.230" v="86" actId="20577"/>
        <pc:sldMkLst>
          <pc:docMk/>
          <pc:sldMk cId="3552410287" sldId="2147348039"/>
        </pc:sldMkLst>
        <pc:spChg chg="mod">
          <ac:chgData name="Xinglan Hu" userId="61035392-b8e6-43fa-b39d-a05287957c90" providerId="ADAL" clId="{CEF7E2A8-73A4-4690-8985-26CCE759EB60}" dt="2023-09-05T05:57:34.230" v="86" actId="20577"/>
          <ac:spMkLst>
            <pc:docMk/>
            <pc:sldMk cId="3552410287" sldId="2147348039"/>
            <ac:spMk id="45" creationId="{1E1BF9E0-F2E1-471B-B392-102A7AFBDF00}"/>
          </ac:spMkLst>
        </pc:spChg>
      </pc:sldChg>
      <pc:sldChg chg="modSp mod">
        <pc:chgData name="Xinglan Hu" userId="61035392-b8e6-43fa-b39d-a05287957c90" providerId="ADAL" clId="{CEF7E2A8-73A4-4690-8985-26CCE759EB60}" dt="2023-09-05T05:58:29.029" v="94" actId="20577"/>
        <pc:sldMkLst>
          <pc:docMk/>
          <pc:sldMk cId="1236100640" sldId="2147348043"/>
        </pc:sldMkLst>
        <pc:spChg chg="mod">
          <ac:chgData name="Xinglan Hu" userId="61035392-b8e6-43fa-b39d-a05287957c90" providerId="ADAL" clId="{CEF7E2A8-73A4-4690-8985-26CCE759EB60}" dt="2023-09-05T05:58:29.029" v="94" actId="20577"/>
          <ac:spMkLst>
            <pc:docMk/>
            <pc:sldMk cId="1236100640" sldId="2147348043"/>
            <ac:spMk id="8" creationId="{F2379AA2-ED46-4BD9-A397-5BBD93295767}"/>
          </ac:spMkLst>
        </pc:spChg>
      </pc:sldChg>
      <pc:sldChg chg="modSp mod">
        <pc:chgData name="Xinglan Hu" userId="61035392-b8e6-43fa-b39d-a05287957c90" providerId="ADAL" clId="{CEF7E2A8-73A4-4690-8985-26CCE759EB60}" dt="2023-09-05T05:57:56.868" v="90" actId="20577"/>
        <pc:sldMkLst>
          <pc:docMk/>
          <pc:sldMk cId="153918991" sldId="2147348048"/>
        </pc:sldMkLst>
        <pc:spChg chg="mod">
          <ac:chgData name="Xinglan Hu" userId="61035392-b8e6-43fa-b39d-a05287957c90" providerId="ADAL" clId="{CEF7E2A8-73A4-4690-8985-26CCE759EB60}" dt="2023-09-05T05:57:56.868" v="90" actId="20577"/>
          <ac:spMkLst>
            <pc:docMk/>
            <pc:sldMk cId="153918991" sldId="2147348048"/>
            <ac:spMk id="8" creationId="{F2379AA2-ED46-4BD9-A397-5BBD93295767}"/>
          </ac:spMkLst>
        </pc:spChg>
      </pc:sldChg>
      <pc:sldChg chg="modSp mod">
        <pc:chgData name="Xinglan Hu" userId="61035392-b8e6-43fa-b39d-a05287957c90" providerId="ADAL" clId="{CEF7E2A8-73A4-4690-8985-26CCE759EB60}" dt="2023-09-05T05:47:26.784" v="17" actId="20577"/>
        <pc:sldMkLst>
          <pc:docMk/>
          <pc:sldMk cId="1139591385" sldId="2147348059"/>
        </pc:sldMkLst>
        <pc:spChg chg="mod">
          <ac:chgData name="Xinglan Hu" userId="61035392-b8e6-43fa-b39d-a05287957c90" providerId="ADAL" clId="{CEF7E2A8-73A4-4690-8985-26CCE759EB60}" dt="2023-09-05T05:47:26.784" v="17" actId="20577"/>
          <ac:spMkLst>
            <pc:docMk/>
            <pc:sldMk cId="1139591385" sldId="2147348059"/>
            <ac:spMk id="50" creationId="{00000000-0000-0000-0000-000000000000}"/>
          </ac:spMkLst>
        </pc:spChg>
      </pc:sldChg>
      <pc:sldChg chg="modSp mod">
        <pc:chgData name="Xinglan Hu" userId="61035392-b8e6-43fa-b39d-a05287957c90" providerId="ADAL" clId="{CEF7E2A8-73A4-4690-8985-26CCE759EB60}" dt="2023-09-05T05:51:05.881" v="72" actId="20577"/>
        <pc:sldMkLst>
          <pc:docMk/>
          <pc:sldMk cId="1221196610" sldId="2147348060"/>
        </pc:sldMkLst>
        <pc:spChg chg="mod">
          <ac:chgData name="Xinglan Hu" userId="61035392-b8e6-43fa-b39d-a05287957c90" providerId="ADAL" clId="{CEF7E2A8-73A4-4690-8985-26CCE759EB60}" dt="2023-09-05T05:51:05.881" v="72" actId="20577"/>
          <ac:spMkLst>
            <pc:docMk/>
            <pc:sldMk cId="1221196610" sldId="2147348060"/>
            <ac:spMk id="50" creationId="{00000000-0000-0000-0000-000000000000}"/>
          </ac:spMkLst>
        </pc:spChg>
      </pc:sldChg>
      <pc:sldChg chg="modSp mod">
        <pc:chgData name="Xinglan Hu" userId="61035392-b8e6-43fa-b39d-a05287957c90" providerId="ADAL" clId="{CEF7E2A8-73A4-4690-8985-26CCE759EB60}" dt="2023-09-05T05:49:28.477" v="50" actId="20577"/>
        <pc:sldMkLst>
          <pc:docMk/>
          <pc:sldMk cId="2925344377" sldId="2147348061"/>
        </pc:sldMkLst>
        <pc:spChg chg="mod">
          <ac:chgData name="Xinglan Hu" userId="61035392-b8e6-43fa-b39d-a05287957c90" providerId="ADAL" clId="{CEF7E2A8-73A4-4690-8985-26CCE759EB60}" dt="2023-09-05T05:49:28.477" v="50" actId="20577"/>
          <ac:spMkLst>
            <pc:docMk/>
            <pc:sldMk cId="2925344377" sldId="2147348061"/>
            <ac:spMk id="50" creationId="{00000000-0000-0000-0000-000000000000}"/>
          </ac:spMkLst>
        </pc:spChg>
      </pc:sldChg>
      <pc:sldChg chg="modSp mod">
        <pc:chgData name="Xinglan Hu" userId="61035392-b8e6-43fa-b39d-a05287957c90" providerId="ADAL" clId="{CEF7E2A8-73A4-4690-8985-26CCE759EB60}" dt="2023-09-05T05:48:05.524" v="31" actId="20577"/>
        <pc:sldMkLst>
          <pc:docMk/>
          <pc:sldMk cId="503608078" sldId="2147348063"/>
        </pc:sldMkLst>
        <pc:spChg chg="mod">
          <ac:chgData name="Xinglan Hu" userId="61035392-b8e6-43fa-b39d-a05287957c90" providerId="ADAL" clId="{CEF7E2A8-73A4-4690-8985-26CCE759EB60}" dt="2023-09-05T05:48:05.524" v="31" actId="20577"/>
          <ac:spMkLst>
            <pc:docMk/>
            <pc:sldMk cId="503608078" sldId="2147348063"/>
            <ac:spMk id="50" creationId="{00000000-0000-0000-0000-000000000000}"/>
          </ac:spMkLst>
        </pc:spChg>
      </pc:sldChg>
      <pc:sldChg chg="modSp mod">
        <pc:chgData name="Xinglan Hu" userId="61035392-b8e6-43fa-b39d-a05287957c90" providerId="ADAL" clId="{CEF7E2A8-73A4-4690-8985-26CCE759EB60}" dt="2023-09-05T05:47:49.126" v="25" actId="20577"/>
        <pc:sldMkLst>
          <pc:docMk/>
          <pc:sldMk cId="668767025" sldId="2147348065"/>
        </pc:sldMkLst>
        <pc:spChg chg="mod">
          <ac:chgData name="Xinglan Hu" userId="61035392-b8e6-43fa-b39d-a05287957c90" providerId="ADAL" clId="{CEF7E2A8-73A4-4690-8985-26CCE759EB60}" dt="2023-09-05T05:47:49.126" v="25" actId="20577"/>
          <ac:spMkLst>
            <pc:docMk/>
            <pc:sldMk cId="668767025" sldId="2147348065"/>
            <ac:spMk id="50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ser\Documents\4_ADB_STKEC%203\Work\PwC%20Reports\ICIC%20Report\Data%20for%20ICIC%20Repor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ser\Documents\4_ADB_STKEC%203\Work\PwC%20Reports\ICIC%20Report\Data%20for%20ICIC%20Report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959088353740247"/>
          <c:y val="0.15531995846956478"/>
          <c:w val="0.62081858649572708"/>
          <c:h val="0.75488014858093599"/>
        </c:manualLayout>
      </c:layout>
      <c:pieChart>
        <c:varyColors val="1"/>
        <c:ser>
          <c:idx val="0"/>
          <c:order val="0"/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A6390A"/>
              </a:soli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1500-43AF-983C-FB96631ADB9F}"/>
              </c:ext>
            </c:extLst>
          </c:dPt>
          <c:dPt>
            <c:idx val="1"/>
            <c:bubble3D val="0"/>
            <c:spPr>
              <a:solidFill>
                <a:srgbClr val="6A3719"/>
              </a:soli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1500-43AF-983C-FB96631ADB9F}"/>
              </c:ext>
            </c:extLst>
          </c:dPt>
          <c:dPt>
            <c:idx val="2"/>
            <c:bubble3D val="0"/>
            <c:spPr>
              <a:solidFill>
                <a:srgbClr val="F87815"/>
              </a:soli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1500-43AF-983C-FB96631ADB9F}"/>
              </c:ext>
            </c:extLst>
          </c:dPt>
          <c:dPt>
            <c:idx val="3"/>
            <c:bubble3D val="0"/>
            <c:spPr>
              <a:solidFill>
                <a:srgbClr val="FDBF4A"/>
              </a:soli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1500-43AF-983C-FB96631ADB9F}"/>
              </c:ext>
            </c:extLst>
          </c:dPt>
          <c:dPt>
            <c:idx val="4"/>
            <c:bubble3D val="0"/>
            <c:spPr>
              <a:solidFill>
                <a:srgbClr val="376BC6"/>
              </a:soli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1500-43AF-983C-FB96631ADB9F}"/>
              </c:ext>
            </c:extLst>
          </c:dPt>
          <c:dPt>
            <c:idx val="5"/>
            <c:bubble3D val="0"/>
            <c:spPr>
              <a:solidFill>
                <a:srgbClr val="003049"/>
              </a:soli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1500-43AF-983C-FB96631ADB9F}"/>
              </c:ext>
            </c:extLst>
          </c:dPt>
          <c:dPt>
            <c:idx val="6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1500-43AF-983C-FB96631ADB9F}"/>
              </c:ext>
            </c:extLst>
          </c:dPt>
          <c:dLbls>
            <c:dLbl>
              <c:idx val="0"/>
              <c:layout>
                <c:manualLayout>
                  <c:x val="-4.4903457566232499E-3"/>
                  <c:y val="0.16380016380016371"/>
                </c:manualLayout>
              </c:layout>
              <c:numFmt formatCode="\(0.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1500-43AF-983C-FB96631ADB9F}"/>
                </c:ext>
              </c:extLst>
            </c:dLbl>
            <c:dLbl>
              <c:idx val="1"/>
              <c:layout>
                <c:manualLayout>
                  <c:x val="4.4903457566232603E-3"/>
                  <c:y val="2.1840021840021841E-2"/>
                </c:manualLayout>
              </c:layout>
              <c:numFmt formatCode="\(0.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1500-43AF-983C-FB96631ADB9F}"/>
                </c:ext>
              </c:extLst>
            </c:dLbl>
            <c:dLbl>
              <c:idx val="2"/>
              <c:layout>
                <c:manualLayout>
                  <c:x val="-8.9805133168614978E-3"/>
                  <c:y val="1.7358583240103531E-3"/>
                </c:manualLayout>
              </c:layout>
              <c:numFmt formatCode="\(0.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2575231252173839"/>
                      <c:h val="0.1867640999404039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1500-43AF-983C-FB96631ADB9F}"/>
                </c:ext>
              </c:extLst>
            </c:dLbl>
            <c:dLbl>
              <c:idx val="3"/>
              <c:layout>
                <c:manualLayout>
                  <c:x val="7.8581227526173053E-2"/>
                  <c:y val="-5.6697857485259059E-2"/>
                </c:manualLayout>
              </c:layout>
              <c:numFmt formatCode="\(0.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8291441118131442"/>
                      <c:h val="0.1469562619168918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1500-43AF-983C-FB96631ADB9F}"/>
                </c:ext>
              </c:extLst>
            </c:dLbl>
            <c:dLbl>
              <c:idx val="4"/>
              <c:layout>
                <c:manualLayout>
                  <c:x val="0.17169704557565407"/>
                  <c:y val="1.0124577564614019E-7"/>
                </c:manualLayout>
              </c:layout>
              <c:numFmt formatCode="\(0.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6481268683986917"/>
                      <c:h val="0.1578760454067642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1500-43AF-983C-FB96631ADB9F}"/>
                </c:ext>
              </c:extLst>
            </c:dLbl>
            <c:dLbl>
              <c:idx val="5"/>
              <c:layout>
                <c:manualLayout>
                  <c:x val="1.10813048431746E-7"/>
                  <c:y val="6.720976316161037E-2"/>
                </c:manualLayout>
              </c:layout>
              <c:numFmt formatCode="\(0.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4820426010871358"/>
                      <c:h val="0.2540761908617750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1500-43AF-983C-FB96631ADB9F}"/>
                </c:ext>
              </c:extLst>
            </c:dLbl>
            <c:dLbl>
              <c:idx val="6"/>
              <c:numFmt formatCode="\(0.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965873372249661"/>
                      <c:h val="0.185176300136930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1500-43AF-983C-FB96631ADB9F}"/>
                </c:ext>
              </c:extLst>
            </c:dLbl>
            <c:numFmt formatCode="\(0.0\)" sourceLinked="0"/>
            <c:spPr>
              <a:noFill/>
              <a:ln>
                <a:noFill/>
              </a:ln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'KAZ Exports to UZB'!$N$53:$N$59</c:f>
              <c:strCache>
                <c:ptCount val="7"/>
                <c:pt idx="0">
                  <c:v>Wheat</c:v>
                </c:pt>
                <c:pt idx="1">
                  <c:v>Flour</c:v>
                </c:pt>
                <c:pt idx="2">
                  <c:v>Oil seeds</c:v>
                </c:pt>
                <c:pt idx="3">
                  <c:v>Oil &amp; oil products</c:v>
                </c:pt>
                <c:pt idx="4">
                  <c:v>Iron &amp; steel</c:v>
                </c:pt>
                <c:pt idx="5">
                  <c:v>Aluminium</c:v>
                </c:pt>
                <c:pt idx="6">
                  <c:v>Other goods</c:v>
                </c:pt>
              </c:strCache>
            </c:strRef>
          </c:cat>
          <c:val>
            <c:numRef>
              <c:f>'KAZ Exports to UZB'!$O$53:$O$59</c:f>
              <c:numCache>
                <c:formatCode>0.0</c:formatCode>
                <c:ptCount val="7"/>
                <c:pt idx="0">
                  <c:v>22.753881928783581</c:v>
                </c:pt>
                <c:pt idx="1">
                  <c:v>4.1926559997183555</c:v>
                </c:pt>
                <c:pt idx="2">
                  <c:v>3.2416720527028637</c:v>
                </c:pt>
                <c:pt idx="3">
                  <c:v>7.9414441888270728</c:v>
                </c:pt>
                <c:pt idx="4">
                  <c:v>16.862617698075827</c:v>
                </c:pt>
                <c:pt idx="5">
                  <c:v>5.9899495126974642</c:v>
                </c:pt>
                <c:pt idx="6">
                  <c:v>39.0177786191948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1500-43AF-983C-FB96631ADB9F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204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bg2"/>
      </a:solidFill>
      <a:round/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>
          <a:solidFill>
            <a:schemeClr val="tx1"/>
          </a:solidFill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950201789292467"/>
          <c:y val="8.074287790206483E-2"/>
          <c:w val="0.62099631699263402"/>
          <c:h val="0.75514234787663259"/>
        </c:manualLayout>
      </c:layout>
      <c:pieChart>
        <c:varyColors val="1"/>
        <c:ser>
          <c:idx val="0"/>
          <c:order val="0"/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F0000"/>
              </a:soli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A30-48E9-954E-05F97115DA44}"/>
              </c:ext>
            </c:extLst>
          </c:dPt>
          <c:dPt>
            <c:idx val="1"/>
            <c:bubble3D val="0"/>
            <c:spPr>
              <a:solidFill>
                <a:srgbClr val="A01637"/>
              </a:soli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A30-48E9-954E-05F97115DA44}"/>
              </c:ext>
            </c:extLst>
          </c:dPt>
          <c:dPt>
            <c:idx val="2"/>
            <c:bubble3D val="0"/>
            <c:spPr>
              <a:solidFill>
                <a:srgbClr val="FDBF4A"/>
              </a:soli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5A30-48E9-954E-05F97115DA44}"/>
              </c:ext>
            </c:extLst>
          </c:dPt>
          <c:dPt>
            <c:idx val="3"/>
            <c:bubble3D val="0"/>
            <c:spPr>
              <a:solidFill>
                <a:srgbClr val="0072AD"/>
              </a:soli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5A30-48E9-954E-05F97115DA44}"/>
              </c:ext>
            </c:extLst>
          </c:dPt>
          <c:dPt>
            <c:idx val="4"/>
            <c:bubble3D val="0"/>
            <c:spPr>
              <a:solidFill>
                <a:srgbClr val="376BC6"/>
              </a:soli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5A30-48E9-954E-05F97115DA44}"/>
              </c:ext>
            </c:extLst>
          </c:dPt>
          <c:dPt>
            <c:idx val="5"/>
            <c:bubble3D val="0"/>
            <c:spPr>
              <a:solidFill>
                <a:srgbClr val="522B15"/>
              </a:soli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5A30-48E9-954E-05F97115DA44}"/>
              </c:ext>
            </c:extLst>
          </c:dPt>
          <c:dPt>
            <c:idx val="6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5A30-48E9-954E-05F97115DA44}"/>
              </c:ext>
            </c:extLst>
          </c:dPt>
          <c:dLbls>
            <c:dLbl>
              <c:idx val="0"/>
              <c:layout>
                <c:manualLayout>
                  <c:x val="5.8673701652916299E-2"/>
                  <c:y val="3.3357088260362793E-4"/>
                </c:manualLayout>
              </c:layout>
              <c:numFmt formatCode="\(0.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3818073663916592"/>
                      <c:h val="0.1847728875598146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5A30-48E9-954E-05F97115DA44}"/>
                </c:ext>
              </c:extLst>
            </c:dLbl>
            <c:dLbl>
              <c:idx val="1"/>
              <c:layout>
                <c:manualLayout>
                  <c:x val="7.8150636015614228E-2"/>
                  <c:y val="3.7553925044341997E-2"/>
                </c:manualLayout>
              </c:layout>
              <c:numFmt formatCode="\(0.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3448192283697481"/>
                      <c:h val="0.1847728875598146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5A30-48E9-954E-05F97115DA44}"/>
                </c:ext>
              </c:extLst>
            </c:dLbl>
            <c:dLbl>
              <c:idx val="2"/>
              <c:layout>
                <c:manualLayout>
                  <c:x val="8.9605734767025085E-3"/>
                  <c:y val="-0.12169113919772905"/>
                </c:manualLayout>
              </c:layout>
              <c:numFmt formatCode="\(0.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5A30-48E9-954E-05F97115DA44}"/>
                </c:ext>
              </c:extLst>
            </c:dLbl>
            <c:dLbl>
              <c:idx val="3"/>
              <c:layout>
                <c:manualLayout>
                  <c:x val="6.9085853704016875E-2"/>
                  <c:y val="-1.4545006508891746E-7"/>
                </c:manualLayout>
              </c:layout>
              <c:numFmt formatCode="\(0.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2611973608186887"/>
                      <c:h val="0.1847728875598146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5A30-48E9-954E-05F97115DA44}"/>
                </c:ext>
              </c:extLst>
            </c:dLbl>
            <c:dLbl>
              <c:idx val="4"/>
              <c:layout>
                <c:manualLayout>
                  <c:x val="0.14286036235335756"/>
                  <c:y val="1.0729491010609831E-2"/>
                </c:manualLayout>
              </c:layout>
              <c:numFmt formatCode="\(0.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9221678769884111"/>
                      <c:h val="0.1497589718830021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5A30-48E9-954E-05F97115DA44}"/>
                </c:ext>
              </c:extLst>
            </c:dLbl>
            <c:dLbl>
              <c:idx val="5"/>
              <c:layout>
                <c:manualLayout>
                  <c:x val="-3.1146707016045896E-2"/>
                  <c:y val="-2.8423039009682557E-3"/>
                </c:manualLayout>
              </c:layout>
              <c:numFmt formatCode="\(0.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9736107472133017"/>
                      <c:h val="0.2084510246538775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5A30-48E9-954E-05F97115DA44}"/>
                </c:ext>
              </c:extLst>
            </c:dLbl>
            <c:dLbl>
              <c:idx val="6"/>
              <c:layout>
                <c:manualLayout>
                  <c:x val="-1.3440860215053769E-2"/>
                  <c:y val="-2.6824034334763949E-2"/>
                </c:manualLayout>
              </c:layout>
              <c:numFmt formatCode="\(0.0\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D-5A30-48E9-954E-05F97115DA44}"/>
                </c:ext>
              </c:extLst>
            </c:dLbl>
            <c:numFmt formatCode="\(0.0\)" sourceLinked="0"/>
            <c:spPr>
              <a:noFill/>
              <a:ln>
                <a:noFill/>
              </a:ln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'UZB Exports to KAZ'!$N$62:$N$68</c:f>
              <c:strCache>
                <c:ptCount val="7"/>
                <c:pt idx="0">
                  <c:v>Vegetables</c:v>
                </c:pt>
                <c:pt idx="1">
                  <c:v>Fuits &amp; nuts</c:v>
                </c:pt>
                <c:pt idx="2">
                  <c:v>Natural gas</c:v>
                </c:pt>
                <c:pt idx="3">
                  <c:v>Chemical products</c:v>
                </c:pt>
                <c:pt idx="4">
                  <c:v>Iron &amp; steel</c:v>
                </c:pt>
                <c:pt idx="5">
                  <c:v>Motor vehicles</c:v>
                </c:pt>
                <c:pt idx="6">
                  <c:v>Other goods</c:v>
                </c:pt>
              </c:strCache>
            </c:strRef>
          </c:cat>
          <c:val>
            <c:numRef>
              <c:f>'UZB Exports to KAZ'!$O$62:$O$68</c:f>
              <c:numCache>
                <c:formatCode>0.0</c:formatCode>
                <c:ptCount val="7"/>
                <c:pt idx="0">
                  <c:v>8.9783649810646597</c:v>
                </c:pt>
                <c:pt idx="1">
                  <c:v>21.083171887710986</c:v>
                </c:pt>
                <c:pt idx="2">
                  <c:v>28.239306426687488</c:v>
                </c:pt>
                <c:pt idx="3">
                  <c:v>11.915010080799847</c:v>
                </c:pt>
                <c:pt idx="4">
                  <c:v>3.3900312285846628</c:v>
                </c:pt>
                <c:pt idx="5">
                  <c:v>3.5811251644737734</c:v>
                </c:pt>
                <c:pt idx="6">
                  <c:v>31.791355211743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5A30-48E9-954E-05F97115DA44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315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800" b="0">
          <a:solidFill>
            <a:schemeClr val="tx1"/>
          </a:solidFill>
        </a:defRPr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403230297967136E-3"/>
          <c:y val="0.11517367458866545"/>
          <c:w val="0.98551935394040657"/>
          <c:h val="0.7696526508226690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A3202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18281535648994515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3B6-4C7C-994F-3D79CDD8CC9D}"/>
                </c:ext>
              </c:extLst>
            </c:dLbl>
            <c:dLbl>
              <c:idx val="1"/>
              <c:layout>
                <c:manualLayout>
                  <c:x val="0"/>
                  <c:y val="-0.14351005484460694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3B6-4C7C-994F-3D79CDD8CC9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4.2618981187893867</c:v>
                </c:pt>
                <c:pt idx="1">
                  <c:v>2.89944416779550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3B6-4C7C-994F-3D79CDD8CC9D}"/>
            </c:ext>
          </c:extLst>
        </c:ser>
        <c:ser>
          <c:idx val="1"/>
          <c:order val="1"/>
          <c:spPr>
            <a:solidFill>
              <a:srgbClr val="DB536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6599634369287017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3B6-4C7C-994F-3D79CDD8CC9D}"/>
                </c:ext>
              </c:extLst>
            </c:dLbl>
            <c:dLbl>
              <c:idx val="1"/>
              <c:layout>
                <c:manualLayout>
                  <c:x val="0"/>
                  <c:y val="-3.4734917733089579E-2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3B6-4C7C-994F-3D79CDD8CC9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7.1039564832204638</c:v>
                </c:pt>
                <c:pt idx="1">
                  <c:v>-0.93636665270317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3B6-4C7C-994F-3D79CDD8CC9D}"/>
            </c:ext>
          </c:extLst>
        </c:ser>
        <c:ser>
          <c:idx val="2"/>
          <c:order val="2"/>
          <c:spPr>
            <a:solidFill>
              <a:srgbClr val="00000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2906764168190128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3B6-4C7C-994F-3D79CDD8CC9D}"/>
                </c:ext>
              </c:extLst>
            </c:dLbl>
            <c:dLbl>
              <c:idx val="1"/>
              <c:layout>
                <c:manualLayout>
                  <c:x val="0"/>
                  <c:y val="-0.41590493601462525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3B6-4C7C-994F-3D79CDD8CC9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9.2701246454231612</c:v>
                </c:pt>
                <c:pt idx="1">
                  <c:v>12.2605115970556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3B6-4C7C-994F-3D79CDD8CC9D}"/>
            </c:ext>
          </c:extLst>
        </c:ser>
        <c:ser>
          <c:idx val="3"/>
          <c:order val="3"/>
          <c:spPr>
            <a:solidFill>
              <a:srgbClr val="464646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13619744058500913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3B6-4C7C-994F-3D79CDD8CC9D}"/>
                </c:ext>
              </c:extLst>
            </c:dLbl>
            <c:dLbl>
              <c:idx val="1"/>
              <c:layout>
                <c:manualLayout>
                  <c:x val="0"/>
                  <c:y val="-9.5978062157221211E-2"/>
                </c:manualLayout>
              </c:layout>
              <c:numFmt formatCode="#,##0.00&quot;%&quot;;&quot;-&quot;#,##0.00&quot;%&quot;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3B6-4C7C-994F-3D79CDD8CC9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B$4</c:f>
              <c:numCache>
                <c:formatCode>General</c:formatCode>
                <c:ptCount val="2"/>
                <c:pt idx="0">
                  <c:v>2.6868383010588026</c:v>
                </c:pt>
                <c:pt idx="1">
                  <c:v>1.99761187400557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3B6-4C7C-994F-3D79CDD8CC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84909631"/>
        <c:axId val="1"/>
      </c:barChart>
      <c:catAx>
        <c:axId val="3849096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2.260511597055658"/>
          <c:min val="-0.93636665270317998"/>
        </c:scaling>
        <c:delete val="1"/>
        <c:axPos val="l"/>
        <c:numFmt formatCode="General" sourceLinked="1"/>
        <c:majorTickMark val="out"/>
        <c:minorTickMark val="none"/>
        <c:tickLblPos val="nextTo"/>
        <c:crossAx val="384909631"/>
        <c:crosses val="min"/>
        <c:crossBetween val="between"/>
      </c:valAx>
    </c:plotArea>
    <c:plotVisOnly val="0"/>
    <c:dispBlanksAs val="gap"/>
    <c:showDLblsOverMax val="1"/>
  </c:chart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803620819713348E-2"/>
          <c:y val="2.8268551236749116E-2"/>
          <c:w val="0.91450842343474981"/>
          <c:h val="0.90388692579505303"/>
        </c:manualLayout>
      </c:layout>
      <c:bubbleChart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6</c:f>
              <c:numCache>
                <c:formatCode>General</c:formatCode>
                <c:ptCount val="16"/>
                <c:pt idx="0">
                  <c:v>2.9255654659834809</c:v>
                </c:pt>
                <c:pt idx="1">
                  <c:v>3.2298546197698039</c:v>
                </c:pt>
                <c:pt idx="2">
                  <c:v>2.7981914491110231</c:v>
                </c:pt>
                <c:pt idx="3">
                  <c:v>1.4499134191141358</c:v>
                </c:pt>
                <c:pt idx="4">
                  <c:v>1.4687509618906123</c:v>
                </c:pt>
                <c:pt idx="5">
                  <c:v>2.5055752761727055</c:v>
                </c:pt>
                <c:pt idx="6">
                  <c:v>1.4147018064002892</c:v>
                </c:pt>
              </c:numCache>
            </c:numRef>
          </c:xVal>
          <c:yVal>
            <c:numRef>
              <c:f>Sheet1!$B$1:$B$16</c:f>
              <c:numCache>
                <c:formatCode>General</c:formatCode>
                <c:ptCount val="16"/>
                <c:pt idx="0">
                  <c:v>2.3920028443683807</c:v>
                </c:pt>
                <c:pt idx="1">
                  <c:v>2.1408095337797688</c:v>
                </c:pt>
                <c:pt idx="2">
                  <c:v>2.1976912604267427</c:v>
                </c:pt>
                <c:pt idx="3">
                  <c:v>2.8479261880867544</c:v>
                </c:pt>
                <c:pt idx="4">
                  <c:v>1.6590787762799035</c:v>
                </c:pt>
                <c:pt idx="5">
                  <c:v>3.879387552113208</c:v>
                </c:pt>
                <c:pt idx="6">
                  <c:v>1.8139453371351677</c:v>
                </c:pt>
              </c:numCache>
            </c:numRef>
          </c:yVal>
          <c:bubbleSize>
            <c:numRef>
              <c:f>Sheet1!$C$1:$C$16</c:f>
              <c:numCache>
                <c:formatCode>General</c:formatCode>
                <c:ptCount val="16"/>
                <c:pt idx="0">
                  <c:v>22009.06407</c:v>
                </c:pt>
                <c:pt idx="1">
                  <c:v>4668.0229639999998</c:v>
                </c:pt>
                <c:pt idx="2">
                  <c:v>12345.91401</c:v>
                </c:pt>
                <c:pt idx="3">
                  <c:v>886.53604110000003</c:v>
                </c:pt>
                <c:pt idx="4">
                  <c:v>3447.0187900000001</c:v>
                </c:pt>
                <c:pt idx="5">
                  <c:v>4118.8785322000003</c:v>
                </c:pt>
                <c:pt idx="6">
                  <c:v>3420.2685649999999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9C8B-42D8-8EBB-EB60B6F8DDAA}"/>
            </c:ext>
          </c:extLst>
        </c:ser>
        <c:ser>
          <c:idx val="1"/>
          <c:order val="1"/>
          <c:spPr>
            <a:solidFill>
              <a:schemeClr val="accent2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6</c:f>
              <c:numCache>
                <c:formatCode>General</c:formatCode>
                <c:ptCount val="16"/>
                <c:pt idx="7">
                  <c:v>0.64955257632248109</c:v>
                </c:pt>
                <c:pt idx="8">
                  <c:v>0.63676396373148481</c:v>
                </c:pt>
                <c:pt idx="9">
                  <c:v>0.8988048772760211</c:v>
                </c:pt>
                <c:pt idx="10">
                  <c:v>0.83327897802284911</c:v>
                </c:pt>
                <c:pt idx="11">
                  <c:v>1.2012945335040366</c:v>
                </c:pt>
                <c:pt idx="12">
                  <c:v>1.1119844706485498</c:v>
                </c:pt>
                <c:pt idx="13">
                  <c:v>1.0614779902077269</c:v>
                </c:pt>
                <c:pt idx="14">
                  <c:v>1.0349941821229547</c:v>
                </c:pt>
                <c:pt idx="15">
                  <c:v>0.81422062179478527</c:v>
                </c:pt>
              </c:numCache>
            </c:numRef>
          </c:xVal>
          <c:yVal>
            <c:numRef>
              <c:f>Sheet1!$D$1:$D$16</c:f>
              <c:numCache>
                <c:formatCode>General</c:formatCode>
                <c:ptCount val="16"/>
                <c:pt idx="7">
                  <c:v>1.0161491762681845</c:v>
                </c:pt>
                <c:pt idx="8">
                  <c:v>0.71657697194997838</c:v>
                </c:pt>
                <c:pt idx="9">
                  <c:v>1.0461071651105827</c:v>
                </c:pt>
                <c:pt idx="10">
                  <c:v>1.5341419379800074</c:v>
                </c:pt>
                <c:pt idx="11">
                  <c:v>1.8478295846577883</c:v>
                </c:pt>
                <c:pt idx="12">
                  <c:v>3.5076758277649009</c:v>
                </c:pt>
                <c:pt idx="13">
                  <c:v>3.3308332529142648</c:v>
                </c:pt>
                <c:pt idx="14">
                  <c:v>3.3147276305566447</c:v>
                </c:pt>
                <c:pt idx="15">
                  <c:v>1.6525847258206379</c:v>
                </c:pt>
              </c:numCache>
            </c:numRef>
          </c:yVal>
          <c:bubbleSize>
            <c:numRef>
              <c:f>Sheet1!$E$1:$E$16</c:f>
              <c:numCache>
                <c:formatCode>General</c:formatCode>
                <c:ptCount val="16"/>
                <c:pt idx="7">
                  <c:v>250.94942380000001</c:v>
                </c:pt>
                <c:pt idx="8">
                  <c:v>245.04071540000001</c:v>
                </c:pt>
                <c:pt idx="9">
                  <c:v>436.86460080000001</c:v>
                </c:pt>
                <c:pt idx="10">
                  <c:v>1335.308589</c:v>
                </c:pt>
                <c:pt idx="11">
                  <c:v>1445.5451860000001</c:v>
                </c:pt>
                <c:pt idx="12">
                  <c:v>286.49917299999998</c:v>
                </c:pt>
                <c:pt idx="13">
                  <c:v>1265.7743829999999</c:v>
                </c:pt>
                <c:pt idx="14">
                  <c:v>905.22824119999996</c:v>
                </c:pt>
                <c:pt idx="15">
                  <c:v>388.049017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9C8B-42D8-8EBB-EB60B6F8DD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1"/>
        <c:showNegBubbles val="0"/>
        <c:axId val="1080611487"/>
        <c:axId val="1"/>
      </c:bubbleChart>
      <c:valAx>
        <c:axId val="1080611487"/>
        <c:scaling>
          <c:orientation val="minMax"/>
          <c:max val="3.4000000000000004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"/>
        <c:crosses val="min"/>
        <c:crossBetween val="midCat"/>
        <c:majorUnit val="0.2"/>
      </c:valAx>
      <c:valAx>
        <c:axId val="1"/>
        <c:scaling>
          <c:orientation val="minMax"/>
          <c:max val="4.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80611487"/>
        <c:crosses val="min"/>
        <c:crossBetween val="midCat"/>
        <c:majorUnit val="0.2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372342294851524E-3"/>
          <c:y val="0.13829787234042554"/>
          <c:w val="0.98172553154102971"/>
          <c:h val="0.7234042553191489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A3202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6.658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35-413A-926E-69334F9A36B7}"/>
            </c:ext>
          </c:extLst>
        </c:ser>
        <c:ser>
          <c:idx val="1"/>
          <c:order val="1"/>
          <c:spPr>
            <a:solidFill>
              <a:srgbClr val="DB536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1.876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35-413A-926E-69334F9A36B7}"/>
            </c:ext>
          </c:extLst>
        </c:ser>
        <c:ser>
          <c:idx val="2"/>
          <c:order val="2"/>
          <c:spPr>
            <a:solidFill>
              <a:srgbClr val="00000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8.33900000000000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35-413A-926E-69334F9A36B7}"/>
            </c:ext>
          </c:extLst>
        </c:ser>
        <c:ser>
          <c:idx val="3"/>
          <c:order val="3"/>
          <c:spPr>
            <a:solidFill>
              <a:srgbClr val="464646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2.689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635-413A-926E-69334F9A36B7}"/>
            </c:ext>
          </c:extLst>
        </c:ser>
        <c:ser>
          <c:idx val="4"/>
          <c:order val="4"/>
          <c:spPr>
            <a:solidFill>
              <a:srgbClr val="7D7D7D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2.9579999999999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635-413A-926E-69334F9A36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89670543"/>
        <c:axId val="1"/>
      </c:barChart>
      <c:catAx>
        <c:axId val="128967054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2.52100000000000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2896705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384407146724419E-3"/>
          <c:y val="0.11529933481152993"/>
          <c:w val="0.98592311857065507"/>
          <c:h val="0.563192904656319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A3202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434589800443459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7C9-4F7E-8BC0-32C56E2A70E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-19018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C9-4F7E-8BC0-32C56E2A70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86437631"/>
        <c:axId val="1"/>
      </c:barChart>
      <c:catAx>
        <c:axId val="8864376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ru-RU"/>
          </a:p>
        </c:tx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4"/>
          <c:min val="-19018"/>
        </c:scaling>
        <c:delete val="1"/>
        <c:axPos val="l"/>
        <c:numFmt formatCode="General" sourceLinked="1"/>
        <c:majorTickMark val="out"/>
        <c:minorTickMark val="none"/>
        <c:tickLblPos val="nextTo"/>
        <c:crossAx val="8864376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384407146724419E-3"/>
          <c:y val="0.3215077605321508"/>
          <c:w val="0.98592311857065507"/>
          <c:h val="0.563192904656319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A3202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0.4456762749445676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B84-489C-A583-E3E24C7A661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1">
                  <c:v>14.2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B84-489C-A583-E3E24C7A66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84907231"/>
        <c:axId val="1"/>
      </c:barChart>
      <c:catAx>
        <c:axId val="7849072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.299999999999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849072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985EF68-C714-47DF-95F4-839246331BF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5DC8ED4B-2B23-4F96-BE85-F404472F0AEB}">
      <dgm:prSet phldrT="[Text]" custT="1"/>
      <dgm:spPr/>
      <dgm:t>
        <a:bodyPr/>
        <a:lstStyle/>
        <a:p>
          <a:r>
            <a:rPr lang="ru" sz="1000"/>
            <a:t>1: Местоположение</a:t>
          </a:r>
        </a:p>
      </dgm:t>
    </dgm:pt>
    <dgm:pt modelId="{5BA55E4F-B2BD-4E91-9DFB-5988BC3D0750}" type="parTrans" cxnId="{902495B6-A384-48F2-87CF-A8C2FA314F08}">
      <dgm:prSet/>
      <dgm:spPr/>
      <dgm:t>
        <a:bodyPr/>
        <a:lstStyle/>
        <a:p>
          <a:endParaRPr lang="en-US" sz="1000"/>
        </a:p>
      </dgm:t>
    </dgm:pt>
    <dgm:pt modelId="{6E4AE3C0-A9B2-474A-9530-D9F9DF9D7619}" type="sibTrans" cxnId="{902495B6-A384-48F2-87CF-A8C2FA314F08}">
      <dgm:prSet/>
      <dgm:spPr/>
      <dgm:t>
        <a:bodyPr/>
        <a:lstStyle/>
        <a:p>
          <a:endParaRPr lang="en-US" sz="1000"/>
        </a:p>
      </dgm:t>
    </dgm:pt>
    <dgm:pt modelId="{3AE54B61-3F4C-4A4B-ADFF-CC9CF7BA4F25}">
      <dgm:prSet phldrT="[Text]"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2: Выбор сектора</a:t>
          </a:r>
        </a:p>
      </dgm:t>
    </dgm:pt>
    <dgm:pt modelId="{AD3697A3-79E9-412C-ABAA-2ECF1B656769}" type="parTrans" cxnId="{057CA1C8-E8EC-4726-BB66-A5F57BE533C4}">
      <dgm:prSet/>
      <dgm:spPr/>
      <dgm:t>
        <a:bodyPr/>
        <a:lstStyle/>
        <a:p>
          <a:endParaRPr lang="en-US" sz="1000"/>
        </a:p>
      </dgm:t>
    </dgm:pt>
    <dgm:pt modelId="{2F26448B-A936-4101-A4C0-886A79BB89DB}" type="sibTrans" cxnId="{057CA1C8-E8EC-4726-BB66-A5F57BE533C4}">
      <dgm:prSet/>
      <dgm:spPr/>
      <dgm:t>
        <a:bodyPr/>
        <a:lstStyle/>
        <a:p>
          <a:endParaRPr lang="en-US" sz="1000"/>
        </a:p>
      </dgm:t>
    </dgm:pt>
    <dgm:pt modelId="{1A4CF166-F76B-49CE-AE8B-8D078B23ACFD}">
      <dgm:prSet phldrT="[Text]"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4: Институциональная структура</a:t>
          </a:r>
        </a:p>
      </dgm:t>
    </dgm:pt>
    <dgm:pt modelId="{381AF31E-F69C-425B-9C4C-D6D0674E7B92}" type="parTrans" cxnId="{1EB0BF63-A050-48B5-9150-AFAC381F5A40}">
      <dgm:prSet/>
      <dgm:spPr/>
      <dgm:t>
        <a:bodyPr/>
        <a:lstStyle/>
        <a:p>
          <a:endParaRPr lang="en-US" sz="1000"/>
        </a:p>
      </dgm:t>
    </dgm:pt>
    <dgm:pt modelId="{F7F877CE-DA4A-4070-AD65-36F2C85A2D49}" type="sibTrans" cxnId="{1EB0BF63-A050-48B5-9150-AFAC381F5A40}">
      <dgm:prSet/>
      <dgm:spPr/>
      <dgm:t>
        <a:bodyPr/>
        <a:lstStyle/>
        <a:p>
          <a:endParaRPr lang="en-US" sz="1000"/>
        </a:p>
      </dgm:t>
    </dgm:pt>
    <dgm:pt modelId="{94671029-ABBC-4C5C-96F5-78D438DD3B3F}">
      <dgm:prSet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3: Структура стимулов</a:t>
          </a:r>
        </a:p>
      </dgm:t>
    </dgm:pt>
    <dgm:pt modelId="{DB4357C2-AD04-489B-8943-2ACE9784E0F6}" type="parTrans" cxnId="{D9BEF4B7-D874-4C7C-BC5E-CFEFDC8216B8}">
      <dgm:prSet/>
      <dgm:spPr/>
      <dgm:t>
        <a:bodyPr/>
        <a:lstStyle/>
        <a:p>
          <a:endParaRPr lang="en-US" sz="1000"/>
        </a:p>
      </dgm:t>
    </dgm:pt>
    <dgm:pt modelId="{F15A699A-F57A-4CE4-AA9A-294840056294}" type="sibTrans" cxnId="{D9BEF4B7-D874-4C7C-BC5E-CFEFDC8216B8}">
      <dgm:prSet/>
      <dgm:spPr/>
      <dgm:t>
        <a:bodyPr/>
        <a:lstStyle/>
        <a:p>
          <a:endParaRPr lang="en-US" sz="1000"/>
        </a:p>
      </dgm:t>
    </dgm:pt>
    <dgm:pt modelId="{26253FCD-8140-4F93-BC28-C726401BE6B6}">
      <dgm:prSet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 dirty="0"/>
            <a:t>5: Компонент и зонирование</a:t>
          </a:r>
        </a:p>
      </dgm:t>
    </dgm:pt>
    <dgm:pt modelId="{452B0562-FD1B-471A-9895-695B23A9DF5B}" type="parTrans" cxnId="{9AD8C5A7-33C3-4600-9392-54EA300F732E}">
      <dgm:prSet/>
      <dgm:spPr/>
      <dgm:t>
        <a:bodyPr/>
        <a:lstStyle/>
        <a:p>
          <a:endParaRPr lang="en-US" sz="1000"/>
        </a:p>
      </dgm:t>
    </dgm:pt>
    <dgm:pt modelId="{56FBD035-58AE-43F9-8724-7207784A7381}" type="sibTrans" cxnId="{9AD8C5A7-33C3-4600-9392-54EA300F732E}">
      <dgm:prSet/>
      <dgm:spPr/>
      <dgm:t>
        <a:bodyPr/>
        <a:lstStyle/>
        <a:p>
          <a:endParaRPr lang="en-US" sz="1000"/>
        </a:p>
      </dgm:t>
    </dgm:pt>
    <dgm:pt modelId="{049F9131-BBF6-4D4A-A739-38633DB3716B}" type="pres">
      <dgm:prSet presAssocID="{6985EF68-C714-47DF-95F4-839246331BFE}" presName="Name0" presStyleCnt="0">
        <dgm:presLayoutVars>
          <dgm:dir/>
          <dgm:animLvl val="lvl"/>
          <dgm:resizeHandles val="exact"/>
        </dgm:presLayoutVars>
      </dgm:prSet>
      <dgm:spPr/>
    </dgm:pt>
    <dgm:pt modelId="{8329E24A-1AAD-44DA-B2CA-9AB294F775A9}" type="pres">
      <dgm:prSet presAssocID="{5DC8ED4B-2B23-4F96-BE85-F404472F0AEB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4A08A57B-51EB-45F4-BCD4-A04EA15CEADE}" type="pres">
      <dgm:prSet presAssocID="{6E4AE3C0-A9B2-474A-9530-D9F9DF9D7619}" presName="parTxOnlySpace" presStyleCnt="0"/>
      <dgm:spPr/>
    </dgm:pt>
    <dgm:pt modelId="{7141E469-82A7-452A-A5A3-3C9DB8A77C4C}" type="pres">
      <dgm:prSet presAssocID="{3AE54B61-3F4C-4A4B-ADFF-CC9CF7BA4F25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4D05AE17-1EBD-4F05-9421-52879486620F}" type="pres">
      <dgm:prSet presAssocID="{2F26448B-A936-4101-A4C0-886A79BB89DB}" presName="parTxOnlySpace" presStyleCnt="0"/>
      <dgm:spPr/>
    </dgm:pt>
    <dgm:pt modelId="{8DBE70E2-0F02-4BE3-872D-1EAADD9D5F11}" type="pres">
      <dgm:prSet presAssocID="{94671029-ABBC-4C5C-96F5-78D438DD3B3F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087083BF-88D1-4C3F-A748-2996D859E2FC}" type="pres">
      <dgm:prSet presAssocID="{F15A699A-F57A-4CE4-AA9A-294840056294}" presName="parTxOnlySpace" presStyleCnt="0"/>
      <dgm:spPr/>
    </dgm:pt>
    <dgm:pt modelId="{97FACA6A-B18A-4801-AE02-0D2B659B5EDD}" type="pres">
      <dgm:prSet presAssocID="{1A4CF166-F76B-49CE-AE8B-8D078B23ACFD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A38AEC4D-9F29-49AE-9561-58057C627CFF}" type="pres">
      <dgm:prSet presAssocID="{F7F877CE-DA4A-4070-AD65-36F2C85A2D49}" presName="parTxOnlySpace" presStyleCnt="0"/>
      <dgm:spPr/>
    </dgm:pt>
    <dgm:pt modelId="{39EF0538-AF7D-4C6B-897E-A3D180C2621C}" type="pres">
      <dgm:prSet presAssocID="{26253FCD-8140-4F93-BC28-C726401BE6B6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61C89834-F50D-4C95-B2F2-CBF5FC5D4485}" type="presOf" srcId="{26253FCD-8140-4F93-BC28-C726401BE6B6}" destId="{39EF0538-AF7D-4C6B-897E-A3D180C2621C}" srcOrd="0" destOrd="0" presId="urn:microsoft.com/office/officeart/2005/8/layout/chevron1"/>
    <dgm:cxn modelId="{DED4D15F-0982-4E31-9776-FD222430D8E9}" type="presOf" srcId="{94671029-ABBC-4C5C-96F5-78D438DD3B3F}" destId="{8DBE70E2-0F02-4BE3-872D-1EAADD9D5F11}" srcOrd="0" destOrd="0" presId="urn:microsoft.com/office/officeart/2005/8/layout/chevron1"/>
    <dgm:cxn modelId="{1EB0BF63-A050-48B5-9150-AFAC381F5A40}" srcId="{6985EF68-C714-47DF-95F4-839246331BFE}" destId="{1A4CF166-F76B-49CE-AE8B-8D078B23ACFD}" srcOrd="3" destOrd="0" parTransId="{381AF31E-F69C-425B-9C4C-D6D0674E7B92}" sibTransId="{F7F877CE-DA4A-4070-AD65-36F2C85A2D49}"/>
    <dgm:cxn modelId="{0605664D-781C-4C09-86F1-6BD49AAB0F83}" type="presOf" srcId="{3AE54B61-3F4C-4A4B-ADFF-CC9CF7BA4F25}" destId="{7141E469-82A7-452A-A5A3-3C9DB8A77C4C}" srcOrd="0" destOrd="0" presId="urn:microsoft.com/office/officeart/2005/8/layout/chevron1"/>
    <dgm:cxn modelId="{DC2AEE74-2E62-468C-B5CF-E41BB1C0C01B}" type="presOf" srcId="{1A4CF166-F76B-49CE-AE8B-8D078B23ACFD}" destId="{97FACA6A-B18A-4801-AE02-0D2B659B5EDD}" srcOrd="0" destOrd="0" presId="urn:microsoft.com/office/officeart/2005/8/layout/chevron1"/>
    <dgm:cxn modelId="{3D98D7A5-4FE3-494D-847C-E069351B6B53}" type="presOf" srcId="{6985EF68-C714-47DF-95F4-839246331BFE}" destId="{049F9131-BBF6-4D4A-A739-38633DB3716B}" srcOrd="0" destOrd="0" presId="urn:microsoft.com/office/officeart/2005/8/layout/chevron1"/>
    <dgm:cxn modelId="{9AD8C5A7-33C3-4600-9392-54EA300F732E}" srcId="{6985EF68-C714-47DF-95F4-839246331BFE}" destId="{26253FCD-8140-4F93-BC28-C726401BE6B6}" srcOrd="4" destOrd="0" parTransId="{452B0562-FD1B-471A-9895-695B23A9DF5B}" sibTransId="{56FBD035-58AE-43F9-8724-7207784A7381}"/>
    <dgm:cxn modelId="{902495B6-A384-48F2-87CF-A8C2FA314F08}" srcId="{6985EF68-C714-47DF-95F4-839246331BFE}" destId="{5DC8ED4B-2B23-4F96-BE85-F404472F0AEB}" srcOrd="0" destOrd="0" parTransId="{5BA55E4F-B2BD-4E91-9DFB-5988BC3D0750}" sibTransId="{6E4AE3C0-A9B2-474A-9530-D9F9DF9D7619}"/>
    <dgm:cxn modelId="{D9BEF4B7-D874-4C7C-BC5E-CFEFDC8216B8}" srcId="{6985EF68-C714-47DF-95F4-839246331BFE}" destId="{94671029-ABBC-4C5C-96F5-78D438DD3B3F}" srcOrd="2" destOrd="0" parTransId="{DB4357C2-AD04-489B-8943-2ACE9784E0F6}" sibTransId="{F15A699A-F57A-4CE4-AA9A-294840056294}"/>
    <dgm:cxn modelId="{057CA1C8-E8EC-4726-BB66-A5F57BE533C4}" srcId="{6985EF68-C714-47DF-95F4-839246331BFE}" destId="{3AE54B61-3F4C-4A4B-ADFF-CC9CF7BA4F25}" srcOrd="1" destOrd="0" parTransId="{AD3697A3-79E9-412C-ABAA-2ECF1B656769}" sibTransId="{2F26448B-A936-4101-A4C0-886A79BB89DB}"/>
    <dgm:cxn modelId="{48B928ED-CB2B-489C-8C9A-465DC60F6EBC}" type="presOf" srcId="{5DC8ED4B-2B23-4F96-BE85-F404472F0AEB}" destId="{8329E24A-1AAD-44DA-B2CA-9AB294F775A9}" srcOrd="0" destOrd="0" presId="urn:microsoft.com/office/officeart/2005/8/layout/chevron1"/>
    <dgm:cxn modelId="{93AEFD44-C108-4566-8987-04836697D542}" type="presParOf" srcId="{049F9131-BBF6-4D4A-A739-38633DB3716B}" destId="{8329E24A-1AAD-44DA-B2CA-9AB294F775A9}" srcOrd="0" destOrd="0" presId="urn:microsoft.com/office/officeart/2005/8/layout/chevron1"/>
    <dgm:cxn modelId="{94C090E7-5294-4EFA-B92B-8A638262C9E3}" type="presParOf" srcId="{049F9131-BBF6-4D4A-A739-38633DB3716B}" destId="{4A08A57B-51EB-45F4-BCD4-A04EA15CEADE}" srcOrd="1" destOrd="0" presId="urn:microsoft.com/office/officeart/2005/8/layout/chevron1"/>
    <dgm:cxn modelId="{497D8F31-B3DF-4AC6-BF48-D4408EB7FEB6}" type="presParOf" srcId="{049F9131-BBF6-4D4A-A739-38633DB3716B}" destId="{7141E469-82A7-452A-A5A3-3C9DB8A77C4C}" srcOrd="2" destOrd="0" presId="urn:microsoft.com/office/officeart/2005/8/layout/chevron1"/>
    <dgm:cxn modelId="{ACD095B8-B0CB-4464-9A25-197BBAFA172B}" type="presParOf" srcId="{049F9131-BBF6-4D4A-A739-38633DB3716B}" destId="{4D05AE17-1EBD-4F05-9421-52879486620F}" srcOrd="3" destOrd="0" presId="urn:microsoft.com/office/officeart/2005/8/layout/chevron1"/>
    <dgm:cxn modelId="{14BEFFA9-BF86-46D2-82DB-506A750758A2}" type="presParOf" srcId="{049F9131-BBF6-4D4A-A739-38633DB3716B}" destId="{8DBE70E2-0F02-4BE3-872D-1EAADD9D5F11}" srcOrd="4" destOrd="0" presId="urn:microsoft.com/office/officeart/2005/8/layout/chevron1"/>
    <dgm:cxn modelId="{4D7AB57E-986A-4895-B244-E554CA135A6A}" type="presParOf" srcId="{049F9131-BBF6-4D4A-A739-38633DB3716B}" destId="{087083BF-88D1-4C3F-A748-2996D859E2FC}" srcOrd="5" destOrd="0" presId="urn:microsoft.com/office/officeart/2005/8/layout/chevron1"/>
    <dgm:cxn modelId="{3D15D4E9-4298-4DA0-B835-C46E2BAC4CD8}" type="presParOf" srcId="{049F9131-BBF6-4D4A-A739-38633DB3716B}" destId="{97FACA6A-B18A-4801-AE02-0D2B659B5EDD}" srcOrd="6" destOrd="0" presId="urn:microsoft.com/office/officeart/2005/8/layout/chevron1"/>
    <dgm:cxn modelId="{0919B2B9-25CF-423B-896B-54A04E5B9DB0}" type="presParOf" srcId="{049F9131-BBF6-4D4A-A739-38633DB3716B}" destId="{A38AEC4D-9F29-49AE-9561-58057C627CFF}" srcOrd="7" destOrd="0" presId="urn:microsoft.com/office/officeart/2005/8/layout/chevron1"/>
    <dgm:cxn modelId="{951B4E5A-690D-4859-BAC9-100096C55CB4}" type="presParOf" srcId="{049F9131-BBF6-4D4A-A739-38633DB3716B}" destId="{39EF0538-AF7D-4C6B-897E-A3D180C2621C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985EF68-C714-47DF-95F4-839246331BF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5DC8ED4B-2B23-4F96-BE85-F404472F0AEB}">
      <dgm:prSet phldrT="[Text]"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1: Местоположение</a:t>
          </a:r>
        </a:p>
      </dgm:t>
    </dgm:pt>
    <dgm:pt modelId="{5BA55E4F-B2BD-4E91-9DFB-5988BC3D0750}" type="parTrans" cxnId="{902495B6-A384-48F2-87CF-A8C2FA314F08}">
      <dgm:prSet/>
      <dgm:spPr/>
      <dgm:t>
        <a:bodyPr/>
        <a:lstStyle/>
        <a:p>
          <a:endParaRPr lang="en-US" sz="1000"/>
        </a:p>
      </dgm:t>
    </dgm:pt>
    <dgm:pt modelId="{6E4AE3C0-A9B2-474A-9530-D9F9DF9D7619}" type="sibTrans" cxnId="{902495B6-A384-48F2-87CF-A8C2FA314F08}">
      <dgm:prSet/>
      <dgm:spPr/>
      <dgm:t>
        <a:bodyPr/>
        <a:lstStyle/>
        <a:p>
          <a:endParaRPr lang="en-US" sz="1000"/>
        </a:p>
      </dgm:t>
    </dgm:pt>
    <dgm:pt modelId="{3AE54B61-3F4C-4A4B-ADFF-CC9CF7BA4F25}">
      <dgm:prSet phldrT="[Text]" custT="1"/>
      <dgm:spPr>
        <a:solidFill>
          <a:srgbClr val="D04A02"/>
        </a:solidFill>
      </dgm:spPr>
      <dgm:t>
        <a:bodyPr/>
        <a:lstStyle/>
        <a:p>
          <a:r>
            <a:rPr lang="ru" sz="1000"/>
            <a:t>2: Выбор сектора</a:t>
          </a:r>
        </a:p>
      </dgm:t>
    </dgm:pt>
    <dgm:pt modelId="{AD3697A3-79E9-412C-ABAA-2ECF1B656769}" type="parTrans" cxnId="{057CA1C8-E8EC-4726-BB66-A5F57BE533C4}">
      <dgm:prSet/>
      <dgm:spPr/>
      <dgm:t>
        <a:bodyPr/>
        <a:lstStyle/>
        <a:p>
          <a:endParaRPr lang="en-US" sz="1000"/>
        </a:p>
      </dgm:t>
    </dgm:pt>
    <dgm:pt modelId="{2F26448B-A936-4101-A4C0-886A79BB89DB}" type="sibTrans" cxnId="{057CA1C8-E8EC-4726-BB66-A5F57BE533C4}">
      <dgm:prSet/>
      <dgm:spPr/>
      <dgm:t>
        <a:bodyPr/>
        <a:lstStyle/>
        <a:p>
          <a:endParaRPr lang="en-US" sz="1000"/>
        </a:p>
      </dgm:t>
    </dgm:pt>
    <dgm:pt modelId="{1A4CF166-F76B-49CE-AE8B-8D078B23ACFD}">
      <dgm:prSet phldrT="[Text]"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4: Институциональная структура</a:t>
          </a:r>
        </a:p>
      </dgm:t>
    </dgm:pt>
    <dgm:pt modelId="{381AF31E-F69C-425B-9C4C-D6D0674E7B92}" type="parTrans" cxnId="{1EB0BF63-A050-48B5-9150-AFAC381F5A40}">
      <dgm:prSet/>
      <dgm:spPr/>
      <dgm:t>
        <a:bodyPr/>
        <a:lstStyle/>
        <a:p>
          <a:endParaRPr lang="en-US" sz="1000"/>
        </a:p>
      </dgm:t>
    </dgm:pt>
    <dgm:pt modelId="{F7F877CE-DA4A-4070-AD65-36F2C85A2D49}" type="sibTrans" cxnId="{1EB0BF63-A050-48B5-9150-AFAC381F5A40}">
      <dgm:prSet/>
      <dgm:spPr/>
      <dgm:t>
        <a:bodyPr/>
        <a:lstStyle/>
        <a:p>
          <a:endParaRPr lang="en-US" sz="1000"/>
        </a:p>
      </dgm:t>
    </dgm:pt>
    <dgm:pt modelId="{94671029-ABBC-4C5C-96F5-78D438DD3B3F}">
      <dgm:prSet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3: Структура стимулов</a:t>
          </a:r>
        </a:p>
      </dgm:t>
    </dgm:pt>
    <dgm:pt modelId="{DB4357C2-AD04-489B-8943-2ACE9784E0F6}" type="parTrans" cxnId="{D9BEF4B7-D874-4C7C-BC5E-CFEFDC8216B8}">
      <dgm:prSet/>
      <dgm:spPr/>
      <dgm:t>
        <a:bodyPr/>
        <a:lstStyle/>
        <a:p>
          <a:endParaRPr lang="en-US" sz="1000"/>
        </a:p>
      </dgm:t>
    </dgm:pt>
    <dgm:pt modelId="{F15A699A-F57A-4CE4-AA9A-294840056294}" type="sibTrans" cxnId="{D9BEF4B7-D874-4C7C-BC5E-CFEFDC8216B8}">
      <dgm:prSet/>
      <dgm:spPr/>
      <dgm:t>
        <a:bodyPr/>
        <a:lstStyle/>
        <a:p>
          <a:endParaRPr lang="en-US" sz="1000"/>
        </a:p>
      </dgm:t>
    </dgm:pt>
    <dgm:pt modelId="{26253FCD-8140-4F93-BC28-C726401BE6B6}">
      <dgm:prSet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5: Компонент и зонирование</a:t>
          </a:r>
        </a:p>
      </dgm:t>
    </dgm:pt>
    <dgm:pt modelId="{452B0562-FD1B-471A-9895-695B23A9DF5B}" type="parTrans" cxnId="{9AD8C5A7-33C3-4600-9392-54EA300F732E}">
      <dgm:prSet/>
      <dgm:spPr/>
      <dgm:t>
        <a:bodyPr/>
        <a:lstStyle/>
        <a:p>
          <a:endParaRPr lang="en-US" sz="1000"/>
        </a:p>
      </dgm:t>
    </dgm:pt>
    <dgm:pt modelId="{56FBD035-58AE-43F9-8724-7207784A7381}" type="sibTrans" cxnId="{9AD8C5A7-33C3-4600-9392-54EA300F732E}">
      <dgm:prSet/>
      <dgm:spPr/>
      <dgm:t>
        <a:bodyPr/>
        <a:lstStyle/>
        <a:p>
          <a:endParaRPr lang="en-US" sz="1000"/>
        </a:p>
      </dgm:t>
    </dgm:pt>
    <dgm:pt modelId="{049F9131-BBF6-4D4A-A739-38633DB3716B}" type="pres">
      <dgm:prSet presAssocID="{6985EF68-C714-47DF-95F4-839246331BFE}" presName="Name0" presStyleCnt="0">
        <dgm:presLayoutVars>
          <dgm:dir/>
          <dgm:animLvl val="lvl"/>
          <dgm:resizeHandles val="exact"/>
        </dgm:presLayoutVars>
      </dgm:prSet>
      <dgm:spPr/>
    </dgm:pt>
    <dgm:pt modelId="{8329E24A-1AAD-44DA-B2CA-9AB294F775A9}" type="pres">
      <dgm:prSet presAssocID="{5DC8ED4B-2B23-4F96-BE85-F404472F0AEB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4A08A57B-51EB-45F4-BCD4-A04EA15CEADE}" type="pres">
      <dgm:prSet presAssocID="{6E4AE3C0-A9B2-474A-9530-D9F9DF9D7619}" presName="parTxOnlySpace" presStyleCnt="0"/>
      <dgm:spPr/>
    </dgm:pt>
    <dgm:pt modelId="{7141E469-82A7-452A-A5A3-3C9DB8A77C4C}" type="pres">
      <dgm:prSet presAssocID="{3AE54B61-3F4C-4A4B-ADFF-CC9CF7BA4F25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4D05AE17-1EBD-4F05-9421-52879486620F}" type="pres">
      <dgm:prSet presAssocID="{2F26448B-A936-4101-A4C0-886A79BB89DB}" presName="parTxOnlySpace" presStyleCnt="0"/>
      <dgm:spPr/>
    </dgm:pt>
    <dgm:pt modelId="{8DBE70E2-0F02-4BE3-872D-1EAADD9D5F11}" type="pres">
      <dgm:prSet presAssocID="{94671029-ABBC-4C5C-96F5-78D438DD3B3F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087083BF-88D1-4C3F-A748-2996D859E2FC}" type="pres">
      <dgm:prSet presAssocID="{F15A699A-F57A-4CE4-AA9A-294840056294}" presName="parTxOnlySpace" presStyleCnt="0"/>
      <dgm:spPr/>
    </dgm:pt>
    <dgm:pt modelId="{97FACA6A-B18A-4801-AE02-0D2B659B5EDD}" type="pres">
      <dgm:prSet presAssocID="{1A4CF166-F76B-49CE-AE8B-8D078B23ACFD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A38AEC4D-9F29-49AE-9561-58057C627CFF}" type="pres">
      <dgm:prSet presAssocID="{F7F877CE-DA4A-4070-AD65-36F2C85A2D49}" presName="parTxOnlySpace" presStyleCnt="0"/>
      <dgm:spPr/>
    </dgm:pt>
    <dgm:pt modelId="{39EF0538-AF7D-4C6B-897E-A3D180C2621C}" type="pres">
      <dgm:prSet presAssocID="{26253FCD-8140-4F93-BC28-C726401BE6B6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61C89834-F50D-4C95-B2F2-CBF5FC5D4485}" type="presOf" srcId="{26253FCD-8140-4F93-BC28-C726401BE6B6}" destId="{39EF0538-AF7D-4C6B-897E-A3D180C2621C}" srcOrd="0" destOrd="0" presId="urn:microsoft.com/office/officeart/2005/8/layout/chevron1"/>
    <dgm:cxn modelId="{DED4D15F-0982-4E31-9776-FD222430D8E9}" type="presOf" srcId="{94671029-ABBC-4C5C-96F5-78D438DD3B3F}" destId="{8DBE70E2-0F02-4BE3-872D-1EAADD9D5F11}" srcOrd="0" destOrd="0" presId="urn:microsoft.com/office/officeart/2005/8/layout/chevron1"/>
    <dgm:cxn modelId="{1EB0BF63-A050-48B5-9150-AFAC381F5A40}" srcId="{6985EF68-C714-47DF-95F4-839246331BFE}" destId="{1A4CF166-F76B-49CE-AE8B-8D078B23ACFD}" srcOrd="3" destOrd="0" parTransId="{381AF31E-F69C-425B-9C4C-D6D0674E7B92}" sibTransId="{F7F877CE-DA4A-4070-AD65-36F2C85A2D49}"/>
    <dgm:cxn modelId="{0605664D-781C-4C09-86F1-6BD49AAB0F83}" type="presOf" srcId="{3AE54B61-3F4C-4A4B-ADFF-CC9CF7BA4F25}" destId="{7141E469-82A7-452A-A5A3-3C9DB8A77C4C}" srcOrd="0" destOrd="0" presId="urn:microsoft.com/office/officeart/2005/8/layout/chevron1"/>
    <dgm:cxn modelId="{DC2AEE74-2E62-468C-B5CF-E41BB1C0C01B}" type="presOf" srcId="{1A4CF166-F76B-49CE-AE8B-8D078B23ACFD}" destId="{97FACA6A-B18A-4801-AE02-0D2B659B5EDD}" srcOrd="0" destOrd="0" presId="urn:microsoft.com/office/officeart/2005/8/layout/chevron1"/>
    <dgm:cxn modelId="{3D98D7A5-4FE3-494D-847C-E069351B6B53}" type="presOf" srcId="{6985EF68-C714-47DF-95F4-839246331BFE}" destId="{049F9131-BBF6-4D4A-A739-38633DB3716B}" srcOrd="0" destOrd="0" presId="urn:microsoft.com/office/officeart/2005/8/layout/chevron1"/>
    <dgm:cxn modelId="{9AD8C5A7-33C3-4600-9392-54EA300F732E}" srcId="{6985EF68-C714-47DF-95F4-839246331BFE}" destId="{26253FCD-8140-4F93-BC28-C726401BE6B6}" srcOrd="4" destOrd="0" parTransId="{452B0562-FD1B-471A-9895-695B23A9DF5B}" sibTransId="{56FBD035-58AE-43F9-8724-7207784A7381}"/>
    <dgm:cxn modelId="{902495B6-A384-48F2-87CF-A8C2FA314F08}" srcId="{6985EF68-C714-47DF-95F4-839246331BFE}" destId="{5DC8ED4B-2B23-4F96-BE85-F404472F0AEB}" srcOrd="0" destOrd="0" parTransId="{5BA55E4F-B2BD-4E91-9DFB-5988BC3D0750}" sibTransId="{6E4AE3C0-A9B2-474A-9530-D9F9DF9D7619}"/>
    <dgm:cxn modelId="{D9BEF4B7-D874-4C7C-BC5E-CFEFDC8216B8}" srcId="{6985EF68-C714-47DF-95F4-839246331BFE}" destId="{94671029-ABBC-4C5C-96F5-78D438DD3B3F}" srcOrd="2" destOrd="0" parTransId="{DB4357C2-AD04-489B-8943-2ACE9784E0F6}" sibTransId="{F15A699A-F57A-4CE4-AA9A-294840056294}"/>
    <dgm:cxn modelId="{057CA1C8-E8EC-4726-BB66-A5F57BE533C4}" srcId="{6985EF68-C714-47DF-95F4-839246331BFE}" destId="{3AE54B61-3F4C-4A4B-ADFF-CC9CF7BA4F25}" srcOrd="1" destOrd="0" parTransId="{AD3697A3-79E9-412C-ABAA-2ECF1B656769}" sibTransId="{2F26448B-A936-4101-A4C0-886A79BB89DB}"/>
    <dgm:cxn modelId="{48B928ED-CB2B-489C-8C9A-465DC60F6EBC}" type="presOf" srcId="{5DC8ED4B-2B23-4F96-BE85-F404472F0AEB}" destId="{8329E24A-1AAD-44DA-B2CA-9AB294F775A9}" srcOrd="0" destOrd="0" presId="urn:microsoft.com/office/officeart/2005/8/layout/chevron1"/>
    <dgm:cxn modelId="{93AEFD44-C108-4566-8987-04836697D542}" type="presParOf" srcId="{049F9131-BBF6-4D4A-A739-38633DB3716B}" destId="{8329E24A-1AAD-44DA-B2CA-9AB294F775A9}" srcOrd="0" destOrd="0" presId="urn:microsoft.com/office/officeart/2005/8/layout/chevron1"/>
    <dgm:cxn modelId="{94C090E7-5294-4EFA-B92B-8A638262C9E3}" type="presParOf" srcId="{049F9131-BBF6-4D4A-A739-38633DB3716B}" destId="{4A08A57B-51EB-45F4-BCD4-A04EA15CEADE}" srcOrd="1" destOrd="0" presId="urn:microsoft.com/office/officeart/2005/8/layout/chevron1"/>
    <dgm:cxn modelId="{497D8F31-B3DF-4AC6-BF48-D4408EB7FEB6}" type="presParOf" srcId="{049F9131-BBF6-4D4A-A739-38633DB3716B}" destId="{7141E469-82A7-452A-A5A3-3C9DB8A77C4C}" srcOrd="2" destOrd="0" presId="urn:microsoft.com/office/officeart/2005/8/layout/chevron1"/>
    <dgm:cxn modelId="{ACD095B8-B0CB-4464-9A25-197BBAFA172B}" type="presParOf" srcId="{049F9131-BBF6-4D4A-A739-38633DB3716B}" destId="{4D05AE17-1EBD-4F05-9421-52879486620F}" srcOrd="3" destOrd="0" presId="urn:microsoft.com/office/officeart/2005/8/layout/chevron1"/>
    <dgm:cxn modelId="{14BEFFA9-BF86-46D2-82DB-506A750758A2}" type="presParOf" srcId="{049F9131-BBF6-4D4A-A739-38633DB3716B}" destId="{8DBE70E2-0F02-4BE3-872D-1EAADD9D5F11}" srcOrd="4" destOrd="0" presId="urn:microsoft.com/office/officeart/2005/8/layout/chevron1"/>
    <dgm:cxn modelId="{4D7AB57E-986A-4895-B244-E554CA135A6A}" type="presParOf" srcId="{049F9131-BBF6-4D4A-A739-38633DB3716B}" destId="{087083BF-88D1-4C3F-A748-2996D859E2FC}" srcOrd="5" destOrd="0" presId="urn:microsoft.com/office/officeart/2005/8/layout/chevron1"/>
    <dgm:cxn modelId="{3D15D4E9-4298-4DA0-B835-C46E2BAC4CD8}" type="presParOf" srcId="{049F9131-BBF6-4D4A-A739-38633DB3716B}" destId="{97FACA6A-B18A-4801-AE02-0D2B659B5EDD}" srcOrd="6" destOrd="0" presId="urn:microsoft.com/office/officeart/2005/8/layout/chevron1"/>
    <dgm:cxn modelId="{0919B2B9-25CF-423B-896B-54A04E5B9DB0}" type="presParOf" srcId="{049F9131-BBF6-4D4A-A739-38633DB3716B}" destId="{A38AEC4D-9F29-49AE-9561-58057C627CFF}" srcOrd="7" destOrd="0" presId="urn:microsoft.com/office/officeart/2005/8/layout/chevron1"/>
    <dgm:cxn modelId="{951B4E5A-690D-4859-BAC9-100096C55CB4}" type="presParOf" srcId="{049F9131-BBF6-4D4A-A739-38633DB3716B}" destId="{39EF0538-AF7D-4C6B-897E-A3D180C2621C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4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985EF68-C714-47DF-95F4-839246331BF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5DC8ED4B-2B23-4F96-BE85-F404472F0AEB}">
      <dgm:prSet phldrT="[Text]"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1: Местоположение</a:t>
          </a:r>
        </a:p>
      </dgm:t>
    </dgm:pt>
    <dgm:pt modelId="{5BA55E4F-B2BD-4E91-9DFB-5988BC3D0750}" type="parTrans" cxnId="{902495B6-A384-48F2-87CF-A8C2FA314F08}">
      <dgm:prSet/>
      <dgm:spPr/>
      <dgm:t>
        <a:bodyPr/>
        <a:lstStyle/>
        <a:p>
          <a:endParaRPr lang="en-US" sz="1000"/>
        </a:p>
      </dgm:t>
    </dgm:pt>
    <dgm:pt modelId="{6E4AE3C0-A9B2-474A-9530-D9F9DF9D7619}" type="sibTrans" cxnId="{902495B6-A384-48F2-87CF-A8C2FA314F08}">
      <dgm:prSet/>
      <dgm:spPr/>
      <dgm:t>
        <a:bodyPr/>
        <a:lstStyle/>
        <a:p>
          <a:endParaRPr lang="en-US" sz="1000"/>
        </a:p>
      </dgm:t>
    </dgm:pt>
    <dgm:pt modelId="{3AE54B61-3F4C-4A4B-ADFF-CC9CF7BA4F25}">
      <dgm:prSet phldrT="[Text]"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2: Выбор сектора</a:t>
          </a:r>
        </a:p>
      </dgm:t>
    </dgm:pt>
    <dgm:pt modelId="{AD3697A3-79E9-412C-ABAA-2ECF1B656769}" type="parTrans" cxnId="{057CA1C8-E8EC-4726-BB66-A5F57BE533C4}">
      <dgm:prSet/>
      <dgm:spPr/>
      <dgm:t>
        <a:bodyPr/>
        <a:lstStyle/>
        <a:p>
          <a:endParaRPr lang="en-US" sz="1000"/>
        </a:p>
      </dgm:t>
    </dgm:pt>
    <dgm:pt modelId="{2F26448B-A936-4101-A4C0-886A79BB89DB}" type="sibTrans" cxnId="{057CA1C8-E8EC-4726-BB66-A5F57BE533C4}">
      <dgm:prSet/>
      <dgm:spPr/>
      <dgm:t>
        <a:bodyPr/>
        <a:lstStyle/>
        <a:p>
          <a:endParaRPr lang="en-US" sz="1000"/>
        </a:p>
      </dgm:t>
    </dgm:pt>
    <dgm:pt modelId="{1A4CF166-F76B-49CE-AE8B-8D078B23ACFD}">
      <dgm:prSet phldrT="[Text]"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4: Институциональная структура</a:t>
          </a:r>
        </a:p>
      </dgm:t>
    </dgm:pt>
    <dgm:pt modelId="{381AF31E-F69C-425B-9C4C-D6D0674E7B92}" type="parTrans" cxnId="{1EB0BF63-A050-48B5-9150-AFAC381F5A40}">
      <dgm:prSet/>
      <dgm:spPr/>
      <dgm:t>
        <a:bodyPr/>
        <a:lstStyle/>
        <a:p>
          <a:endParaRPr lang="en-US" sz="1000"/>
        </a:p>
      </dgm:t>
    </dgm:pt>
    <dgm:pt modelId="{F7F877CE-DA4A-4070-AD65-36F2C85A2D49}" type="sibTrans" cxnId="{1EB0BF63-A050-48B5-9150-AFAC381F5A40}">
      <dgm:prSet/>
      <dgm:spPr/>
      <dgm:t>
        <a:bodyPr/>
        <a:lstStyle/>
        <a:p>
          <a:endParaRPr lang="en-US" sz="1000"/>
        </a:p>
      </dgm:t>
    </dgm:pt>
    <dgm:pt modelId="{94671029-ABBC-4C5C-96F5-78D438DD3B3F}">
      <dgm:prSet custT="1"/>
      <dgm:spPr>
        <a:solidFill>
          <a:srgbClr val="D04A02"/>
        </a:solidFill>
      </dgm:spPr>
      <dgm:t>
        <a:bodyPr/>
        <a:lstStyle/>
        <a:p>
          <a:r>
            <a:rPr lang="ru" sz="1000"/>
            <a:t>3: Структура стимулов</a:t>
          </a:r>
        </a:p>
      </dgm:t>
    </dgm:pt>
    <dgm:pt modelId="{DB4357C2-AD04-489B-8943-2ACE9784E0F6}" type="parTrans" cxnId="{D9BEF4B7-D874-4C7C-BC5E-CFEFDC8216B8}">
      <dgm:prSet/>
      <dgm:spPr/>
      <dgm:t>
        <a:bodyPr/>
        <a:lstStyle/>
        <a:p>
          <a:endParaRPr lang="en-US" sz="1000"/>
        </a:p>
      </dgm:t>
    </dgm:pt>
    <dgm:pt modelId="{F15A699A-F57A-4CE4-AA9A-294840056294}" type="sibTrans" cxnId="{D9BEF4B7-D874-4C7C-BC5E-CFEFDC8216B8}">
      <dgm:prSet/>
      <dgm:spPr/>
      <dgm:t>
        <a:bodyPr/>
        <a:lstStyle/>
        <a:p>
          <a:endParaRPr lang="en-US" sz="1000"/>
        </a:p>
      </dgm:t>
    </dgm:pt>
    <dgm:pt modelId="{26253FCD-8140-4F93-BC28-C726401BE6B6}">
      <dgm:prSet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5: Компонент и зонирование</a:t>
          </a:r>
        </a:p>
      </dgm:t>
    </dgm:pt>
    <dgm:pt modelId="{452B0562-FD1B-471A-9895-695B23A9DF5B}" type="parTrans" cxnId="{9AD8C5A7-33C3-4600-9392-54EA300F732E}">
      <dgm:prSet/>
      <dgm:spPr/>
      <dgm:t>
        <a:bodyPr/>
        <a:lstStyle/>
        <a:p>
          <a:endParaRPr lang="en-US" sz="1000"/>
        </a:p>
      </dgm:t>
    </dgm:pt>
    <dgm:pt modelId="{56FBD035-58AE-43F9-8724-7207784A7381}" type="sibTrans" cxnId="{9AD8C5A7-33C3-4600-9392-54EA300F732E}">
      <dgm:prSet/>
      <dgm:spPr/>
      <dgm:t>
        <a:bodyPr/>
        <a:lstStyle/>
        <a:p>
          <a:endParaRPr lang="en-US" sz="1000"/>
        </a:p>
      </dgm:t>
    </dgm:pt>
    <dgm:pt modelId="{049F9131-BBF6-4D4A-A739-38633DB3716B}" type="pres">
      <dgm:prSet presAssocID="{6985EF68-C714-47DF-95F4-839246331BFE}" presName="Name0" presStyleCnt="0">
        <dgm:presLayoutVars>
          <dgm:dir/>
          <dgm:animLvl val="lvl"/>
          <dgm:resizeHandles val="exact"/>
        </dgm:presLayoutVars>
      </dgm:prSet>
      <dgm:spPr/>
    </dgm:pt>
    <dgm:pt modelId="{8329E24A-1AAD-44DA-B2CA-9AB294F775A9}" type="pres">
      <dgm:prSet presAssocID="{5DC8ED4B-2B23-4F96-BE85-F404472F0AEB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4A08A57B-51EB-45F4-BCD4-A04EA15CEADE}" type="pres">
      <dgm:prSet presAssocID="{6E4AE3C0-A9B2-474A-9530-D9F9DF9D7619}" presName="parTxOnlySpace" presStyleCnt="0"/>
      <dgm:spPr/>
    </dgm:pt>
    <dgm:pt modelId="{7141E469-82A7-452A-A5A3-3C9DB8A77C4C}" type="pres">
      <dgm:prSet presAssocID="{3AE54B61-3F4C-4A4B-ADFF-CC9CF7BA4F25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4D05AE17-1EBD-4F05-9421-52879486620F}" type="pres">
      <dgm:prSet presAssocID="{2F26448B-A936-4101-A4C0-886A79BB89DB}" presName="parTxOnlySpace" presStyleCnt="0"/>
      <dgm:spPr/>
    </dgm:pt>
    <dgm:pt modelId="{8DBE70E2-0F02-4BE3-872D-1EAADD9D5F11}" type="pres">
      <dgm:prSet presAssocID="{94671029-ABBC-4C5C-96F5-78D438DD3B3F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087083BF-88D1-4C3F-A748-2996D859E2FC}" type="pres">
      <dgm:prSet presAssocID="{F15A699A-F57A-4CE4-AA9A-294840056294}" presName="parTxOnlySpace" presStyleCnt="0"/>
      <dgm:spPr/>
    </dgm:pt>
    <dgm:pt modelId="{97FACA6A-B18A-4801-AE02-0D2B659B5EDD}" type="pres">
      <dgm:prSet presAssocID="{1A4CF166-F76B-49CE-AE8B-8D078B23ACFD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A38AEC4D-9F29-49AE-9561-58057C627CFF}" type="pres">
      <dgm:prSet presAssocID="{F7F877CE-DA4A-4070-AD65-36F2C85A2D49}" presName="parTxOnlySpace" presStyleCnt="0"/>
      <dgm:spPr/>
    </dgm:pt>
    <dgm:pt modelId="{39EF0538-AF7D-4C6B-897E-A3D180C2621C}" type="pres">
      <dgm:prSet presAssocID="{26253FCD-8140-4F93-BC28-C726401BE6B6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61C89834-F50D-4C95-B2F2-CBF5FC5D4485}" type="presOf" srcId="{26253FCD-8140-4F93-BC28-C726401BE6B6}" destId="{39EF0538-AF7D-4C6B-897E-A3D180C2621C}" srcOrd="0" destOrd="0" presId="urn:microsoft.com/office/officeart/2005/8/layout/chevron1"/>
    <dgm:cxn modelId="{DED4D15F-0982-4E31-9776-FD222430D8E9}" type="presOf" srcId="{94671029-ABBC-4C5C-96F5-78D438DD3B3F}" destId="{8DBE70E2-0F02-4BE3-872D-1EAADD9D5F11}" srcOrd="0" destOrd="0" presId="urn:microsoft.com/office/officeart/2005/8/layout/chevron1"/>
    <dgm:cxn modelId="{1EB0BF63-A050-48B5-9150-AFAC381F5A40}" srcId="{6985EF68-C714-47DF-95F4-839246331BFE}" destId="{1A4CF166-F76B-49CE-AE8B-8D078B23ACFD}" srcOrd="3" destOrd="0" parTransId="{381AF31E-F69C-425B-9C4C-D6D0674E7B92}" sibTransId="{F7F877CE-DA4A-4070-AD65-36F2C85A2D49}"/>
    <dgm:cxn modelId="{0605664D-781C-4C09-86F1-6BD49AAB0F83}" type="presOf" srcId="{3AE54B61-3F4C-4A4B-ADFF-CC9CF7BA4F25}" destId="{7141E469-82A7-452A-A5A3-3C9DB8A77C4C}" srcOrd="0" destOrd="0" presId="urn:microsoft.com/office/officeart/2005/8/layout/chevron1"/>
    <dgm:cxn modelId="{DC2AEE74-2E62-468C-B5CF-E41BB1C0C01B}" type="presOf" srcId="{1A4CF166-F76B-49CE-AE8B-8D078B23ACFD}" destId="{97FACA6A-B18A-4801-AE02-0D2B659B5EDD}" srcOrd="0" destOrd="0" presId="urn:microsoft.com/office/officeart/2005/8/layout/chevron1"/>
    <dgm:cxn modelId="{3D98D7A5-4FE3-494D-847C-E069351B6B53}" type="presOf" srcId="{6985EF68-C714-47DF-95F4-839246331BFE}" destId="{049F9131-BBF6-4D4A-A739-38633DB3716B}" srcOrd="0" destOrd="0" presId="urn:microsoft.com/office/officeart/2005/8/layout/chevron1"/>
    <dgm:cxn modelId="{9AD8C5A7-33C3-4600-9392-54EA300F732E}" srcId="{6985EF68-C714-47DF-95F4-839246331BFE}" destId="{26253FCD-8140-4F93-BC28-C726401BE6B6}" srcOrd="4" destOrd="0" parTransId="{452B0562-FD1B-471A-9895-695B23A9DF5B}" sibTransId="{56FBD035-58AE-43F9-8724-7207784A7381}"/>
    <dgm:cxn modelId="{902495B6-A384-48F2-87CF-A8C2FA314F08}" srcId="{6985EF68-C714-47DF-95F4-839246331BFE}" destId="{5DC8ED4B-2B23-4F96-BE85-F404472F0AEB}" srcOrd="0" destOrd="0" parTransId="{5BA55E4F-B2BD-4E91-9DFB-5988BC3D0750}" sibTransId="{6E4AE3C0-A9B2-474A-9530-D9F9DF9D7619}"/>
    <dgm:cxn modelId="{D9BEF4B7-D874-4C7C-BC5E-CFEFDC8216B8}" srcId="{6985EF68-C714-47DF-95F4-839246331BFE}" destId="{94671029-ABBC-4C5C-96F5-78D438DD3B3F}" srcOrd="2" destOrd="0" parTransId="{DB4357C2-AD04-489B-8943-2ACE9784E0F6}" sibTransId="{F15A699A-F57A-4CE4-AA9A-294840056294}"/>
    <dgm:cxn modelId="{057CA1C8-E8EC-4726-BB66-A5F57BE533C4}" srcId="{6985EF68-C714-47DF-95F4-839246331BFE}" destId="{3AE54B61-3F4C-4A4B-ADFF-CC9CF7BA4F25}" srcOrd="1" destOrd="0" parTransId="{AD3697A3-79E9-412C-ABAA-2ECF1B656769}" sibTransId="{2F26448B-A936-4101-A4C0-886A79BB89DB}"/>
    <dgm:cxn modelId="{48B928ED-CB2B-489C-8C9A-465DC60F6EBC}" type="presOf" srcId="{5DC8ED4B-2B23-4F96-BE85-F404472F0AEB}" destId="{8329E24A-1AAD-44DA-B2CA-9AB294F775A9}" srcOrd="0" destOrd="0" presId="urn:microsoft.com/office/officeart/2005/8/layout/chevron1"/>
    <dgm:cxn modelId="{93AEFD44-C108-4566-8987-04836697D542}" type="presParOf" srcId="{049F9131-BBF6-4D4A-A739-38633DB3716B}" destId="{8329E24A-1AAD-44DA-B2CA-9AB294F775A9}" srcOrd="0" destOrd="0" presId="urn:microsoft.com/office/officeart/2005/8/layout/chevron1"/>
    <dgm:cxn modelId="{94C090E7-5294-4EFA-B92B-8A638262C9E3}" type="presParOf" srcId="{049F9131-BBF6-4D4A-A739-38633DB3716B}" destId="{4A08A57B-51EB-45F4-BCD4-A04EA15CEADE}" srcOrd="1" destOrd="0" presId="urn:microsoft.com/office/officeart/2005/8/layout/chevron1"/>
    <dgm:cxn modelId="{497D8F31-B3DF-4AC6-BF48-D4408EB7FEB6}" type="presParOf" srcId="{049F9131-BBF6-4D4A-A739-38633DB3716B}" destId="{7141E469-82A7-452A-A5A3-3C9DB8A77C4C}" srcOrd="2" destOrd="0" presId="urn:microsoft.com/office/officeart/2005/8/layout/chevron1"/>
    <dgm:cxn modelId="{ACD095B8-B0CB-4464-9A25-197BBAFA172B}" type="presParOf" srcId="{049F9131-BBF6-4D4A-A739-38633DB3716B}" destId="{4D05AE17-1EBD-4F05-9421-52879486620F}" srcOrd="3" destOrd="0" presId="urn:microsoft.com/office/officeart/2005/8/layout/chevron1"/>
    <dgm:cxn modelId="{14BEFFA9-BF86-46D2-82DB-506A750758A2}" type="presParOf" srcId="{049F9131-BBF6-4D4A-A739-38633DB3716B}" destId="{8DBE70E2-0F02-4BE3-872D-1EAADD9D5F11}" srcOrd="4" destOrd="0" presId="urn:microsoft.com/office/officeart/2005/8/layout/chevron1"/>
    <dgm:cxn modelId="{4D7AB57E-986A-4895-B244-E554CA135A6A}" type="presParOf" srcId="{049F9131-BBF6-4D4A-A739-38633DB3716B}" destId="{087083BF-88D1-4C3F-A748-2996D859E2FC}" srcOrd="5" destOrd="0" presId="urn:microsoft.com/office/officeart/2005/8/layout/chevron1"/>
    <dgm:cxn modelId="{3D15D4E9-4298-4DA0-B835-C46E2BAC4CD8}" type="presParOf" srcId="{049F9131-BBF6-4D4A-A739-38633DB3716B}" destId="{97FACA6A-B18A-4801-AE02-0D2B659B5EDD}" srcOrd="6" destOrd="0" presId="urn:microsoft.com/office/officeart/2005/8/layout/chevron1"/>
    <dgm:cxn modelId="{0919B2B9-25CF-423B-896B-54A04E5B9DB0}" type="presParOf" srcId="{049F9131-BBF6-4D4A-A739-38633DB3716B}" destId="{A38AEC4D-9F29-49AE-9561-58057C627CFF}" srcOrd="7" destOrd="0" presId="urn:microsoft.com/office/officeart/2005/8/layout/chevron1"/>
    <dgm:cxn modelId="{951B4E5A-690D-4859-BAC9-100096C55CB4}" type="presParOf" srcId="{049F9131-BBF6-4D4A-A739-38633DB3716B}" destId="{39EF0538-AF7D-4C6B-897E-A3D180C2621C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985EF68-C714-47DF-95F4-839246331BF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5DC8ED4B-2B23-4F96-BE85-F404472F0AEB}">
      <dgm:prSet phldrT="[Text]"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1: Местоположение</a:t>
          </a:r>
        </a:p>
      </dgm:t>
    </dgm:pt>
    <dgm:pt modelId="{5BA55E4F-B2BD-4E91-9DFB-5988BC3D0750}" type="parTrans" cxnId="{902495B6-A384-48F2-87CF-A8C2FA314F08}">
      <dgm:prSet/>
      <dgm:spPr/>
      <dgm:t>
        <a:bodyPr/>
        <a:lstStyle/>
        <a:p>
          <a:endParaRPr lang="en-US" sz="1000"/>
        </a:p>
      </dgm:t>
    </dgm:pt>
    <dgm:pt modelId="{6E4AE3C0-A9B2-474A-9530-D9F9DF9D7619}" type="sibTrans" cxnId="{902495B6-A384-48F2-87CF-A8C2FA314F08}">
      <dgm:prSet/>
      <dgm:spPr/>
      <dgm:t>
        <a:bodyPr/>
        <a:lstStyle/>
        <a:p>
          <a:endParaRPr lang="en-US" sz="1000"/>
        </a:p>
      </dgm:t>
    </dgm:pt>
    <dgm:pt modelId="{3AE54B61-3F4C-4A4B-ADFF-CC9CF7BA4F25}">
      <dgm:prSet phldrT="[Text]"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2: Выбор сектора</a:t>
          </a:r>
        </a:p>
      </dgm:t>
    </dgm:pt>
    <dgm:pt modelId="{AD3697A3-79E9-412C-ABAA-2ECF1B656769}" type="parTrans" cxnId="{057CA1C8-E8EC-4726-BB66-A5F57BE533C4}">
      <dgm:prSet/>
      <dgm:spPr/>
      <dgm:t>
        <a:bodyPr/>
        <a:lstStyle/>
        <a:p>
          <a:endParaRPr lang="en-US" sz="1000"/>
        </a:p>
      </dgm:t>
    </dgm:pt>
    <dgm:pt modelId="{2F26448B-A936-4101-A4C0-886A79BB89DB}" type="sibTrans" cxnId="{057CA1C8-E8EC-4726-BB66-A5F57BE533C4}">
      <dgm:prSet/>
      <dgm:spPr/>
      <dgm:t>
        <a:bodyPr/>
        <a:lstStyle/>
        <a:p>
          <a:endParaRPr lang="en-US" sz="1000"/>
        </a:p>
      </dgm:t>
    </dgm:pt>
    <dgm:pt modelId="{1A4CF166-F76B-49CE-AE8B-8D078B23ACFD}">
      <dgm:prSet phldrT="[Text]" custT="1"/>
      <dgm:spPr>
        <a:solidFill>
          <a:srgbClr val="D04A02"/>
        </a:solidFill>
      </dgm:spPr>
      <dgm:t>
        <a:bodyPr/>
        <a:lstStyle/>
        <a:p>
          <a:r>
            <a:rPr lang="ru" sz="1000"/>
            <a:t>4: Институциональная структура</a:t>
          </a:r>
        </a:p>
      </dgm:t>
    </dgm:pt>
    <dgm:pt modelId="{381AF31E-F69C-425B-9C4C-D6D0674E7B92}" type="parTrans" cxnId="{1EB0BF63-A050-48B5-9150-AFAC381F5A40}">
      <dgm:prSet/>
      <dgm:spPr/>
      <dgm:t>
        <a:bodyPr/>
        <a:lstStyle/>
        <a:p>
          <a:endParaRPr lang="en-US" sz="1000"/>
        </a:p>
      </dgm:t>
    </dgm:pt>
    <dgm:pt modelId="{F7F877CE-DA4A-4070-AD65-36F2C85A2D49}" type="sibTrans" cxnId="{1EB0BF63-A050-48B5-9150-AFAC381F5A40}">
      <dgm:prSet/>
      <dgm:spPr/>
      <dgm:t>
        <a:bodyPr/>
        <a:lstStyle/>
        <a:p>
          <a:endParaRPr lang="en-US" sz="1000"/>
        </a:p>
      </dgm:t>
    </dgm:pt>
    <dgm:pt modelId="{94671029-ABBC-4C5C-96F5-78D438DD3B3F}">
      <dgm:prSet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3: Структура стимулов</a:t>
          </a:r>
        </a:p>
      </dgm:t>
    </dgm:pt>
    <dgm:pt modelId="{DB4357C2-AD04-489B-8943-2ACE9784E0F6}" type="parTrans" cxnId="{D9BEF4B7-D874-4C7C-BC5E-CFEFDC8216B8}">
      <dgm:prSet/>
      <dgm:spPr/>
      <dgm:t>
        <a:bodyPr/>
        <a:lstStyle/>
        <a:p>
          <a:endParaRPr lang="en-US" sz="1000"/>
        </a:p>
      </dgm:t>
    </dgm:pt>
    <dgm:pt modelId="{F15A699A-F57A-4CE4-AA9A-294840056294}" type="sibTrans" cxnId="{D9BEF4B7-D874-4C7C-BC5E-CFEFDC8216B8}">
      <dgm:prSet/>
      <dgm:spPr/>
      <dgm:t>
        <a:bodyPr/>
        <a:lstStyle/>
        <a:p>
          <a:endParaRPr lang="en-US" sz="1000"/>
        </a:p>
      </dgm:t>
    </dgm:pt>
    <dgm:pt modelId="{26253FCD-8140-4F93-BC28-C726401BE6B6}">
      <dgm:prSet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5: Компонент и зонирование</a:t>
          </a:r>
        </a:p>
      </dgm:t>
    </dgm:pt>
    <dgm:pt modelId="{452B0562-FD1B-471A-9895-695B23A9DF5B}" type="parTrans" cxnId="{9AD8C5A7-33C3-4600-9392-54EA300F732E}">
      <dgm:prSet/>
      <dgm:spPr/>
      <dgm:t>
        <a:bodyPr/>
        <a:lstStyle/>
        <a:p>
          <a:endParaRPr lang="en-US" sz="1000"/>
        </a:p>
      </dgm:t>
    </dgm:pt>
    <dgm:pt modelId="{56FBD035-58AE-43F9-8724-7207784A7381}" type="sibTrans" cxnId="{9AD8C5A7-33C3-4600-9392-54EA300F732E}">
      <dgm:prSet/>
      <dgm:spPr/>
      <dgm:t>
        <a:bodyPr/>
        <a:lstStyle/>
        <a:p>
          <a:endParaRPr lang="en-US" sz="1000"/>
        </a:p>
      </dgm:t>
    </dgm:pt>
    <dgm:pt modelId="{049F9131-BBF6-4D4A-A739-38633DB3716B}" type="pres">
      <dgm:prSet presAssocID="{6985EF68-C714-47DF-95F4-839246331BFE}" presName="Name0" presStyleCnt="0">
        <dgm:presLayoutVars>
          <dgm:dir/>
          <dgm:animLvl val="lvl"/>
          <dgm:resizeHandles val="exact"/>
        </dgm:presLayoutVars>
      </dgm:prSet>
      <dgm:spPr/>
    </dgm:pt>
    <dgm:pt modelId="{8329E24A-1AAD-44DA-B2CA-9AB294F775A9}" type="pres">
      <dgm:prSet presAssocID="{5DC8ED4B-2B23-4F96-BE85-F404472F0AEB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4A08A57B-51EB-45F4-BCD4-A04EA15CEADE}" type="pres">
      <dgm:prSet presAssocID="{6E4AE3C0-A9B2-474A-9530-D9F9DF9D7619}" presName="parTxOnlySpace" presStyleCnt="0"/>
      <dgm:spPr/>
    </dgm:pt>
    <dgm:pt modelId="{7141E469-82A7-452A-A5A3-3C9DB8A77C4C}" type="pres">
      <dgm:prSet presAssocID="{3AE54B61-3F4C-4A4B-ADFF-CC9CF7BA4F25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4D05AE17-1EBD-4F05-9421-52879486620F}" type="pres">
      <dgm:prSet presAssocID="{2F26448B-A936-4101-A4C0-886A79BB89DB}" presName="parTxOnlySpace" presStyleCnt="0"/>
      <dgm:spPr/>
    </dgm:pt>
    <dgm:pt modelId="{8DBE70E2-0F02-4BE3-872D-1EAADD9D5F11}" type="pres">
      <dgm:prSet presAssocID="{94671029-ABBC-4C5C-96F5-78D438DD3B3F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087083BF-88D1-4C3F-A748-2996D859E2FC}" type="pres">
      <dgm:prSet presAssocID="{F15A699A-F57A-4CE4-AA9A-294840056294}" presName="parTxOnlySpace" presStyleCnt="0"/>
      <dgm:spPr/>
    </dgm:pt>
    <dgm:pt modelId="{97FACA6A-B18A-4801-AE02-0D2B659B5EDD}" type="pres">
      <dgm:prSet presAssocID="{1A4CF166-F76B-49CE-AE8B-8D078B23ACFD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A38AEC4D-9F29-49AE-9561-58057C627CFF}" type="pres">
      <dgm:prSet presAssocID="{F7F877CE-DA4A-4070-AD65-36F2C85A2D49}" presName="parTxOnlySpace" presStyleCnt="0"/>
      <dgm:spPr/>
    </dgm:pt>
    <dgm:pt modelId="{39EF0538-AF7D-4C6B-897E-A3D180C2621C}" type="pres">
      <dgm:prSet presAssocID="{26253FCD-8140-4F93-BC28-C726401BE6B6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61C89834-F50D-4C95-B2F2-CBF5FC5D4485}" type="presOf" srcId="{26253FCD-8140-4F93-BC28-C726401BE6B6}" destId="{39EF0538-AF7D-4C6B-897E-A3D180C2621C}" srcOrd="0" destOrd="0" presId="urn:microsoft.com/office/officeart/2005/8/layout/chevron1"/>
    <dgm:cxn modelId="{DED4D15F-0982-4E31-9776-FD222430D8E9}" type="presOf" srcId="{94671029-ABBC-4C5C-96F5-78D438DD3B3F}" destId="{8DBE70E2-0F02-4BE3-872D-1EAADD9D5F11}" srcOrd="0" destOrd="0" presId="urn:microsoft.com/office/officeart/2005/8/layout/chevron1"/>
    <dgm:cxn modelId="{1EB0BF63-A050-48B5-9150-AFAC381F5A40}" srcId="{6985EF68-C714-47DF-95F4-839246331BFE}" destId="{1A4CF166-F76B-49CE-AE8B-8D078B23ACFD}" srcOrd="3" destOrd="0" parTransId="{381AF31E-F69C-425B-9C4C-D6D0674E7B92}" sibTransId="{F7F877CE-DA4A-4070-AD65-36F2C85A2D49}"/>
    <dgm:cxn modelId="{0605664D-781C-4C09-86F1-6BD49AAB0F83}" type="presOf" srcId="{3AE54B61-3F4C-4A4B-ADFF-CC9CF7BA4F25}" destId="{7141E469-82A7-452A-A5A3-3C9DB8A77C4C}" srcOrd="0" destOrd="0" presId="urn:microsoft.com/office/officeart/2005/8/layout/chevron1"/>
    <dgm:cxn modelId="{DC2AEE74-2E62-468C-B5CF-E41BB1C0C01B}" type="presOf" srcId="{1A4CF166-F76B-49CE-AE8B-8D078B23ACFD}" destId="{97FACA6A-B18A-4801-AE02-0D2B659B5EDD}" srcOrd="0" destOrd="0" presId="urn:microsoft.com/office/officeart/2005/8/layout/chevron1"/>
    <dgm:cxn modelId="{3D98D7A5-4FE3-494D-847C-E069351B6B53}" type="presOf" srcId="{6985EF68-C714-47DF-95F4-839246331BFE}" destId="{049F9131-BBF6-4D4A-A739-38633DB3716B}" srcOrd="0" destOrd="0" presId="urn:microsoft.com/office/officeart/2005/8/layout/chevron1"/>
    <dgm:cxn modelId="{9AD8C5A7-33C3-4600-9392-54EA300F732E}" srcId="{6985EF68-C714-47DF-95F4-839246331BFE}" destId="{26253FCD-8140-4F93-BC28-C726401BE6B6}" srcOrd="4" destOrd="0" parTransId="{452B0562-FD1B-471A-9895-695B23A9DF5B}" sibTransId="{56FBD035-58AE-43F9-8724-7207784A7381}"/>
    <dgm:cxn modelId="{902495B6-A384-48F2-87CF-A8C2FA314F08}" srcId="{6985EF68-C714-47DF-95F4-839246331BFE}" destId="{5DC8ED4B-2B23-4F96-BE85-F404472F0AEB}" srcOrd="0" destOrd="0" parTransId="{5BA55E4F-B2BD-4E91-9DFB-5988BC3D0750}" sibTransId="{6E4AE3C0-A9B2-474A-9530-D9F9DF9D7619}"/>
    <dgm:cxn modelId="{D9BEF4B7-D874-4C7C-BC5E-CFEFDC8216B8}" srcId="{6985EF68-C714-47DF-95F4-839246331BFE}" destId="{94671029-ABBC-4C5C-96F5-78D438DD3B3F}" srcOrd="2" destOrd="0" parTransId="{DB4357C2-AD04-489B-8943-2ACE9784E0F6}" sibTransId="{F15A699A-F57A-4CE4-AA9A-294840056294}"/>
    <dgm:cxn modelId="{057CA1C8-E8EC-4726-BB66-A5F57BE533C4}" srcId="{6985EF68-C714-47DF-95F4-839246331BFE}" destId="{3AE54B61-3F4C-4A4B-ADFF-CC9CF7BA4F25}" srcOrd="1" destOrd="0" parTransId="{AD3697A3-79E9-412C-ABAA-2ECF1B656769}" sibTransId="{2F26448B-A936-4101-A4C0-886A79BB89DB}"/>
    <dgm:cxn modelId="{48B928ED-CB2B-489C-8C9A-465DC60F6EBC}" type="presOf" srcId="{5DC8ED4B-2B23-4F96-BE85-F404472F0AEB}" destId="{8329E24A-1AAD-44DA-B2CA-9AB294F775A9}" srcOrd="0" destOrd="0" presId="urn:microsoft.com/office/officeart/2005/8/layout/chevron1"/>
    <dgm:cxn modelId="{93AEFD44-C108-4566-8987-04836697D542}" type="presParOf" srcId="{049F9131-BBF6-4D4A-A739-38633DB3716B}" destId="{8329E24A-1AAD-44DA-B2CA-9AB294F775A9}" srcOrd="0" destOrd="0" presId="urn:microsoft.com/office/officeart/2005/8/layout/chevron1"/>
    <dgm:cxn modelId="{94C090E7-5294-4EFA-B92B-8A638262C9E3}" type="presParOf" srcId="{049F9131-BBF6-4D4A-A739-38633DB3716B}" destId="{4A08A57B-51EB-45F4-BCD4-A04EA15CEADE}" srcOrd="1" destOrd="0" presId="urn:microsoft.com/office/officeart/2005/8/layout/chevron1"/>
    <dgm:cxn modelId="{497D8F31-B3DF-4AC6-BF48-D4408EB7FEB6}" type="presParOf" srcId="{049F9131-BBF6-4D4A-A739-38633DB3716B}" destId="{7141E469-82A7-452A-A5A3-3C9DB8A77C4C}" srcOrd="2" destOrd="0" presId="urn:microsoft.com/office/officeart/2005/8/layout/chevron1"/>
    <dgm:cxn modelId="{ACD095B8-B0CB-4464-9A25-197BBAFA172B}" type="presParOf" srcId="{049F9131-BBF6-4D4A-A739-38633DB3716B}" destId="{4D05AE17-1EBD-4F05-9421-52879486620F}" srcOrd="3" destOrd="0" presId="urn:microsoft.com/office/officeart/2005/8/layout/chevron1"/>
    <dgm:cxn modelId="{14BEFFA9-BF86-46D2-82DB-506A750758A2}" type="presParOf" srcId="{049F9131-BBF6-4D4A-A739-38633DB3716B}" destId="{8DBE70E2-0F02-4BE3-872D-1EAADD9D5F11}" srcOrd="4" destOrd="0" presId="urn:microsoft.com/office/officeart/2005/8/layout/chevron1"/>
    <dgm:cxn modelId="{4D7AB57E-986A-4895-B244-E554CA135A6A}" type="presParOf" srcId="{049F9131-BBF6-4D4A-A739-38633DB3716B}" destId="{087083BF-88D1-4C3F-A748-2996D859E2FC}" srcOrd="5" destOrd="0" presId="urn:microsoft.com/office/officeart/2005/8/layout/chevron1"/>
    <dgm:cxn modelId="{3D15D4E9-4298-4DA0-B835-C46E2BAC4CD8}" type="presParOf" srcId="{049F9131-BBF6-4D4A-A739-38633DB3716B}" destId="{97FACA6A-B18A-4801-AE02-0D2B659B5EDD}" srcOrd="6" destOrd="0" presId="urn:microsoft.com/office/officeart/2005/8/layout/chevron1"/>
    <dgm:cxn modelId="{0919B2B9-25CF-423B-896B-54A04E5B9DB0}" type="presParOf" srcId="{049F9131-BBF6-4D4A-A739-38633DB3716B}" destId="{A38AEC4D-9F29-49AE-9561-58057C627CFF}" srcOrd="7" destOrd="0" presId="urn:microsoft.com/office/officeart/2005/8/layout/chevron1"/>
    <dgm:cxn modelId="{951B4E5A-690D-4859-BAC9-100096C55CB4}" type="presParOf" srcId="{049F9131-BBF6-4D4A-A739-38633DB3716B}" destId="{39EF0538-AF7D-4C6B-897E-A3D180C2621C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985EF68-C714-47DF-95F4-839246331BF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5DC8ED4B-2B23-4F96-BE85-F404472F0AEB}">
      <dgm:prSet phldrT="[Text]"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1: Местоположение</a:t>
          </a:r>
        </a:p>
      </dgm:t>
    </dgm:pt>
    <dgm:pt modelId="{5BA55E4F-B2BD-4E91-9DFB-5988BC3D0750}" type="parTrans" cxnId="{902495B6-A384-48F2-87CF-A8C2FA314F08}">
      <dgm:prSet/>
      <dgm:spPr/>
      <dgm:t>
        <a:bodyPr/>
        <a:lstStyle/>
        <a:p>
          <a:endParaRPr lang="en-US" sz="1000"/>
        </a:p>
      </dgm:t>
    </dgm:pt>
    <dgm:pt modelId="{6E4AE3C0-A9B2-474A-9530-D9F9DF9D7619}" type="sibTrans" cxnId="{902495B6-A384-48F2-87CF-A8C2FA314F08}">
      <dgm:prSet/>
      <dgm:spPr/>
      <dgm:t>
        <a:bodyPr/>
        <a:lstStyle/>
        <a:p>
          <a:endParaRPr lang="en-US" sz="1000"/>
        </a:p>
      </dgm:t>
    </dgm:pt>
    <dgm:pt modelId="{3AE54B61-3F4C-4A4B-ADFF-CC9CF7BA4F25}">
      <dgm:prSet phldrT="[Text]"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2: Выбор сектора</a:t>
          </a:r>
        </a:p>
      </dgm:t>
    </dgm:pt>
    <dgm:pt modelId="{AD3697A3-79E9-412C-ABAA-2ECF1B656769}" type="parTrans" cxnId="{057CA1C8-E8EC-4726-BB66-A5F57BE533C4}">
      <dgm:prSet/>
      <dgm:spPr/>
      <dgm:t>
        <a:bodyPr/>
        <a:lstStyle/>
        <a:p>
          <a:endParaRPr lang="en-US" sz="1000"/>
        </a:p>
      </dgm:t>
    </dgm:pt>
    <dgm:pt modelId="{2F26448B-A936-4101-A4C0-886A79BB89DB}" type="sibTrans" cxnId="{057CA1C8-E8EC-4726-BB66-A5F57BE533C4}">
      <dgm:prSet/>
      <dgm:spPr/>
      <dgm:t>
        <a:bodyPr/>
        <a:lstStyle/>
        <a:p>
          <a:endParaRPr lang="en-US" sz="1000"/>
        </a:p>
      </dgm:t>
    </dgm:pt>
    <dgm:pt modelId="{1A4CF166-F76B-49CE-AE8B-8D078B23ACFD}">
      <dgm:prSet phldrT="[Text]"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4: Институциональная структура</a:t>
          </a:r>
        </a:p>
      </dgm:t>
    </dgm:pt>
    <dgm:pt modelId="{381AF31E-F69C-425B-9C4C-D6D0674E7B92}" type="parTrans" cxnId="{1EB0BF63-A050-48B5-9150-AFAC381F5A40}">
      <dgm:prSet/>
      <dgm:spPr/>
      <dgm:t>
        <a:bodyPr/>
        <a:lstStyle/>
        <a:p>
          <a:endParaRPr lang="en-US" sz="1000"/>
        </a:p>
      </dgm:t>
    </dgm:pt>
    <dgm:pt modelId="{F7F877CE-DA4A-4070-AD65-36F2C85A2D49}" type="sibTrans" cxnId="{1EB0BF63-A050-48B5-9150-AFAC381F5A40}">
      <dgm:prSet/>
      <dgm:spPr/>
      <dgm:t>
        <a:bodyPr/>
        <a:lstStyle/>
        <a:p>
          <a:endParaRPr lang="en-US" sz="1000"/>
        </a:p>
      </dgm:t>
    </dgm:pt>
    <dgm:pt modelId="{94671029-ABBC-4C5C-96F5-78D438DD3B3F}">
      <dgm:prSet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3: Структура стимулов</a:t>
          </a:r>
        </a:p>
      </dgm:t>
    </dgm:pt>
    <dgm:pt modelId="{DB4357C2-AD04-489B-8943-2ACE9784E0F6}" type="parTrans" cxnId="{D9BEF4B7-D874-4C7C-BC5E-CFEFDC8216B8}">
      <dgm:prSet/>
      <dgm:spPr/>
      <dgm:t>
        <a:bodyPr/>
        <a:lstStyle/>
        <a:p>
          <a:endParaRPr lang="en-US" sz="1000"/>
        </a:p>
      </dgm:t>
    </dgm:pt>
    <dgm:pt modelId="{F15A699A-F57A-4CE4-AA9A-294840056294}" type="sibTrans" cxnId="{D9BEF4B7-D874-4C7C-BC5E-CFEFDC8216B8}">
      <dgm:prSet/>
      <dgm:spPr/>
      <dgm:t>
        <a:bodyPr/>
        <a:lstStyle/>
        <a:p>
          <a:endParaRPr lang="en-US" sz="1000"/>
        </a:p>
      </dgm:t>
    </dgm:pt>
    <dgm:pt modelId="{26253FCD-8140-4F93-BC28-C726401BE6B6}">
      <dgm:prSet custT="1"/>
      <dgm:spPr>
        <a:solidFill>
          <a:srgbClr val="D04A02"/>
        </a:solidFill>
      </dgm:spPr>
      <dgm:t>
        <a:bodyPr/>
        <a:lstStyle/>
        <a:p>
          <a:r>
            <a:rPr lang="ru" sz="1000"/>
            <a:t>5: Компонент и зонирование</a:t>
          </a:r>
        </a:p>
      </dgm:t>
    </dgm:pt>
    <dgm:pt modelId="{452B0562-FD1B-471A-9895-695B23A9DF5B}" type="parTrans" cxnId="{9AD8C5A7-33C3-4600-9392-54EA300F732E}">
      <dgm:prSet/>
      <dgm:spPr/>
      <dgm:t>
        <a:bodyPr/>
        <a:lstStyle/>
        <a:p>
          <a:endParaRPr lang="en-US" sz="1000"/>
        </a:p>
      </dgm:t>
    </dgm:pt>
    <dgm:pt modelId="{56FBD035-58AE-43F9-8724-7207784A7381}" type="sibTrans" cxnId="{9AD8C5A7-33C3-4600-9392-54EA300F732E}">
      <dgm:prSet/>
      <dgm:spPr/>
      <dgm:t>
        <a:bodyPr/>
        <a:lstStyle/>
        <a:p>
          <a:endParaRPr lang="en-US" sz="1000"/>
        </a:p>
      </dgm:t>
    </dgm:pt>
    <dgm:pt modelId="{049F9131-BBF6-4D4A-A739-38633DB3716B}" type="pres">
      <dgm:prSet presAssocID="{6985EF68-C714-47DF-95F4-839246331BFE}" presName="Name0" presStyleCnt="0">
        <dgm:presLayoutVars>
          <dgm:dir/>
          <dgm:animLvl val="lvl"/>
          <dgm:resizeHandles val="exact"/>
        </dgm:presLayoutVars>
      </dgm:prSet>
      <dgm:spPr/>
    </dgm:pt>
    <dgm:pt modelId="{8329E24A-1AAD-44DA-B2CA-9AB294F775A9}" type="pres">
      <dgm:prSet presAssocID="{5DC8ED4B-2B23-4F96-BE85-F404472F0AEB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4A08A57B-51EB-45F4-BCD4-A04EA15CEADE}" type="pres">
      <dgm:prSet presAssocID="{6E4AE3C0-A9B2-474A-9530-D9F9DF9D7619}" presName="parTxOnlySpace" presStyleCnt="0"/>
      <dgm:spPr/>
    </dgm:pt>
    <dgm:pt modelId="{7141E469-82A7-452A-A5A3-3C9DB8A77C4C}" type="pres">
      <dgm:prSet presAssocID="{3AE54B61-3F4C-4A4B-ADFF-CC9CF7BA4F25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4D05AE17-1EBD-4F05-9421-52879486620F}" type="pres">
      <dgm:prSet presAssocID="{2F26448B-A936-4101-A4C0-886A79BB89DB}" presName="parTxOnlySpace" presStyleCnt="0"/>
      <dgm:spPr/>
    </dgm:pt>
    <dgm:pt modelId="{8DBE70E2-0F02-4BE3-872D-1EAADD9D5F11}" type="pres">
      <dgm:prSet presAssocID="{94671029-ABBC-4C5C-96F5-78D438DD3B3F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087083BF-88D1-4C3F-A748-2996D859E2FC}" type="pres">
      <dgm:prSet presAssocID="{F15A699A-F57A-4CE4-AA9A-294840056294}" presName="parTxOnlySpace" presStyleCnt="0"/>
      <dgm:spPr/>
    </dgm:pt>
    <dgm:pt modelId="{97FACA6A-B18A-4801-AE02-0D2B659B5EDD}" type="pres">
      <dgm:prSet presAssocID="{1A4CF166-F76B-49CE-AE8B-8D078B23ACFD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A38AEC4D-9F29-49AE-9561-58057C627CFF}" type="pres">
      <dgm:prSet presAssocID="{F7F877CE-DA4A-4070-AD65-36F2C85A2D49}" presName="parTxOnlySpace" presStyleCnt="0"/>
      <dgm:spPr/>
    </dgm:pt>
    <dgm:pt modelId="{39EF0538-AF7D-4C6B-897E-A3D180C2621C}" type="pres">
      <dgm:prSet presAssocID="{26253FCD-8140-4F93-BC28-C726401BE6B6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61C89834-F50D-4C95-B2F2-CBF5FC5D4485}" type="presOf" srcId="{26253FCD-8140-4F93-BC28-C726401BE6B6}" destId="{39EF0538-AF7D-4C6B-897E-A3D180C2621C}" srcOrd="0" destOrd="0" presId="urn:microsoft.com/office/officeart/2005/8/layout/chevron1"/>
    <dgm:cxn modelId="{DED4D15F-0982-4E31-9776-FD222430D8E9}" type="presOf" srcId="{94671029-ABBC-4C5C-96F5-78D438DD3B3F}" destId="{8DBE70E2-0F02-4BE3-872D-1EAADD9D5F11}" srcOrd="0" destOrd="0" presId="urn:microsoft.com/office/officeart/2005/8/layout/chevron1"/>
    <dgm:cxn modelId="{1EB0BF63-A050-48B5-9150-AFAC381F5A40}" srcId="{6985EF68-C714-47DF-95F4-839246331BFE}" destId="{1A4CF166-F76B-49CE-AE8B-8D078B23ACFD}" srcOrd="3" destOrd="0" parTransId="{381AF31E-F69C-425B-9C4C-D6D0674E7B92}" sibTransId="{F7F877CE-DA4A-4070-AD65-36F2C85A2D49}"/>
    <dgm:cxn modelId="{0605664D-781C-4C09-86F1-6BD49AAB0F83}" type="presOf" srcId="{3AE54B61-3F4C-4A4B-ADFF-CC9CF7BA4F25}" destId="{7141E469-82A7-452A-A5A3-3C9DB8A77C4C}" srcOrd="0" destOrd="0" presId="urn:microsoft.com/office/officeart/2005/8/layout/chevron1"/>
    <dgm:cxn modelId="{DC2AEE74-2E62-468C-B5CF-E41BB1C0C01B}" type="presOf" srcId="{1A4CF166-F76B-49CE-AE8B-8D078B23ACFD}" destId="{97FACA6A-B18A-4801-AE02-0D2B659B5EDD}" srcOrd="0" destOrd="0" presId="urn:microsoft.com/office/officeart/2005/8/layout/chevron1"/>
    <dgm:cxn modelId="{3D98D7A5-4FE3-494D-847C-E069351B6B53}" type="presOf" srcId="{6985EF68-C714-47DF-95F4-839246331BFE}" destId="{049F9131-BBF6-4D4A-A739-38633DB3716B}" srcOrd="0" destOrd="0" presId="urn:microsoft.com/office/officeart/2005/8/layout/chevron1"/>
    <dgm:cxn modelId="{9AD8C5A7-33C3-4600-9392-54EA300F732E}" srcId="{6985EF68-C714-47DF-95F4-839246331BFE}" destId="{26253FCD-8140-4F93-BC28-C726401BE6B6}" srcOrd="4" destOrd="0" parTransId="{452B0562-FD1B-471A-9895-695B23A9DF5B}" sibTransId="{56FBD035-58AE-43F9-8724-7207784A7381}"/>
    <dgm:cxn modelId="{902495B6-A384-48F2-87CF-A8C2FA314F08}" srcId="{6985EF68-C714-47DF-95F4-839246331BFE}" destId="{5DC8ED4B-2B23-4F96-BE85-F404472F0AEB}" srcOrd="0" destOrd="0" parTransId="{5BA55E4F-B2BD-4E91-9DFB-5988BC3D0750}" sibTransId="{6E4AE3C0-A9B2-474A-9530-D9F9DF9D7619}"/>
    <dgm:cxn modelId="{D9BEF4B7-D874-4C7C-BC5E-CFEFDC8216B8}" srcId="{6985EF68-C714-47DF-95F4-839246331BFE}" destId="{94671029-ABBC-4C5C-96F5-78D438DD3B3F}" srcOrd="2" destOrd="0" parTransId="{DB4357C2-AD04-489B-8943-2ACE9784E0F6}" sibTransId="{F15A699A-F57A-4CE4-AA9A-294840056294}"/>
    <dgm:cxn modelId="{057CA1C8-E8EC-4726-BB66-A5F57BE533C4}" srcId="{6985EF68-C714-47DF-95F4-839246331BFE}" destId="{3AE54B61-3F4C-4A4B-ADFF-CC9CF7BA4F25}" srcOrd="1" destOrd="0" parTransId="{AD3697A3-79E9-412C-ABAA-2ECF1B656769}" sibTransId="{2F26448B-A936-4101-A4C0-886A79BB89DB}"/>
    <dgm:cxn modelId="{48B928ED-CB2B-489C-8C9A-465DC60F6EBC}" type="presOf" srcId="{5DC8ED4B-2B23-4F96-BE85-F404472F0AEB}" destId="{8329E24A-1AAD-44DA-B2CA-9AB294F775A9}" srcOrd="0" destOrd="0" presId="urn:microsoft.com/office/officeart/2005/8/layout/chevron1"/>
    <dgm:cxn modelId="{93AEFD44-C108-4566-8987-04836697D542}" type="presParOf" srcId="{049F9131-BBF6-4D4A-A739-38633DB3716B}" destId="{8329E24A-1AAD-44DA-B2CA-9AB294F775A9}" srcOrd="0" destOrd="0" presId="urn:microsoft.com/office/officeart/2005/8/layout/chevron1"/>
    <dgm:cxn modelId="{94C090E7-5294-4EFA-B92B-8A638262C9E3}" type="presParOf" srcId="{049F9131-BBF6-4D4A-A739-38633DB3716B}" destId="{4A08A57B-51EB-45F4-BCD4-A04EA15CEADE}" srcOrd="1" destOrd="0" presId="urn:microsoft.com/office/officeart/2005/8/layout/chevron1"/>
    <dgm:cxn modelId="{497D8F31-B3DF-4AC6-BF48-D4408EB7FEB6}" type="presParOf" srcId="{049F9131-BBF6-4D4A-A739-38633DB3716B}" destId="{7141E469-82A7-452A-A5A3-3C9DB8A77C4C}" srcOrd="2" destOrd="0" presId="urn:microsoft.com/office/officeart/2005/8/layout/chevron1"/>
    <dgm:cxn modelId="{ACD095B8-B0CB-4464-9A25-197BBAFA172B}" type="presParOf" srcId="{049F9131-BBF6-4D4A-A739-38633DB3716B}" destId="{4D05AE17-1EBD-4F05-9421-52879486620F}" srcOrd="3" destOrd="0" presId="urn:microsoft.com/office/officeart/2005/8/layout/chevron1"/>
    <dgm:cxn modelId="{14BEFFA9-BF86-46D2-82DB-506A750758A2}" type="presParOf" srcId="{049F9131-BBF6-4D4A-A739-38633DB3716B}" destId="{8DBE70E2-0F02-4BE3-872D-1EAADD9D5F11}" srcOrd="4" destOrd="0" presId="urn:microsoft.com/office/officeart/2005/8/layout/chevron1"/>
    <dgm:cxn modelId="{4D7AB57E-986A-4895-B244-E554CA135A6A}" type="presParOf" srcId="{049F9131-BBF6-4D4A-A739-38633DB3716B}" destId="{087083BF-88D1-4C3F-A748-2996D859E2FC}" srcOrd="5" destOrd="0" presId="urn:microsoft.com/office/officeart/2005/8/layout/chevron1"/>
    <dgm:cxn modelId="{3D15D4E9-4298-4DA0-B835-C46E2BAC4CD8}" type="presParOf" srcId="{049F9131-BBF6-4D4A-A739-38633DB3716B}" destId="{97FACA6A-B18A-4801-AE02-0D2B659B5EDD}" srcOrd="6" destOrd="0" presId="urn:microsoft.com/office/officeart/2005/8/layout/chevron1"/>
    <dgm:cxn modelId="{0919B2B9-25CF-423B-896B-54A04E5B9DB0}" type="presParOf" srcId="{049F9131-BBF6-4D4A-A739-38633DB3716B}" destId="{A38AEC4D-9F29-49AE-9561-58057C627CFF}" srcOrd="7" destOrd="0" presId="urn:microsoft.com/office/officeart/2005/8/layout/chevron1"/>
    <dgm:cxn modelId="{951B4E5A-690D-4859-BAC9-100096C55CB4}" type="presParOf" srcId="{049F9131-BBF6-4D4A-A739-38633DB3716B}" destId="{39EF0538-AF7D-4C6B-897E-A3D180C2621C}" srcOrd="8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985EF68-C714-47DF-95F4-839246331BF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5DC8ED4B-2B23-4F96-BE85-F404472F0AEB}">
      <dgm:prSet phldrT="[Text]"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1: Местоположение</a:t>
          </a:r>
        </a:p>
      </dgm:t>
    </dgm:pt>
    <dgm:pt modelId="{5BA55E4F-B2BD-4E91-9DFB-5988BC3D0750}" type="parTrans" cxnId="{902495B6-A384-48F2-87CF-A8C2FA314F08}">
      <dgm:prSet/>
      <dgm:spPr/>
      <dgm:t>
        <a:bodyPr/>
        <a:lstStyle/>
        <a:p>
          <a:endParaRPr lang="en-US" sz="1000"/>
        </a:p>
      </dgm:t>
    </dgm:pt>
    <dgm:pt modelId="{6E4AE3C0-A9B2-474A-9530-D9F9DF9D7619}" type="sibTrans" cxnId="{902495B6-A384-48F2-87CF-A8C2FA314F08}">
      <dgm:prSet/>
      <dgm:spPr/>
      <dgm:t>
        <a:bodyPr/>
        <a:lstStyle/>
        <a:p>
          <a:endParaRPr lang="en-US" sz="1000"/>
        </a:p>
      </dgm:t>
    </dgm:pt>
    <dgm:pt modelId="{3AE54B61-3F4C-4A4B-ADFF-CC9CF7BA4F25}">
      <dgm:prSet phldrT="[Text]"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2: Выбор сектора</a:t>
          </a:r>
        </a:p>
      </dgm:t>
    </dgm:pt>
    <dgm:pt modelId="{AD3697A3-79E9-412C-ABAA-2ECF1B656769}" type="parTrans" cxnId="{057CA1C8-E8EC-4726-BB66-A5F57BE533C4}">
      <dgm:prSet/>
      <dgm:spPr/>
      <dgm:t>
        <a:bodyPr/>
        <a:lstStyle/>
        <a:p>
          <a:endParaRPr lang="en-US" sz="1000"/>
        </a:p>
      </dgm:t>
    </dgm:pt>
    <dgm:pt modelId="{2F26448B-A936-4101-A4C0-886A79BB89DB}" type="sibTrans" cxnId="{057CA1C8-E8EC-4726-BB66-A5F57BE533C4}">
      <dgm:prSet/>
      <dgm:spPr/>
      <dgm:t>
        <a:bodyPr/>
        <a:lstStyle/>
        <a:p>
          <a:endParaRPr lang="en-US" sz="1000"/>
        </a:p>
      </dgm:t>
    </dgm:pt>
    <dgm:pt modelId="{1A4CF166-F76B-49CE-AE8B-8D078B23ACFD}">
      <dgm:prSet phldrT="[Text]"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4: Институциональная структура</a:t>
          </a:r>
        </a:p>
      </dgm:t>
    </dgm:pt>
    <dgm:pt modelId="{381AF31E-F69C-425B-9C4C-D6D0674E7B92}" type="parTrans" cxnId="{1EB0BF63-A050-48B5-9150-AFAC381F5A40}">
      <dgm:prSet/>
      <dgm:spPr/>
      <dgm:t>
        <a:bodyPr/>
        <a:lstStyle/>
        <a:p>
          <a:endParaRPr lang="en-US" sz="1000"/>
        </a:p>
      </dgm:t>
    </dgm:pt>
    <dgm:pt modelId="{F7F877CE-DA4A-4070-AD65-36F2C85A2D49}" type="sibTrans" cxnId="{1EB0BF63-A050-48B5-9150-AFAC381F5A40}">
      <dgm:prSet/>
      <dgm:spPr/>
      <dgm:t>
        <a:bodyPr/>
        <a:lstStyle/>
        <a:p>
          <a:endParaRPr lang="en-US" sz="1000"/>
        </a:p>
      </dgm:t>
    </dgm:pt>
    <dgm:pt modelId="{94671029-ABBC-4C5C-96F5-78D438DD3B3F}">
      <dgm:prSet custT="1"/>
      <dgm:spPr>
        <a:solidFill>
          <a:srgbClr val="D04A02">
            <a:alpha val="50196"/>
          </a:srgbClr>
        </a:solidFill>
      </dgm:spPr>
      <dgm:t>
        <a:bodyPr/>
        <a:lstStyle/>
        <a:p>
          <a:r>
            <a:rPr lang="ru" sz="1000"/>
            <a:t>3: Структура стимулов</a:t>
          </a:r>
        </a:p>
      </dgm:t>
    </dgm:pt>
    <dgm:pt modelId="{DB4357C2-AD04-489B-8943-2ACE9784E0F6}" type="parTrans" cxnId="{D9BEF4B7-D874-4C7C-BC5E-CFEFDC8216B8}">
      <dgm:prSet/>
      <dgm:spPr/>
      <dgm:t>
        <a:bodyPr/>
        <a:lstStyle/>
        <a:p>
          <a:endParaRPr lang="en-US" sz="1000"/>
        </a:p>
      </dgm:t>
    </dgm:pt>
    <dgm:pt modelId="{F15A699A-F57A-4CE4-AA9A-294840056294}" type="sibTrans" cxnId="{D9BEF4B7-D874-4C7C-BC5E-CFEFDC8216B8}">
      <dgm:prSet/>
      <dgm:spPr/>
      <dgm:t>
        <a:bodyPr/>
        <a:lstStyle/>
        <a:p>
          <a:endParaRPr lang="en-US" sz="1000"/>
        </a:p>
      </dgm:t>
    </dgm:pt>
    <dgm:pt modelId="{26253FCD-8140-4F93-BC28-C726401BE6B6}">
      <dgm:prSet custT="1"/>
      <dgm:spPr>
        <a:solidFill>
          <a:srgbClr val="D04A02"/>
        </a:solidFill>
      </dgm:spPr>
      <dgm:t>
        <a:bodyPr/>
        <a:lstStyle/>
        <a:p>
          <a:r>
            <a:rPr lang="ru" sz="1000"/>
            <a:t>5: Компонент и зонирование</a:t>
          </a:r>
        </a:p>
      </dgm:t>
    </dgm:pt>
    <dgm:pt modelId="{452B0562-FD1B-471A-9895-695B23A9DF5B}" type="parTrans" cxnId="{9AD8C5A7-33C3-4600-9392-54EA300F732E}">
      <dgm:prSet/>
      <dgm:spPr/>
      <dgm:t>
        <a:bodyPr/>
        <a:lstStyle/>
        <a:p>
          <a:endParaRPr lang="en-US" sz="1000"/>
        </a:p>
      </dgm:t>
    </dgm:pt>
    <dgm:pt modelId="{56FBD035-58AE-43F9-8724-7207784A7381}" type="sibTrans" cxnId="{9AD8C5A7-33C3-4600-9392-54EA300F732E}">
      <dgm:prSet/>
      <dgm:spPr/>
      <dgm:t>
        <a:bodyPr/>
        <a:lstStyle/>
        <a:p>
          <a:endParaRPr lang="en-US" sz="1000"/>
        </a:p>
      </dgm:t>
    </dgm:pt>
    <dgm:pt modelId="{049F9131-BBF6-4D4A-A739-38633DB3716B}" type="pres">
      <dgm:prSet presAssocID="{6985EF68-C714-47DF-95F4-839246331BFE}" presName="Name0" presStyleCnt="0">
        <dgm:presLayoutVars>
          <dgm:dir/>
          <dgm:animLvl val="lvl"/>
          <dgm:resizeHandles val="exact"/>
        </dgm:presLayoutVars>
      </dgm:prSet>
      <dgm:spPr/>
    </dgm:pt>
    <dgm:pt modelId="{8329E24A-1AAD-44DA-B2CA-9AB294F775A9}" type="pres">
      <dgm:prSet presAssocID="{5DC8ED4B-2B23-4F96-BE85-F404472F0AEB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4A08A57B-51EB-45F4-BCD4-A04EA15CEADE}" type="pres">
      <dgm:prSet presAssocID="{6E4AE3C0-A9B2-474A-9530-D9F9DF9D7619}" presName="parTxOnlySpace" presStyleCnt="0"/>
      <dgm:spPr/>
    </dgm:pt>
    <dgm:pt modelId="{7141E469-82A7-452A-A5A3-3C9DB8A77C4C}" type="pres">
      <dgm:prSet presAssocID="{3AE54B61-3F4C-4A4B-ADFF-CC9CF7BA4F25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4D05AE17-1EBD-4F05-9421-52879486620F}" type="pres">
      <dgm:prSet presAssocID="{2F26448B-A936-4101-A4C0-886A79BB89DB}" presName="parTxOnlySpace" presStyleCnt="0"/>
      <dgm:spPr/>
    </dgm:pt>
    <dgm:pt modelId="{8DBE70E2-0F02-4BE3-872D-1EAADD9D5F11}" type="pres">
      <dgm:prSet presAssocID="{94671029-ABBC-4C5C-96F5-78D438DD3B3F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087083BF-88D1-4C3F-A748-2996D859E2FC}" type="pres">
      <dgm:prSet presAssocID="{F15A699A-F57A-4CE4-AA9A-294840056294}" presName="parTxOnlySpace" presStyleCnt="0"/>
      <dgm:spPr/>
    </dgm:pt>
    <dgm:pt modelId="{97FACA6A-B18A-4801-AE02-0D2B659B5EDD}" type="pres">
      <dgm:prSet presAssocID="{1A4CF166-F76B-49CE-AE8B-8D078B23ACFD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A38AEC4D-9F29-49AE-9561-58057C627CFF}" type="pres">
      <dgm:prSet presAssocID="{F7F877CE-DA4A-4070-AD65-36F2C85A2D49}" presName="parTxOnlySpace" presStyleCnt="0"/>
      <dgm:spPr/>
    </dgm:pt>
    <dgm:pt modelId="{39EF0538-AF7D-4C6B-897E-A3D180C2621C}" type="pres">
      <dgm:prSet presAssocID="{26253FCD-8140-4F93-BC28-C726401BE6B6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61C89834-F50D-4C95-B2F2-CBF5FC5D4485}" type="presOf" srcId="{26253FCD-8140-4F93-BC28-C726401BE6B6}" destId="{39EF0538-AF7D-4C6B-897E-A3D180C2621C}" srcOrd="0" destOrd="0" presId="urn:microsoft.com/office/officeart/2005/8/layout/chevron1"/>
    <dgm:cxn modelId="{DED4D15F-0982-4E31-9776-FD222430D8E9}" type="presOf" srcId="{94671029-ABBC-4C5C-96F5-78D438DD3B3F}" destId="{8DBE70E2-0F02-4BE3-872D-1EAADD9D5F11}" srcOrd="0" destOrd="0" presId="urn:microsoft.com/office/officeart/2005/8/layout/chevron1"/>
    <dgm:cxn modelId="{1EB0BF63-A050-48B5-9150-AFAC381F5A40}" srcId="{6985EF68-C714-47DF-95F4-839246331BFE}" destId="{1A4CF166-F76B-49CE-AE8B-8D078B23ACFD}" srcOrd="3" destOrd="0" parTransId="{381AF31E-F69C-425B-9C4C-D6D0674E7B92}" sibTransId="{F7F877CE-DA4A-4070-AD65-36F2C85A2D49}"/>
    <dgm:cxn modelId="{0605664D-781C-4C09-86F1-6BD49AAB0F83}" type="presOf" srcId="{3AE54B61-3F4C-4A4B-ADFF-CC9CF7BA4F25}" destId="{7141E469-82A7-452A-A5A3-3C9DB8A77C4C}" srcOrd="0" destOrd="0" presId="urn:microsoft.com/office/officeart/2005/8/layout/chevron1"/>
    <dgm:cxn modelId="{DC2AEE74-2E62-468C-B5CF-E41BB1C0C01B}" type="presOf" srcId="{1A4CF166-F76B-49CE-AE8B-8D078B23ACFD}" destId="{97FACA6A-B18A-4801-AE02-0D2B659B5EDD}" srcOrd="0" destOrd="0" presId="urn:microsoft.com/office/officeart/2005/8/layout/chevron1"/>
    <dgm:cxn modelId="{3D98D7A5-4FE3-494D-847C-E069351B6B53}" type="presOf" srcId="{6985EF68-C714-47DF-95F4-839246331BFE}" destId="{049F9131-BBF6-4D4A-A739-38633DB3716B}" srcOrd="0" destOrd="0" presId="urn:microsoft.com/office/officeart/2005/8/layout/chevron1"/>
    <dgm:cxn modelId="{9AD8C5A7-33C3-4600-9392-54EA300F732E}" srcId="{6985EF68-C714-47DF-95F4-839246331BFE}" destId="{26253FCD-8140-4F93-BC28-C726401BE6B6}" srcOrd="4" destOrd="0" parTransId="{452B0562-FD1B-471A-9895-695B23A9DF5B}" sibTransId="{56FBD035-58AE-43F9-8724-7207784A7381}"/>
    <dgm:cxn modelId="{902495B6-A384-48F2-87CF-A8C2FA314F08}" srcId="{6985EF68-C714-47DF-95F4-839246331BFE}" destId="{5DC8ED4B-2B23-4F96-BE85-F404472F0AEB}" srcOrd="0" destOrd="0" parTransId="{5BA55E4F-B2BD-4E91-9DFB-5988BC3D0750}" sibTransId="{6E4AE3C0-A9B2-474A-9530-D9F9DF9D7619}"/>
    <dgm:cxn modelId="{D9BEF4B7-D874-4C7C-BC5E-CFEFDC8216B8}" srcId="{6985EF68-C714-47DF-95F4-839246331BFE}" destId="{94671029-ABBC-4C5C-96F5-78D438DD3B3F}" srcOrd="2" destOrd="0" parTransId="{DB4357C2-AD04-489B-8943-2ACE9784E0F6}" sibTransId="{F15A699A-F57A-4CE4-AA9A-294840056294}"/>
    <dgm:cxn modelId="{057CA1C8-E8EC-4726-BB66-A5F57BE533C4}" srcId="{6985EF68-C714-47DF-95F4-839246331BFE}" destId="{3AE54B61-3F4C-4A4B-ADFF-CC9CF7BA4F25}" srcOrd="1" destOrd="0" parTransId="{AD3697A3-79E9-412C-ABAA-2ECF1B656769}" sibTransId="{2F26448B-A936-4101-A4C0-886A79BB89DB}"/>
    <dgm:cxn modelId="{48B928ED-CB2B-489C-8C9A-465DC60F6EBC}" type="presOf" srcId="{5DC8ED4B-2B23-4F96-BE85-F404472F0AEB}" destId="{8329E24A-1AAD-44DA-B2CA-9AB294F775A9}" srcOrd="0" destOrd="0" presId="urn:microsoft.com/office/officeart/2005/8/layout/chevron1"/>
    <dgm:cxn modelId="{93AEFD44-C108-4566-8987-04836697D542}" type="presParOf" srcId="{049F9131-BBF6-4D4A-A739-38633DB3716B}" destId="{8329E24A-1AAD-44DA-B2CA-9AB294F775A9}" srcOrd="0" destOrd="0" presId="urn:microsoft.com/office/officeart/2005/8/layout/chevron1"/>
    <dgm:cxn modelId="{94C090E7-5294-4EFA-B92B-8A638262C9E3}" type="presParOf" srcId="{049F9131-BBF6-4D4A-A739-38633DB3716B}" destId="{4A08A57B-51EB-45F4-BCD4-A04EA15CEADE}" srcOrd="1" destOrd="0" presId="urn:microsoft.com/office/officeart/2005/8/layout/chevron1"/>
    <dgm:cxn modelId="{497D8F31-B3DF-4AC6-BF48-D4408EB7FEB6}" type="presParOf" srcId="{049F9131-BBF6-4D4A-A739-38633DB3716B}" destId="{7141E469-82A7-452A-A5A3-3C9DB8A77C4C}" srcOrd="2" destOrd="0" presId="urn:microsoft.com/office/officeart/2005/8/layout/chevron1"/>
    <dgm:cxn modelId="{ACD095B8-B0CB-4464-9A25-197BBAFA172B}" type="presParOf" srcId="{049F9131-BBF6-4D4A-A739-38633DB3716B}" destId="{4D05AE17-1EBD-4F05-9421-52879486620F}" srcOrd="3" destOrd="0" presId="urn:microsoft.com/office/officeart/2005/8/layout/chevron1"/>
    <dgm:cxn modelId="{14BEFFA9-BF86-46D2-82DB-506A750758A2}" type="presParOf" srcId="{049F9131-BBF6-4D4A-A739-38633DB3716B}" destId="{8DBE70E2-0F02-4BE3-872D-1EAADD9D5F11}" srcOrd="4" destOrd="0" presId="urn:microsoft.com/office/officeart/2005/8/layout/chevron1"/>
    <dgm:cxn modelId="{4D7AB57E-986A-4895-B244-E554CA135A6A}" type="presParOf" srcId="{049F9131-BBF6-4D4A-A739-38633DB3716B}" destId="{087083BF-88D1-4C3F-A748-2996D859E2FC}" srcOrd="5" destOrd="0" presId="urn:microsoft.com/office/officeart/2005/8/layout/chevron1"/>
    <dgm:cxn modelId="{3D15D4E9-4298-4DA0-B835-C46E2BAC4CD8}" type="presParOf" srcId="{049F9131-BBF6-4D4A-A739-38633DB3716B}" destId="{97FACA6A-B18A-4801-AE02-0D2B659B5EDD}" srcOrd="6" destOrd="0" presId="urn:microsoft.com/office/officeart/2005/8/layout/chevron1"/>
    <dgm:cxn modelId="{0919B2B9-25CF-423B-896B-54A04E5B9DB0}" type="presParOf" srcId="{049F9131-BBF6-4D4A-A739-38633DB3716B}" destId="{A38AEC4D-9F29-49AE-9561-58057C627CFF}" srcOrd="7" destOrd="0" presId="urn:microsoft.com/office/officeart/2005/8/layout/chevron1"/>
    <dgm:cxn modelId="{951B4E5A-690D-4859-BAC9-100096C55CB4}" type="presParOf" srcId="{049F9131-BBF6-4D4A-A739-38633DB3716B}" destId="{39EF0538-AF7D-4C6B-897E-A3D180C2621C}" srcOrd="8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29E24A-1AAD-44DA-B2CA-9AB294F775A9}">
      <dsp:nvSpPr>
        <dsp:cNvPr id="0" name=""/>
        <dsp:cNvSpPr/>
      </dsp:nvSpPr>
      <dsp:spPr>
        <a:xfrm>
          <a:off x="2868" y="0"/>
          <a:ext cx="2552901" cy="2194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1: Местоположение</a:t>
          </a:r>
        </a:p>
      </dsp:txBody>
      <dsp:txXfrm>
        <a:off x="112596" y="0"/>
        <a:ext cx="2333445" cy="219456"/>
      </dsp:txXfrm>
    </dsp:sp>
    <dsp:sp modelId="{7141E469-82A7-452A-A5A3-3C9DB8A77C4C}">
      <dsp:nvSpPr>
        <dsp:cNvPr id="0" name=""/>
        <dsp:cNvSpPr/>
      </dsp:nvSpPr>
      <dsp:spPr>
        <a:xfrm>
          <a:off x="2300480" y="0"/>
          <a:ext cx="2552901" cy="219456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2: Выбор сектора</a:t>
          </a:r>
        </a:p>
      </dsp:txBody>
      <dsp:txXfrm>
        <a:off x="2410208" y="0"/>
        <a:ext cx="2333445" cy="219456"/>
      </dsp:txXfrm>
    </dsp:sp>
    <dsp:sp modelId="{8DBE70E2-0F02-4BE3-872D-1EAADD9D5F11}">
      <dsp:nvSpPr>
        <dsp:cNvPr id="0" name=""/>
        <dsp:cNvSpPr/>
      </dsp:nvSpPr>
      <dsp:spPr>
        <a:xfrm>
          <a:off x="4598092" y="0"/>
          <a:ext cx="2552901" cy="219456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3: Структура стимулов</a:t>
          </a:r>
        </a:p>
      </dsp:txBody>
      <dsp:txXfrm>
        <a:off x="4707820" y="0"/>
        <a:ext cx="2333445" cy="219456"/>
      </dsp:txXfrm>
    </dsp:sp>
    <dsp:sp modelId="{97FACA6A-B18A-4801-AE02-0D2B659B5EDD}">
      <dsp:nvSpPr>
        <dsp:cNvPr id="0" name=""/>
        <dsp:cNvSpPr/>
      </dsp:nvSpPr>
      <dsp:spPr>
        <a:xfrm>
          <a:off x="6895703" y="0"/>
          <a:ext cx="2552901" cy="219456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4: Институциональная структура</a:t>
          </a:r>
        </a:p>
      </dsp:txBody>
      <dsp:txXfrm>
        <a:off x="7005431" y="0"/>
        <a:ext cx="2333445" cy="219456"/>
      </dsp:txXfrm>
    </dsp:sp>
    <dsp:sp modelId="{39EF0538-AF7D-4C6B-897E-A3D180C2621C}">
      <dsp:nvSpPr>
        <dsp:cNvPr id="0" name=""/>
        <dsp:cNvSpPr/>
      </dsp:nvSpPr>
      <dsp:spPr>
        <a:xfrm>
          <a:off x="9193315" y="0"/>
          <a:ext cx="2552901" cy="219456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 dirty="0"/>
            <a:t>5: Компонент и зонирование</a:t>
          </a:r>
        </a:p>
      </dsp:txBody>
      <dsp:txXfrm>
        <a:off x="9303043" y="0"/>
        <a:ext cx="2333445" cy="2194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29E24A-1AAD-44DA-B2CA-9AB294F775A9}">
      <dsp:nvSpPr>
        <dsp:cNvPr id="0" name=""/>
        <dsp:cNvSpPr/>
      </dsp:nvSpPr>
      <dsp:spPr>
        <a:xfrm>
          <a:off x="2868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1: Местоположение</a:t>
          </a:r>
        </a:p>
      </dsp:txBody>
      <dsp:txXfrm>
        <a:off x="114600" y="0"/>
        <a:ext cx="2329437" cy="223464"/>
      </dsp:txXfrm>
    </dsp:sp>
    <dsp:sp modelId="{7141E469-82A7-452A-A5A3-3C9DB8A77C4C}">
      <dsp:nvSpPr>
        <dsp:cNvPr id="0" name=""/>
        <dsp:cNvSpPr/>
      </dsp:nvSpPr>
      <dsp:spPr>
        <a:xfrm>
          <a:off x="2300480" y="0"/>
          <a:ext cx="2552901" cy="223464"/>
        </a:xfrm>
        <a:prstGeom prst="chevron">
          <a:avLst/>
        </a:prstGeom>
        <a:solidFill>
          <a:srgbClr val="D04A0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2: Выбор сектора</a:t>
          </a:r>
        </a:p>
      </dsp:txBody>
      <dsp:txXfrm>
        <a:off x="2412212" y="0"/>
        <a:ext cx="2329437" cy="223464"/>
      </dsp:txXfrm>
    </dsp:sp>
    <dsp:sp modelId="{8DBE70E2-0F02-4BE3-872D-1EAADD9D5F11}">
      <dsp:nvSpPr>
        <dsp:cNvPr id="0" name=""/>
        <dsp:cNvSpPr/>
      </dsp:nvSpPr>
      <dsp:spPr>
        <a:xfrm>
          <a:off x="4598092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3: Структура стимулов</a:t>
          </a:r>
        </a:p>
      </dsp:txBody>
      <dsp:txXfrm>
        <a:off x="4709824" y="0"/>
        <a:ext cx="2329437" cy="223464"/>
      </dsp:txXfrm>
    </dsp:sp>
    <dsp:sp modelId="{97FACA6A-B18A-4801-AE02-0D2B659B5EDD}">
      <dsp:nvSpPr>
        <dsp:cNvPr id="0" name=""/>
        <dsp:cNvSpPr/>
      </dsp:nvSpPr>
      <dsp:spPr>
        <a:xfrm>
          <a:off x="6895703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4: Институциональная структура</a:t>
          </a:r>
        </a:p>
      </dsp:txBody>
      <dsp:txXfrm>
        <a:off x="7007435" y="0"/>
        <a:ext cx="2329437" cy="223464"/>
      </dsp:txXfrm>
    </dsp:sp>
    <dsp:sp modelId="{39EF0538-AF7D-4C6B-897E-A3D180C2621C}">
      <dsp:nvSpPr>
        <dsp:cNvPr id="0" name=""/>
        <dsp:cNvSpPr/>
      </dsp:nvSpPr>
      <dsp:spPr>
        <a:xfrm>
          <a:off x="9193315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5: Компонент и зонирование</a:t>
          </a:r>
        </a:p>
      </dsp:txBody>
      <dsp:txXfrm>
        <a:off x="9305047" y="0"/>
        <a:ext cx="2329437" cy="22346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29E24A-1AAD-44DA-B2CA-9AB294F775A9}">
      <dsp:nvSpPr>
        <dsp:cNvPr id="0" name=""/>
        <dsp:cNvSpPr/>
      </dsp:nvSpPr>
      <dsp:spPr>
        <a:xfrm>
          <a:off x="2868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1: Местоположение</a:t>
          </a:r>
        </a:p>
      </dsp:txBody>
      <dsp:txXfrm>
        <a:off x="114600" y="0"/>
        <a:ext cx="2329437" cy="223464"/>
      </dsp:txXfrm>
    </dsp:sp>
    <dsp:sp modelId="{7141E469-82A7-452A-A5A3-3C9DB8A77C4C}">
      <dsp:nvSpPr>
        <dsp:cNvPr id="0" name=""/>
        <dsp:cNvSpPr/>
      </dsp:nvSpPr>
      <dsp:spPr>
        <a:xfrm>
          <a:off x="2300480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2: Выбор сектора</a:t>
          </a:r>
        </a:p>
      </dsp:txBody>
      <dsp:txXfrm>
        <a:off x="2412212" y="0"/>
        <a:ext cx="2329437" cy="223464"/>
      </dsp:txXfrm>
    </dsp:sp>
    <dsp:sp modelId="{8DBE70E2-0F02-4BE3-872D-1EAADD9D5F11}">
      <dsp:nvSpPr>
        <dsp:cNvPr id="0" name=""/>
        <dsp:cNvSpPr/>
      </dsp:nvSpPr>
      <dsp:spPr>
        <a:xfrm>
          <a:off x="4598092" y="0"/>
          <a:ext cx="2552901" cy="223464"/>
        </a:xfrm>
        <a:prstGeom prst="chevron">
          <a:avLst/>
        </a:prstGeom>
        <a:solidFill>
          <a:srgbClr val="D04A0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3: Структура стимулов</a:t>
          </a:r>
        </a:p>
      </dsp:txBody>
      <dsp:txXfrm>
        <a:off x="4709824" y="0"/>
        <a:ext cx="2329437" cy="223464"/>
      </dsp:txXfrm>
    </dsp:sp>
    <dsp:sp modelId="{97FACA6A-B18A-4801-AE02-0D2B659B5EDD}">
      <dsp:nvSpPr>
        <dsp:cNvPr id="0" name=""/>
        <dsp:cNvSpPr/>
      </dsp:nvSpPr>
      <dsp:spPr>
        <a:xfrm>
          <a:off x="6895703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4: Институциональная структура</a:t>
          </a:r>
        </a:p>
      </dsp:txBody>
      <dsp:txXfrm>
        <a:off x="7007435" y="0"/>
        <a:ext cx="2329437" cy="223464"/>
      </dsp:txXfrm>
    </dsp:sp>
    <dsp:sp modelId="{39EF0538-AF7D-4C6B-897E-A3D180C2621C}">
      <dsp:nvSpPr>
        <dsp:cNvPr id="0" name=""/>
        <dsp:cNvSpPr/>
      </dsp:nvSpPr>
      <dsp:spPr>
        <a:xfrm>
          <a:off x="9193315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5: Компонент и зонирование</a:t>
          </a:r>
        </a:p>
      </dsp:txBody>
      <dsp:txXfrm>
        <a:off x="9305047" y="0"/>
        <a:ext cx="2329437" cy="22346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29E24A-1AAD-44DA-B2CA-9AB294F775A9}">
      <dsp:nvSpPr>
        <dsp:cNvPr id="0" name=""/>
        <dsp:cNvSpPr/>
      </dsp:nvSpPr>
      <dsp:spPr>
        <a:xfrm>
          <a:off x="2868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1: Местоположение</a:t>
          </a:r>
        </a:p>
      </dsp:txBody>
      <dsp:txXfrm>
        <a:off x="114600" y="0"/>
        <a:ext cx="2329437" cy="223464"/>
      </dsp:txXfrm>
    </dsp:sp>
    <dsp:sp modelId="{7141E469-82A7-452A-A5A3-3C9DB8A77C4C}">
      <dsp:nvSpPr>
        <dsp:cNvPr id="0" name=""/>
        <dsp:cNvSpPr/>
      </dsp:nvSpPr>
      <dsp:spPr>
        <a:xfrm>
          <a:off x="2300480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2: Выбор сектора</a:t>
          </a:r>
        </a:p>
      </dsp:txBody>
      <dsp:txXfrm>
        <a:off x="2412212" y="0"/>
        <a:ext cx="2329437" cy="223464"/>
      </dsp:txXfrm>
    </dsp:sp>
    <dsp:sp modelId="{8DBE70E2-0F02-4BE3-872D-1EAADD9D5F11}">
      <dsp:nvSpPr>
        <dsp:cNvPr id="0" name=""/>
        <dsp:cNvSpPr/>
      </dsp:nvSpPr>
      <dsp:spPr>
        <a:xfrm>
          <a:off x="4598092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3: Структура стимулов</a:t>
          </a:r>
        </a:p>
      </dsp:txBody>
      <dsp:txXfrm>
        <a:off x="4709824" y="0"/>
        <a:ext cx="2329437" cy="223464"/>
      </dsp:txXfrm>
    </dsp:sp>
    <dsp:sp modelId="{97FACA6A-B18A-4801-AE02-0D2B659B5EDD}">
      <dsp:nvSpPr>
        <dsp:cNvPr id="0" name=""/>
        <dsp:cNvSpPr/>
      </dsp:nvSpPr>
      <dsp:spPr>
        <a:xfrm>
          <a:off x="6895703" y="0"/>
          <a:ext cx="2552901" cy="223464"/>
        </a:xfrm>
        <a:prstGeom prst="chevron">
          <a:avLst/>
        </a:prstGeom>
        <a:solidFill>
          <a:srgbClr val="D04A0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4: Институциональная структура</a:t>
          </a:r>
        </a:p>
      </dsp:txBody>
      <dsp:txXfrm>
        <a:off x="7007435" y="0"/>
        <a:ext cx="2329437" cy="223464"/>
      </dsp:txXfrm>
    </dsp:sp>
    <dsp:sp modelId="{39EF0538-AF7D-4C6B-897E-A3D180C2621C}">
      <dsp:nvSpPr>
        <dsp:cNvPr id="0" name=""/>
        <dsp:cNvSpPr/>
      </dsp:nvSpPr>
      <dsp:spPr>
        <a:xfrm>
          <a:off x="9193315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5: Компонент и зонирование</a:t>
          </a:r>
        </a:p>
      </dsp:txBody>
      <dsp:txXfrm>
        <a:off x="9305047" y="0"/>
        <a:ext cx="2329437" cy="22346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29E24A-1AAD-44DA-B2CA-9AB294F775A9}">
      <dsp:nvSpPr>
        <dsp:cNvPr id="0" name=""/>
        <dsp:cNvSpPr/>
      </dsp:nvSpPr>
      <dsp:spPr>
        <a:xfrm>
          <a:off x="2868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1: Местоположение</a:t>
          </a:r>
        </a:p>
      </dsp:txBody>
      <dsp:txXfrm>
        <a:off x="114600" y="0"/>
        <a:ext cx="2329437" cy="223464"/>
      </dsp:txXfrm>
    </dsp:sp>
    <dsp:sp modelId="{7141E469-82A7-452A-A5A3-3C9DB8A77C4C}">
      <dsp:nvSpPr>
        <dsp:cNvPr id="0" name=""/>
        <dsp:cNvSpPr/>
      </dsp:nvSpPr>
      <dsp:spPr>
        <a:xfrm>
          <a:off x="2300480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2: Выбор сектора</a:t>
          </a:r>
        </a:p>
      </dsp:txBody>
      <dsp:txXfrm>
        <a:off x="2412212" y="0"/>
        <a:ext cx="2329437" cy="223464"/>
      </dsp:txXfrm>
    </dsp:sp>
    <dsp:sp modelId="{8DBE70E2-0F02-4BE3-872D-1EAADD9D5F11}">
      <dsp:nvSpPr>
        <dsp:cNvPr id="0" name=""/>
        <dsp:cNvSpPr/>
      </dsp:nvSpPr>
      <dsp:spPr>
        <a:xfrm>
          <a:off x="4598092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3: Структура стимулов</a:t>
          </a:r>
        </a:p>
      </dsp:txBody>
      <dsp:txXfrm>
        <a:off x="4709824" y="0"/>
        <a:ext cx="2329437" cy="223464"/>
      </dsp:txXfrm>
    </dsp:sp>
    <dsp:sp modelId="{97FACA6A-B18A-4801-AE02-0D2B659B5EDD}">
      <dsp:nvSpPr>
        <dsp:cNvPr id="0" name=""/>
        <dsp:cNvSpPr/>
      </dsp:nvSpPr>
      <dsp:spPr>
        <a:xfrm>
          <a:off x="6895703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4: Институциональная структура</a:t>
          </a:r>
        </a:p>
      </dsp:txBody>
      <dsp:txXfrm>
        <a:off x="7007435" y="0"/>
        <a:ext cx="2329437" cy="223464"/>
      </dsp:txXfrm>
    </dsp:sp>
    <dsp:sp modelId="{39EF0538-AF7D-4C6B-897E-A3D180C2621C}">
      <dsp:nvSpPr>
        <dsp:cNvPr id="0" name=""/>
        <dsp:cNvSpPr/>
      </dsp:nvSpPr>
      <dsp:spPr>
        <a:xfrm>
          <a:off x="9193315" y="0"/>
          <a:ext cx="2552901" cy="223464"/>
        </a:xfrm>
        <a:prstGeom prst="chevron">
          <a:avLst/>
        </a:prstGeom>
        <a:solidFill>
          <a:srgbClr val="D04A0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5: Компонент и зонирование</a:t>
          </a:r>
        </a:p>
      </dsp:txBody>
      <dsp:txXfrm>
        <a:off x="9305047" y="0"/>
        <a:ext cx="2329437" cy="22346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29E24A-1AAD-44DA-B2CA-9AB294F775A9}">
      <dsp:nvSpPr>
        <dsp:cNvPr id="0" name=""/>
        <dsp:cNvSpPr/>
      </dsp:nvSpPr>
      <dsp:spPr>
        <a:xfrm>
          <a:off x="2868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1: Местоположение</a:t>
          </a:r>
        </a:p>
      </dsp:txBody>
      <dsp:txXfrm>
        <a:off x="114600" y="0"/>
        <a:ext cx="2329437" cy="223464"/>
      </dsp:txXfrm>
    </dsp:sp>
    <dsp:sp modelId="{7141E469-82A7-452A-A5A3-3C9DB8A77C4C}">
      <dsp:nvSpPr>
        <dsp:cNvPr id="0" name=""/>
        <dsp:cNvSpPr/>
      </dsp:nvSpPr>
      <dsp:spPr>
        <a:xfrm>
          <a:off x="2300480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2: Выбор сектора</a:t>
          </a:r>
        </a:p>
      </dsp:txBody>
      <dsp:txXfrm>
        <a:off x="2412212" y="0"/>
        <a:ext cx="2329437" cy="223464"/>
      </dsp:txXfrm>
    </dsp:sp>
    <dsp:sp modelId="{8DBE70E2-0F02-4BE3-872D-1EAADD9D5F11}">
      <dsp:nvSpPr>
        <dsp:cNvPr id="0" name=""/>
        <dsp:cNvSpPr/>
      </dsp:nvSpPr>
      <dsp:spPr>
        <a:xfrm>
          <a:off x="4598092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3: Структура стимулов</a:t>
          </a:r>
        </a:p>
      </dsp:txBody>
      <dsp:txXfrm>
        <a:off x="4709824" y="0"/>
        <a:ext cx="2329437" cy="223464"/>
      </dsp:txXfrm>
    </dsp:sp>
    <dsp:sp modelId="{97FACA6A-B18A-4801-AE02-0D2B659B5EDD}">
      <dsp:nvSpPr>
        <dsp:cNvPr id="0" name=""/>
        <dsp:cNvSpPr/>
      </dsp:nvSpPr>
      <dsp:spPr>
        <a:xfrm>
          <a:off x="6895703" y="0"/>
          <a:ext cx="2552901" cy="223464"/>
        </a:xfrm>
        <a:prstGeom prst="chevron">
          <a:avLst/>
        </a:prstGeom>
        <a:solidFill>
          <a:srgbClr val="D04A02">
            <a:alpha val="50196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4: Институциональная структура</a:t>
          </a:r>
        </a:p>
      </dsp:txBody>
      <dsp:txXfrm>
        <a:off x="7007435" y="0"/>
        <a:ext cx="2329437" cy="223464"/>
      </dsp:txXfrm>
    </dsp:sp>
    <dsp:sp modelId="{39EF0538-AF7D-4C6B-897E-A3D180C2621C}">
      <dsp:nvSpPr>
        <dsp:cNvPr id="0" name=""/>
        <dsp:cNvSpPr/>
      </dsp:nvSpPr>
      <dsp:spPr>
        <a:xfrm>
          <a:off x="9193315" y="0"/>
          <a:ext cx="2552901" cy="223464"/>
        </a:xfrm>
        <a:prstGeom prst="chevron">
          <a:avLst/>
        </a:prstGeom>
        <a:solidFill>
          <a:srgbClr val="D04A0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1000" kern="1200"/>
            <a:t>5: Компонент и зонирование</a:t>
          </a:r>
        </a:p>
      </dsp:txBody>
      <dsp:txXfrm>
        <a:off x="9305047" y="0"/>
        <a:ext cx="2329437" cy="2234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2F31AA-F144-41AC-8AB3-B69A50C61DB7}" type="datetimeFigureOut">
              <a:rPr lang="en-US" smtClean="0"/>
              <a:t>9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4B18B2-9D82-4E41-B1E1-0AF83BBAB5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0321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45005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 txBox="1">
            <a:spLocks noGrp="1"/>
          </p:cNvSpPr>
          <p:nvPr>
            <p:ph type="body" idx="1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4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359665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 txBox="1">
            <a:spLocks noGrp="1"/>
          </p:cNvSpPr>
          <p:nvPr>
            <p:ph type="body" idx="1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4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359292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 txBox="1">
            <a:spLocks noGrp="1"/>
          </p:cNvSpPr>
          <p:nvPr>
            <p:ph type="body" idx="1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4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705722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 txBox="1">
            <a:spLocks noGrp="1"/>
          </p:cNvSpPr>
          <p:nvPr>
            <p:ph type="body" idx="1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4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750610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 txBox="1">
            <a:spLocks noGrp="1"/>
          </p:cNvSpPr>
          <p:nvPr>
            <p:ph type="body" idx="1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8" name="Google Shape;4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935151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 txBox="1">
            <a:spLocks noGrp="1"/>
          </p:cNvSpPr>
          <p:nvPr>
            <p:ph type="body" idx="1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4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274381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 txBox="1">
            <a:spLocks noGrp="1"/>
          </p:cNvSpPr>
          <p:nvPr>
            <p:ph type="body" idx="1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4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233686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 txBox="1">
            <a:spLocks noGrp="1"/>
          </p:cNvSpPr>
          <p:nvPr>
            <p:ph type="body" idx="1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4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2558192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 txBox="1">
            <a:spLocks noGrp="1"/>
          </p:cNvSpPr>
          <p:nvPr>
            <p:ph type="body" idx="1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8" name="Google Shape;4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920035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18804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4B18B2-9D82-4E41-B1E1-0AF83BBAB5E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3636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9" name="Google Shape;197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80" name="Google Shape;198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81" name="Google Shape;1981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3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 txBox="1">
            <a:spLocks noGrp="1"/>
          </p:cNvSpPr>
          <p:nvPr>
            <p:ph type="body" idx="1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4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633614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 txBox="1">
            <a:spLocks noGrp="1"/>
          </p:cNvSpPr>
          <p:nvPr>
            <p:ph type="body" idx="1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4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99542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 txBox="1">
            <a:spLocks noGrp="1"/>
          </p:cNvSpPr>
          <p:nvPr>
            <p:ph type="body" idx="1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4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878497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 txBox="1">
            <a:spLocks noGrp="1"/>
          </p:cNvSpPr>
          <p:nvPr>
            <p:ph type="body" idx="1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4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605126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:notes"/>
          <p:cNvSpPr txBox="1">
            <a:spLocks noGrp="1"/>
          </p:cNvSpPr>
          <p:nvPr>
            <p:ph type="body" idx="1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" name="Google Shape;4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330775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4B18B2-9D82-4E41-B1E1-0AF83BBAB5E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977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tags" Target="../tags/tag108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tags" Target="../tags/tag107.xml"/><Relationship Id="rId5" Type="http://schemas.openxmlformats.org/officeDocument/2006/relationships/tags" Target="../tags/tag101.xml"/><Relationship Id="rId10" Type="http://schemas.openxmlformats.org/officeDocument/2006/relationships/tags" Target="../tags/tag106.xml"/><Relationship Id="rId4" Type="http://schemas.openxmlformats.org/officeDocument/2006/relationships/tags" Target="../tags/tag100.xml"/><Relationship Id="rId9" Type="http://schemas.openxmlformats.org/officeDocument/2006/relationships/tags" Target="../tags/tag105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60.xml"/><Relationship Id="rId7" Type="http://schemas.openxmlformats.org/officeDocument/2006/relationships/image" Target="../media/image5.png"/><Relationship Id="rId2" Type="http://schemas.openxmlformats.org/officeDocument/2006/relationships/tags" Target="../tags/tag459.xml"/><Relationship Id="rId1" Type="http://schemas.openxmlformats.org/officeDocument/2006/relationships/tags" Target="../tags/tag45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62.xml"/><Relationship Id="rId4" Type="http://schemas.openxmlformats.org/officeDocument/2006/relationships/tags" Target="../tags/tag46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465.xml"/><Relationship Id="rId7" Type="http://schemas.openxmlformats.org/officeDocument/2006/relationships/image" Target="../media/image6.png"/><Relationship Id="rId2" Type="http://schemas.openxmlformats.org/officeDocument/2006/relationships/tags" Target="../tags/tag464.xml"/><Relationship Id="rId1" Type="http://schemas.openxmlformats.org/officeDocument/2006/relationships/tags" Target="../tags/tag46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67.xml"/><Relationship Id="rId4" Type="http://schemas.openxmlformats.org/officeDocument/2006/relationships/tags" Target="../tags/tag466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70.xml"/><Relationship Id="rId7" Type="http://schemas.openxmlformats.org/officeDocument/2006/relationships/tags" Target="../tags/tag474.xml"/><Relationship Id="rId2" Type="http://schemas.openxmlformats.org/officeDocument/2006/relationships/tags" Target="../tags/tag469.xml"/><Relationship Id="rId1" Type="http://schemas.openxmlformats.org/officeDocument/2006/relationships/tags" Target="../tags/tag468.xml"/><Relationship Id="rId6" Type="http://schemas.openxmlformats.org/officeDocument/2006/relationships/tags" Target="../tags/tag473.xml"/><Relationship Id="rId5" Type="http://schemas.openxmlformats.org/officeDocument/2006/relationships/tags" Target="../tags/tag472.xml"/><Relationship Id="rId4" Type="http://schemas.openxmlformats.org/officeDocument/2006/relationships/tags" Target="../tags/tag471.xml"/><Relationship Id="rId9" Type="http://schemas.openxmlformats.org/officeDocument/2006/relationships/image" Target="../media/image6.png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77.xml"/><Relationship Id="rId7" Type="http://schemas.openxmlformats.org/officeDocument/2006/relationships/tags" Target="../tags/tag481.xml"/><Relationship Id="rId2" Type="http://schemas.openxmlformats.org/officeDocument/2006/relationships/tags" Target="../tags/tag476.xml"/><Relationship Id="rId1" Type="http://schemas.openxmlformats.org/officeDocument/2006/relationships/tags" Target="../tags/tag475.xml"/><Relationship Id="rId6" Type="http://schemas.openxmlformats.org/officeDocument/2006/relationships/tags" Target="../tags/tag480.xml"/><Relationship Id="rId5" Type="http://schemas.openxmlformats.org/officeDocument/2006/relationships/tags" Target="../tags/tag479.xml"/><Relationship Id="rId4" Type="http://schemas.openxmlformats.org/officeDocument/2006/relationships/tags" Target="../tags/tag478.xml"/><Relationship Id="rId9" Type="http://schemas.openxmlformats.org/officeDocument/2006/relationships/image" Target="../media/image6.png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2.xml"/><Relationship Id="rId4" Type="http://schemas.openxmlformats.org/officeDocument/2006/relationships/image" Target="../media/image8.emf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3.xml"/><Relationship Id="rId4" Type="http://schemas.openxmlformats.org/officeDocument/2006/relationships/image" Target="../media/image8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4.xml"/><Relationship Id="rId4" Type="http://schemas.openxmlformats.org/officeDocument/2006/relationships/image" Target="../media/image8.emf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12" Type="http://schemas.openxmlformats.org/officeDocument/2006/relationships/tags" Target="../tags/tag120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11" Type="http://schemas.openxmlformats.org/officeDocument/2006/relationships/tags" Target="../tags/tag119.xml"/><Relationship Id="rId5" Type="http://schemas.openxmlformats.org/officeDocument/2006/relationships/tags" Target="../tags/tag113.xml"/><Relationship Id="rId10" Type="http://schemas.openxmlformats.org/officeDocument/2006/relationships/tags" Target="../tags/tag118.xml"/><Relationship Id="rId4" Type="http://schemas.openxmlformats.org/officeDocument/2006/relationships/tags" Target="../tags/tag112.xml"/><Relationship Id="rId9" Type="http://schemas.openxmlformats.org/officeDocument/2006/relationships/tags" Target="../tags/tag117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490.xml"/><Relationship Id="rId7" Type="http://schemas.openxmlformats.org/officeDocument/2006/relationships/image" Target="../media/image2.png"/><Relationship Id="rId2" Type="http://schemas.openxmlformats.org/officeDocument/2006/relationships/tags" Target="../tags/tag489.xml"/><Relationship Id="rId1" Type="http://schemas.openxmlformats.org/officeDocument/2006/relationships/tags" Target="../tags/tag48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92.xml"/><Relationship Id="rId4" Type="http://schemas.openxmlformats.org/officeDocument/2006/relationships/tags" Target="../tags/tag491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tags" Target="../tags/tag500.xml"/><Relationship Id="rId3" Type="http://schemas.openxmlformats.org/officeDocument/2006/relationships/tags" Target="../tags/tag495.xml"/><Relationship Id="rId7" Type="http://schemas.openxmlformats.org/officeDocument/2006/relationships/tags" Target="../tags/tag499.xml"/><Relationship Id="rId12" Type="http://schemas.openxmlformats.org/officeDocument/2006/relationships/image" Target="../media/image4.png"/><Relationship Id="rId2" Type="http://schemas.openxmlformats.org/officeDocument/2006/relationships/tags" Target="../tags/tag494.xml"/><Relationship Id="rId1" Type="http://schemas.openxmlformats.org/officeDocument/2006/relationships/tags" Target="../tags/tag493.xml"/><Relationship Id="rId6" Type="http://schemas.openxmlformats.org/officeDocument/2006/relationships/tags" Target="../tags/tag498.xml"/><Relationship Id="rId11" Type="http://schemas.openxmlformats.org/officeDocument/2006/relationships/image" Target="../media/image3.emf"/><Relationship Id="rId5" Type="http://schemas.openxmlformats.org/officeDocument/2006/relationships/tags" Target="../tags/tag497.xml"/><Relationship Id="rId10" Type="http://schemas.openxmlformats.org/officeDocument/2006/relationships/oleObject" Target="../embeddings/oleObject9.bin"/><Relationship Id="rId4" Type="http://schemas.openxmlformats.org/officeDocument/2006/relationships/tags" Target="../tags/tag496.xml"/><Relationship Id="rId9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tags" Target="../tags/tag508.xml"/><Relationship Id="rId3" Type="http://schemas.openxmlformats.org/officeDocument/2006/relationships/tags" Target="../tags/tag503.xml"/><Relationship Id="rId7" Type="http://schemas.openxmlformats.org/officeDocument/2006/relationships/tags" Target="../tags/tag507.xml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6" Type="http://schemas.openxmlformats.org/officeDocument/2006/relationships/tags" Target="../tags/tag506.xml"/><Relationship Id="rId5" Type="http://schemas.openxmlformats.org/officeDocument/2006/relationships/tags" Target="../tags/tag505.xml"/><Relationship Id="rId10" Type="http://schemas.openxmlformats.org/officeDocument/2006/relationships/image" Target="../media/image4.png"/><Relationship Id="rId4" Type="http://schemas.openxmlformats.org/officeDocument/2006/relationships/tags" Target="../tags/tag504.xml"/><Relationship Id="rId9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tags" Target="../tags/tag516.xml"/><Relationship Id="rId13" Type="http://schemas.openxmlformats.org/officeDocument/2006/relationships/tags" Target="../tags/tag521.xml"/><Relationship Id="rId3" Type="http://schemas.openxmlformats.org/officeDocument/2006/relationships/tags" Target="../tags/tag511.xml"/><Relationship Id="rId7" Type="http://schemas.openxmlformats.org/officeDocument/2006/relationships/tags" Target="../tags/tag515.xml"/><Relationship Id="rId12" Type="http://schemas.openxmlformats.org/officeDocument/2006/relationships/tags" Target="../tags/tag520.xml"/><Relationship Id="rId2" Type="http://schemas.openxmlformats.org/officeDocument/2006/relationships/tags" Target="../tags/tag510.xml"/><Relationship Id="rId1" Type="http://schemas.openxmlformats.org/officeDocument/2006/relationships/tags" Target="../tags/tag509.xml"/><Relationship Id="rId6" Type="http://schemas.openxmlformats.org/officeDocument/2006/relationships/tags" Target="../tags/tag514.xml"/><Relationship Id="rId11" Type="http://schemas.openxmlformats.org/officeDocument/2006/relationships/tags" Target="../tags/tag519.xml"/><Relationship Id="rId5" Type="http://schemas.openxmlformats.org/officeDocument/2006/relationships/tags" Target="../tags/tag513.xml"/><Relationship Id="rId10" Type="http://schemas.openxmlformats.org/officeDocument/2006/relationships/tags" Target="../tags/tag518.xml"/><Relationship Id="rId4" Type="http://schemas.openxmlformats.org/officeDocument/2006/relationships/tags" Target="../tags/tag512.xml"/><Relationship Id="rId9" Type="http://schemas.openxmlformats.org/officeDocument/2006/relationships/tags" Target="../tags/tag517.xml"/><Relationship Id="rId14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tags" Target="../tags/tag529.xml"/><Relationship Id="rId13" Type="http://schemas.openxmlformats.org/officeDocument/2006/relationships/tags" Target="../tags/tag534.xml"/><Relationship Id="rId3" Type="http://schemas.openxmlformats.org/officeDocument/2006/relationships/tags" Target="../tags/tag524.xml"/><Relationship Id="rId7" Type="http://schemas.openxmlformats.org/officeDocument/2006/relationships/tags" Target="../tags/tag528.xml"/><Relationship Id="rId12" Type="http://schemas.openxmlformats.org/officeDocument/2006/relationships/tags" Target="../tags/tag533.xml"/><Relationship Id="rId2" Type="http://schemas.openxmlformats.org/officeDocument/2006/relationships/tags" Target="../tags/tag523.xml"/><Relationship Id="rId1" Type="http://schemas.openxmlformats.org/officeDocument/2006/relationships/tags" Target="../tags/tag522.xml"/><Relationship Id="rId6" Type="http://schemas.openxmlformats.org/officeDocument/2006/relationships/tags" Target="../tags/tag527.xml"/><Relationship Id="rId11" Type="http://schemas.openxmlformats.org/officeDocument/2006/relationships/tags" Target="../tags/tag532.xml"/><Relationship Id="rId5" Type="http://schemas.openxmlformats.org/officeDocument/2006/relationships/tags" Target="../tags/tag526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531.xml"/><Relationship Id="rId4" Type="http://schemas.openxmlformats.org/officeDocument/2006/relationships/tags" Target="../tags/tag525.xml"/><Relationship Id="rId9" Type="http://schemas.openxmlformats.org/officeDocument/2006/relationships/tags" Target="../tags/tag530.xml"/><Relationship Id="rId14" Type="http://schemas.openxmlformats.org/officeDocument/2006/relationships/tags" Target="../tags/tag535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tags" Target="../tags/tag543.xml"/><Relationship Id="rId3" Type="http://schemas.openxmlformats.org/officeDocument/2006/relationships/tags" Target="../tags/tag538.xml"/><Relationship Id="rId7" Type="http://schemas.openxmlformats.org/officeDocument/2006/relationships/tags" Target="../tags/tag542.xml"/><Relationship Id="rId2" Type="http://schemas.openxmlformats.org/officeDocument/2006/relationships/tags" Target="../tags/tag537.xml"/><Relationship Id="rId1" Type="http://schemas.openxmlformats.org/officeDocument/2006/relationships/tags" Target="../tags/tag536.xml"/><Relationship Id="rId6" Type="http://schemas.openxmlformats.org/officeDocument/2006/relationships/tags" Target="../tags/tag541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540.xml"/><Relationship Id="rId10" Type="http://schemas.openxmlformats.org/officeDocument/2006/relationships/tags" Target="../tags/tag545.xml"/><Relationship Id="rId4" Type="http://schemas.openxmlformats.org/officeDocument/2006/relationships/tags" Target="../tags/tag539.xml"/><Relationship Id="rId9" Type="http://schemas.openxmlformats.org/officeDocument/2006/relationships/tags" Target="../tags/tag544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tags" Target="../tags/tag553.xml"/><Relationship Id="rId3" Type="http://schemas.openxmlformats.org/officeDocument/2006/relationships/tags" Target="../tags/tag548.xml"/><Relationship Id="rId7" Type="http://schemas.openxmlformats.org/officeDocument/2006/relationships/tags" Target="../tags/tag552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547.xml"/><Relationship Id="rId1" Type="http://schemas.openxmlformats.org/officeDocument/2006/relationships/tags" Target="../tags/tag546.xml"/><Relationship Id="rId6" Type="http://schemas.openxmlformats.org/officeDocument/2006/relationships/tags" Target="../tags/tag551.xml"/><Relationship Id="rId11" Type="http://schemas.openxmlformats.org/officeDocument/2006/relationships/tags" Target="../tags/tag556.xml"/><Relationship Id="rId5" Type="http://schemas.openxmlformats.org/officeDocument/2006/relationships/tags" Target="../tags/tag550.xml"/><Relationship Id="rId10" Type="http://schemas.openxmlformats.org/officeDocument/2006/relationships/tags" Target="../tags/tag555.xml"/><Relationship Id="rId4" Type="http://schemas.openxmlformats.org/officeDocument/2006/relationships/tags" Target="../tags/tag549.xml"/><Relationship Id="rId9" Type="http://schemas.openxmlformats.org/officeDocument/2006/relationships/tags" Target="../tags/tag554.xml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tags" Target="../tags/tag564.xml"/><Relationship Id="rId3" Type="http://schemas.openxmlformats.org/officeDocument/2006/relationships/tags" Target="../tags/tag559.xml"/><Relationship Id="rId7" Type="http://schemas.openxmlformats.org/officeDocument/2006/relationships/tags" Target="../tags/tag563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558.xml"/><Relationship Id="rId1" Type="http://schemas.openxmlformats.org/officeDocument/2006/relationships/tags" Target="../tags/tag557.xml"/><Relationship Id="rId6" Type="http://schemas.openxmlformats.org/officeDocument/2006/relationships/tags" Target="../tags/tag562.xml"/><Relationship Id="rId11" Type="http://schemas.openxmlformats.org/officeDocument/2006/relationships/tags" Target="../tags/tag567.xml"/><Relationship Id="rId5" Type="http://schemas.openxmlformats.org/officeDocument/2006/relationships/tags" Target="../tags/tag561.xml"/><Relationship Id="rId10" Type="http://schemas.openxmlformats.org/officeDocument/2006/relationships/tags" Target="../tags/tag566.xml"/><Relationship Id="rId4" Type="http://schemas.openxmlformats.org/officeDocument/2006/relationships/tags" Target="../tags/tag560.xml"/><Relationship Id="rId9" Type="http://schemas.openxmlformats.org/officeDocument/2006/relationships/tags" Target="../tags/tag565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tags" Target="../tags/tag575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570.xml"/><Relationship Id="rId7" Type="http://schemas.openxmlformats.org/officeDocument/2006/relationships/tags" Target="../tags/tag574.xml"/><Relationship Id="rId12" Type="http://schemas.openxmlformats.org/officeDocument/2006/relationships/tags" Target="../tags/tag579.xml"/><Relationship Id="rId2" Type="http://schemas.openxmlformats.org/officeDocument/2006/relationships/tags" Target="../tags/tag569.xml"/><Relationship Id="rId1" Type="http://schemas.openxmlformats.org/officeDocument/2006/relationships/tags" Target="../tags/tag568.xml"/><Relationship Id="rId6" Type="http://schemas.openxmlformats.org/officeDocument/2006/relationships/tags" Target="../tags/tag573.xml"/><Relationship Id="rId11" Type="http://schemas.openxmlformats.org/officeDocument/2006/relationships/tags" Target="../tags/tag578.xml"/><Relationship Id="rId5" Type="http://schemas.openxmlformats.org/officeDocument/2006/relationships/tags" Target="../tags/tag572.xml"/><Relationship Id="rId10" Type="http://schemas.openxmlformats.org/officeDocument/2006/relationships/tags" Target="../tags/tag577.xml"/><Relationship Id="rId4" Type="http://schemas.openxmlformats.org/officeDocument/2006/relationships/tags" Target="../tags/tag571.xml"/><Relationship Id="rId9" Type="http://schemas.openxmlformats.org/officeDocument/2006/relationships/tags" Target="../tags/tag57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4.xml"/><Relationship Id="rId9" Type="http://schemas.openxmlformats.org/officeDocument/2006/relationships/tags" Target="../tags/tag129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tags" Target="../tags/tag587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582.xml"/><Relationship Id="rId7" Type="http://schemas.openxmlformats.org/officeDocument/2006/relationships/tags" Target="../tags/tag586.xml"/><Relationship Id="rId12" Type="http://schemas.openxmlformats.org/officeDocument/2006/relationships/tags" Target="../tags/tag591.xml"/><Relationship Id="rId2" Type="http://schemas.openxmlformats.org/officeDocument/2006/relationships/tags" Target="../tags/tag581.xml"/><Relationship Id="rId1" Type="http://schemas.openxmlformats.org/officeDocument/2006/relationships/tags" Target="../tags/tag580.xml"/><Relationship Id="rId6" Type="http://schemas.openxmlformats.org/officeDocument/2006/relationships/tags" Target="../tags/tag585.xml"/><Relationship Id="rId11" Type="http://schemas.openxmlformats.org/officeDocument/2006/relationships/tags" Target="../tags/tag590.xml"/><Relationship Id="rId5" Type="http://schemas.openxmlformats.org/officeDocument/2006/relationships/tags" Target="../tags/tag584.xml"/><Relationship Id="rId10" Type="http://schemas.openxmlformats.org/officeDocument/2006/relationships/tags" Target="../tags/tag589.xml"/><Relationship Id="rId4" Type="http://schemas.openxmlformats.org/officeDocument/2006/relationships/tags" Target="../tags/tag583.xml"/><Relationship Id="rId9" Type="http://schemas.openxmlformats.org/officeDocument/2006/relationships/tags" Target="../tags/tag588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tags" Target="../tags/tag599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594.xml"/><Relationship Id="rId7" Type="http://schemas.openxmlformats.org/officeDocument/2006/relationships/tags" Target="../tags/tag598.xml"/><Relationship Id="rId12" Type="http://schemas.openxmlformats.org/officeDocument/2006/relationships/tags" Target="../tags/tag603.xml"/><Relationship Id="rId2" Type="http://schemas.openxmlformats.org/officeDocument/2006/relationships/tags" Target="../tags/tag593.xml"/><Relationship Id="rId1" Type="http://schemas.openxmlformats.org/officeDocument/2006/relationships/tags" Target="../tags/tag592.xml"/><Relationship Id="rId6" Type="http://schemas.openxmlformats.org/officeDocument/2006/relationships/tags" Target="../tags/tag597.xml"/><Relationship Id="rId11" Type="http://schemas.openxmlformats.org/officeDocument/2006/relationships/tags" Target="../tags/tag602.xml"/><Relationship Id="rId5" Type="http://schemas.openxmlformats.org/officeDocument/2006/relationships/tags" Target="../tags/tag596.xml"/><Relationship Id="rId10" Type="http://schemas.openxmlformats.org/officeDocument/2006/relationships/tags" Target="../tags/tag601.xml"/><Relationship Id="rId4" Type="http://schemas.openxmlformats.org/officeDocument/2006/relationships/tags" Target="../tags/tag595.xml"/><Relationship Id="rId9" Type="http://schemas.openxmlformats.org/officeDocument/2006/relationships/tags" Target="../tags/tag600.xml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tags" Target="../tags/tag611.xml"/><Relationship Id="rId3" Type="http://schemas.openxmlformats.org/officeDocument/2006/relationships/tags" Target="../tags/tag606.xml"/><Relationship Id="rId7" Type="http://schemas.openxmlformats.org/officeDocument/2006/relationships/tags" Target="../tags/tag610.xml"/><Relationship Id="rId2" Type="http://schemas.openxmlformats.org/officeDocument/2006/relationships/tags" Target="../tags/tag605.xml"/><Relationship Id="rId1" Type="http://schemas.openxmlformats.org/officeDocument/2006/relationships/tags" Target="../tags/tag604.xml"/><Relationship Id="rId6" Type="http://schemas.openxmlformats.org/officeDocument/2006/relationships/tags" Target="../tags/tag609.xml"/><Relationship Id="rId5" Type="http://schemas.openxmlformats.org/officeDocument/2006/relationships/tags" Target="../tags/tag608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607.xml"/><Relationship Id="rId9" Type="http://schemas.openxmlformats.org/officeDocument/2006/relationships/tags" Target="../tags/tag612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4.xml"/><Relationship Id="rId1" Type="http://schemas.openxmlformats.org/officeDocument/2006/relationships/tags" Target="../tags/tag613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6.xml"/><Relationship Id="rId1" Type="http://schemas.openxmlformats.org/officeDocument/2006/relationships/tags" Target="../tags/tag615.xml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tags" Target="../tags/tag624.xml"/><Relationship Id="rId3" Type="http://schemas.openxmlformats.org/officeDocument/2006/relationships/tags" Target="../tags/tag619.xml"/><Relationship Id="rId7" Type="http://schemas.openxmlformats.org/officeDocument/2006/relationships/tags" Target="../tags/tag623.xml"/><Relationship Id="rId2" Type="http://schemas.openxmlformats.org/officeDocument/2006/relationships/tags" Target="../tags/tag618.xml"/><Relationship Id="rId1" Type="http://schemas.openxmlformats.org/officeDocument/2006/relationships/tags" Target="../tags/tag617.xml"/><Relationship Id="rId6" Type="http://schemas.openxmlformats.org/officeDocument/2006/relationships/tags" Target="../tags/tag622.xml"/><Relationship Id="rId5" Type="http://schemas.openxmlformats.org/officeDocument/2006/relationships/tags" Target="../tags/tag62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620.xml"/><Relationship Id="rId9" Type="http://schemas.openxmlformats.org/officeDocument/2006/relationships/tags" Target="../tags/tag625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tags" Target="../tags/tag633.xml"/><Relationship Id="rId3" Type="http://schemas.openxmlformats.org/officeDocument/2006/relationships/tags" Target="../tags/tag628.xml"/><Relationship Id="rId7" Type="http://schemas.openxmlformats.org/officeDocument/2006/relationships/tags" Target="../tags/tag632.xml"/><Relationship Id="rId2" Type="http://schemas.openxmlformats.org/officeDocument/2006/relationships/tags" Target="../tags/tag627.xml"/><Relationship Id="rId1" Type="http://schemas.openxmlformats.org/officeDocument/2006/relationships/tags" Target="../tags/tag626.xml"/><Relationship Id="rId6" Type="http://schemas.openxmlformats.org/officeDocument/2006/relationships/tags" Target="../tags/tag631.xml"/><Relationship Id="rId5" Type="http://schemas.openxmlformats.org/officeDocument/2006/relationships/tags" Target="../tags/tag630.xml"/><Relationship Id="rId4" Type="http://schemas.openxmlformats.org/officeDocument/2006/relationships/tags" Target="../tags/tag629.xml"/><Relationship Id="rId9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tags" Target="../tags/tag641.xml"/><Relationship Id="rId13" Type="http://schemas.openxmlformats.org/officeDocument/2006/relationships/tags" Target="../tags/tag646.xml"/><Relationship Id="rId3" Type="http://schemas.openxmlformats.org/officeDocument/2006/relationships/tags" Target="../tags/tag636.xml"/><Relationship Id="rId7" Type="http://schemas.openxmlformats.org/officeDocument/2006/relationships/tags" Target="../tags/tag640.xml"/><Relationship Id="rId12" Type="http://schemas.openxmlformats.org/officeDocument/2006/relationships/tags" Target="../tags/tag645.xml"/><Relationship Id="rId2" Type="http://schemas.openxmlformats.org/officeDocument/2006/relationships/tags" Target="../tags/tag635.xml"/><Relationship Id="rId1" Type="http://schemas.openxmlformats.org/officeDocument/2006/relationships/tags" Target="../tags/tag634.xml"/><Relationship Id="rId6" Type="http://schemas.openxmlformats.org/officeDocument/2006/relationships/tags" Target="../tags/tag639.xml"/><Relationship Id="rId11" Type="http://schemas.openxmlformats.org/officeDocument/2006/relationships/tags" Target="../tags/tag644.xml"/><Relationship Id="rId5" Type="http://schemas.openxmlformats.org/officeDocument/2006/relationships/tags" Target="../tags/tag638.xml"/><Relationship Id="rId10" Type="http://schemas.openxmlformats.org/officeDocument/2006/relationships/tags" Target="../tags/tag643.xml"/><Relationship Id="rId4" Type="http://schemas.openxmlformats.org/officeDocument/2006/relationships/tags" Target="../tags/tag637.xml"/><Relationship Id="rId9" Type="http://schemas.openxmlformats.org/officeDocument/2006/relationships/tags" Target="../tags/tag642.xml"/><Relationship Id="rId14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tags" Target="../tags/tag654.xml"/><Relationship Id="rId3" Type="http://schemas.openxmlformats.org/officeDocument/2006/relationships/tags" Target="../tags/tag649.xml"/><Relationship Id="rId7" Type="http://schemas.openxmlformats.org/officeDocument/2006/relationships/tags" Target="../tags/tag653.xml"/><Relationship Id="rId2" Type="http://schemas.openxmlformats.org/officeDocument/2006/relationships/tags" Target="../tags/tag648.xml"/><Relationship Id="rId1" Type="http://schemas.openxmlformats.org/officeDocument/2006/relationships/tags" Target="../tags/tag647.xml"/><Relationship Id="rId6" Type="http://schemas.openxmlformats.org/officeDocument/2006/relationships/tags" Target="../tags/tag652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651.xml"/><Relationship Id="rId10" Type="http://schemas.openxmlformats.org/officeDocument/2006/relationships/tags" Target="../tags/tag656.xml"/><Relationship Id="rId4" Type="http://schemas.openxmlformats.org/officeDocument/2006/relationships/tags" Target="../tags/tag650.xml"/><Relationship Id="rId9" Type="http://schemas.openxmlformats.org/officeDocument/2006/relationships/tags" Target="../tags/tag655.xml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tags" Target="../tags/tag664.xml"/><Relationship Id="rId3" Type="http://schemas.openxmlformats.org/officeDocument/2006/relationships/tags" Target="../tags/tag659.xml"/><Relationship Id="rId7" Type="http://schemas.openxmlformats.org/officeDocument/2006/relationships/tags" Target="../tags/tag663.xml"/><Relationship Id="rId2" Type="http://schemas.openxmlformats.org/officeDocument/2006/relationships/tags" Target="../tags/tag658.xml"/><Relationship Id="rId1" Type="http://schemas.openxmlformats.org/officeDocument/2006/relationships/tags" Target="../tags/tag657.xml"/><Relationship Id="rId6" Type="http://schemas.openxmlformats.org/officeDocument/2006/relationships/tags" Target="../tags/tag662.xml"/><Relationship Id="rId5" Type="http://schemas.openxmlformats.org/officeDocument/2006/relationships/tags" Target="../tags/tag66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660.xml"/><Relationship Id="rId9" Type="http://schemas.openxmlformats.org/officeDocument/2006/relationships/tags" Target="../tags/tag66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1.xml"/><Relationship Id="rId1" Type="http://schemas.openxmlformats.org/officeDocument/2006/relationships/tags" Target="../tags/tag130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tags" Target="../tags/tag673.xml"/><Relationship Id="rId3" Type="http://schemas.openxmlformats.org/officeDocument/2006/relationships/tags" Target="../tags/tag668.xml"/><Relationship Id="rId7" Type="http://schemas.openxmlformats.org/officeDocument/2006/relationships/tags" Target="../tags/tag672.xml"/><Relationship Id="rId2" Type="http://schemas.openxmlformats.org/officeDocument/2006/relationships/tags" Target="../tags/tag667.xml"/><Relationship Id="rId1" Type="http://schemas.openxmlformats.org/officeDocument/2006/relationships/tags" Target="../tags/tag666.xml"/><Relationship Id="rId6" Type="http://schemas.openxmlformats.org/officeDocument/2006/relationships/tags" Target="../tags/tag671.xml"/><Relationship Id="rId5" Type="http://schemas.openxmlformats.org/officeDocument/2006/relationships/tags" Target="../tags/tag67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669.xml"/><Relationship Id="rId9" Type="http://schemas.openxmlformats.org/officeDocument/2006/relationships/tags" Target="../tags/tag674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tags" Target="../tags/tag682.xml"/><Relationship Id="rId3" Type="http://schemas.openxmlformats.org/officeDocument/2006/relationships/tags" Target="../tags/tag677.xml"/><Relationship Id="rId7" Type="http://schemas.openxmlformats.org/officeDocument/2006/relationships/tags" Target="../tags/tag681.xml"/><Relationship Id="rId2" Type="http://schemas.openxmlformats.org/officeDocument/2006/relationships/tags" Target="../tags/tag676.xml"/><Relationship Id="rId1" Type="http://schemas.openxmlformats.org/officeDocument/2006/relationships/tags" Target="../tags/tag675.xml"/><Relationship Id="rId6" Type="http://schemas.openxmlformats.org/officeDocument/2006/relationships/tags" Target="../tags/tag680.xml"/><Relationship Id="rId5" Type="http://schemas.openxmlformats.org/officeDocument/2006/relationships/tags" Target="../tags/tag67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678.xml"/><Relationship Id="rId9" Type="http://schemas.openxmlformats.org/officeDocument/2006/relationships/tags" Target="../tags/tag683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691.xml"/><Relationship Id="rId3" Type="http://schemas.openxmlformats.org/officeDocument/2006/relationships/tags" Target="../tags/tag686.xml"/><Relationship Id="rId7" Type="http://schemas.openxmlformats.org/officeDocument/2006/relationships/tags" Target="../tags/tag690.xml"/><Relationship Id="rId2" Type="http://schemas.openxmlformats.org/officeDocument/2006/relationships/tags" Target="../tags/tag685.xml"/><Relationship Id="rId1" Type="http://schemas.openxmlformats.org/officeDocument/2006/relationships/tags" Target="../tags/tag684.xml"/><Relationship Id="rId6" Type="http://schemas.openxmlformats.org/officeDocument/2006/relationships/tags" Target="../tags/tag689.xml"/><Relationship Id="rId5" Type="http://schemas.openxmlformats.org/officeDocument/2006/relationships/tags" Target="../tags/tag688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687.xml"/><Relationship Id="rId9" Type="http://schemas.openxmlformats.org/officeDocument/2006/relationships/tags" Target="../tags/tag69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3.xml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96.xml"/><Relationship Id="rId7" Type="http://schemas.openxmlformats.org/officeDocument/2006/relationships/image" Target="../media/image5.png"/><Relationship Id="rId2" Type="http://schemas.openxmlformats.org/officeDocument/2006/relationships/tags" Target="../tags/tag695.xml"/><Relationship Id="rId1" Type="http://schemas.openxmlformats.org/officeDocument/2006/relationships/tags" Target="../tags/tag69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98.xml"/><Relationship Id="rId4" Type="http://schemas.openxmlformats.org/officeDocument/2006/relationships/tags" Target="../tags/tag697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01.xml"/><Relationship Id="rId7" Type="http://schemas.openxmlformats.org/officeDocument/2006/relationships/image" Target="../media/image5.png"/><Relationship Id="rId2" Type="http://schemas.openxmlformats.org/officeDocument/2006/relationships/tags" Target="../tags/tag700.xml"/><Relationship Id="rId1" Type="http://schemas.openxmlformats.org/officeDocument/2006/relationships/tags" Target="../tags/tag699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03.xml"/><Relationship Id="rId4" Type="http://schemas.openxmlformats.org/officeDocument/2006/relationships/tags" Target="../tags/tag702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706.xml"/><Relationship Id="rId7" Type="http://schemas.openxmlformats.org/officeDocument/2006/relationships/image" Target="../media/image6.png"/><Relationship Id="rId2" Type="http://schemas.openxmlformats.org/officeDocument/2006/relationships/tags" Target="../tags/tag705.xml"/><Relationship Id="rId1" Type="http://schemas.openxmlformats.org/officeDocument/2006/relationships/tags" Target="../tags/tag70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08.xml"/><Relationship Id="rId4" Type="http://schemas.openxmlformats.org/officeDocument/2006/relationships/tags" Target="../tags/tag707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11.xml"/><Relationship Id="rId7" Type="http://schemas.openxmlformats.org/officeDocument/2006/relationships/tags" Target="../tags/tag715.xml"/><Relationship Id="rId2" Type="http://schemas.openxmlformats.org/officeDocument/2006/relationships/tags" Target="../tags/tag710.xml"/><Relationship Id="rId1" Type="http://schemas.openxmlformats.org/officeDocument/2006/relationships/tags" Target="../tags/tag709.xml"/><Relationship Id="rId6" Type="http://schemas.openxmlformats.org/officeDocument/2006/relationships/tags" Target="../tags/tag714.xml"/><Relationship Id="rId5" Type="http://schemas.openxmlformats.org/officeDocument/2006/relationships/tags" Target="../tags/tag713.xml"/><Relationship Id="rId4" Type="http://schemas.openxmlformats.org/officeDocument/2006/relationships/tags" Target="../tags/tag712.xml"/><Relationship Id="rId9" Type="http://schemas.openxmlformats.org/officeDocument/2006/relationships/image" Target="../media/image6.png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18.xml"/><Relationship Id="rId7" Type="http://schemas.openxmlformats.org/officeDocument/2006/relationships/tags" Target="../tags/tag722.xml"/><Relationship Id="rId2" Type="http://schemas.openxmlformats.org/officeDocument/2006/relationships/tags" Target="../tags/tag717.xml"/><Relationship Id="rId1" Type="http://schemas.openxmlformats.org/officeDocument/2006/relationships/tags" Target="../tags/tag716.xml"/><Relationship Id="rId6" Type="http://schemas.openxmlformats.org/officeDocument/2006/relationships/tags" Target="../tags/tag721.xml"/><Relationship Id="rId5" Type="http://schemas.openxmlformats.org/officeDocument/2006/relationships/tags" Target="../tags/tag720.xml"/><Relationship Id="rId4" Type="http://schemas.openxmlformats.org/officeDocument/2006/relationships/tags" Target="../tags/tag719.xml"/><Relationship Id="rId9" Type="http://schemas.openxmlformats.org/officeDocument/2006/relationships/image" Target="../media/image6.png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3.xml"/><Relationship Id="rId4" Type="http://schemas.openxmlformats.org/officeDocument/2006/relationships/image" Target="../media/image8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4.xml"/><Relationship Id="rId4" Type="http://schemas.openxmlformats.org/officeDocument/2006/relationships/image" Target="../media/image8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5.xml"/><Relationship Id="rId4" Type="http://schemas.openxmlformats.org/officeDocument/2006/relationships/image" Target="../media/image8.emf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731.xml"/><Relationship Id="rId7" Type="http://schemas.openxmlformats.org/officeDocument/2006/relationships/image" Target="../media/image2.png"/><Relationship Id="rId2" Type="http://schemas.openxmlformats.org/officeDocument/2006/relationships/tags" Target="../tags/tag730.xml"/><Relationship Id="rId1" Type="http://schemas.openxmlformats.org/officeDocument/2006/relationships/tags" Target="../tags/tag729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733.xml"/><Relationship Id="rId4" Type="http://schemas.openxmlformats.org/officeDocument/2006/relationships/tags" Target="../tags/tag732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tags" Target="../tags/tag741.xml"/><Relationship Id="rId3" Type="http://schemas.openxmlformats.org/officeDocument/2006/relationships/tags" Target="../tags/tag736.xml"/><Relationship Id="rId7" Type="http://schemas.openxmlformats.org/officeDocument/2006/relationships/tags" Target="../tags/tag740.xml"/><Relationship Id="rId12" Type="http://schemas.openxmlformats.org/officeDocument/2006/relationships/image" Target="../media/image4.png"/><Relationship Id="rId2" Type="http://schemas.openxmlformats.org/officeDocument/2006/relationships/tags" Target="../tags/tag735.xml"/><Relationship Id="rId1" Type="http://schemas.openxmlformats.org/officeDocument/2006/relationships/tags" Target="../tags/tag734.xml"/><Relationship Id="rId6" Type="http://schemas.openxmlformats.org/officeDocument/2006/relationships/tags" Target="../tags/tag739.xml"/><Relationship Id="rId11" Type="http://schemas.openxmlformats.org/officeDocument/2006/relationships/image" Target="../media/image3.emf"/><Relationship Id="rId5" Type="http://schemas.openxmlformats.org/officeDocument/2006/relationships/tags" Target="../tags/tag738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737.xml"/><Relationship Id="rId9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tags" Target="../tags/tag749.xml"/><Relationship Id="rId3" Type="http://schemas.openxmlformats.org/officeDocument/2006/relationships/tags" Target="../tags/tag744.xml"/><Relationship Id="rId7" Type="http://schemas.openxmlformats.org/officeDocument/2006/relationships/tags" Target="../tags/tag748.xml"/><Relationship Id="rId2" Type="http://schemas.openxmlformats.org/officeDocument/2006/relationships/tags" Target="../tags/tag743.xml"/><Relationship Id="rId1" Type="http://schemas.openxmlformats.org/officeDocument/2006/relationships/tags" Target="../tags/tag742.xml"/><Relationship Id="rId6" Type="http://schemas.openxmlformats.org/officeDocument/2006/relationships/tags" Target="../tags/tag747.xml"/><Relationship Id="rId5" Type="http://schemas.openxmlformats.org/officeDocument/2006/relationships/tags" Target="../tags/tag746.xml"/><Relationship Id="rId10" Type="http://schemas.openxmlformats.org/officeDocument/2006/relationships/image" Target="../media/image4.png"/><Relationship Id="rId4" Type="http://schemas.openxmlformats.org/officeDocument/2006/relationships/tags" Target="../tags/tag745.xml"/><Relationship Id="rId9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tags" Target="../tags/tag757.xml"/><Relationship Id="rId13" Type="http://schemas.openxmlformats.org/officeDocument/2006/relationships/tags" Target="../tags/tag762.xml"/><Relationship Id="rId3" Type="http://schemas.openxmlformats.org/officeDocument/2006/relationships/tags" Target="../tags/tag752.xml"/><Relationship Id="rId7" Type="http://schemas.openxmlformats.org/officeDocument/2006/relationships/tags" Target="../tags/tag756.xml"/><Relationship Id="rId12" Type="http://schemas.openxmlformats.org/officeDocument/2006/relationships/tags" Target="../tags/tag761.xml"/><Relationship Id="rId2" Type="http://schemas.openxmlformats.org/officeDocument/2006/relationships/tags" Target="../tags/tag751.xml"/><Relationship Id="rId1" Type="http://schemas.openxmlformats.org/officeDocument/2006/relationships/tags" Target="../tags/tag750.xml"/><Relationship Id="rId6" Type="http://schemas.openxmlformats.org/officeDocument/2006/relationships/tags" Target="../tags/tag755.xml"/><Relationship Id="rId11" Type="http://schemas.openxmlformats.org/officeDocument/2006/relationships/tags" Target="../tags/tag760.xml"/><Relationship Id="rId5" Type="http://schemas.openxmlformats.org/officeDocument/2006/relationships/tags" Target="../tags/tag754.xml"/><Relationship Id="rId10" Type="http://schemas.openxmlformats.org/officeDocument/2006/relationships/tags" Target="../tags/tag759.xml"/><Relationship Id="rId4" Type="http://schemas.openxmlformats.org/officeDocument/2006/relationships/tags" Target="../tags/tag753.xml"/><Relationship Id="rId9" Type="http://schemas.openxmlformats.org/officeDocument/2006/relationships/tags" Target="../tags/tag758.xml"/><Relationship Id="rId14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tags" Target="../tags/tag770.xml"/><Relationship Id="rId13" Type="http://schemas.openxmlformats.org/officeDocument/2006/relationships/tags" Target="../tags/tag775.xml"/><Relationship Id="rId3" Type="http://schemas.openxmlformats.org/officeDocument/2006/relationships/tags" Target="../tags/tag765.xml"/><Relationship Id="rId7" Type="http://schemas.openxmlformats.org/officeDocument/2006/relationships/tags" Target="../tags/tag769.xml"/><Relationship Id="rId12" Type="http://schemas.openxmlformats.org/officeDocument/2006/relationships/tags" Target="../tags/tag774.xml"/><Relationship Id="rId2" Type="http://schemas.openxmlformats.org/officeDocument/2006/relationships/tags" Target="../tags/tag764.xml"/><Relationship Id="rId1" Type="http://schemas.openxmlformats.org/officeDocument/2006/relationships/tags" Target="../tags/tag763.xml"/><Relationship Id="rId6" Type="http://schemas.openxmlformats.org/officeDocument/2006/relationships/tags" Target="../tags/tag768.xml"/><Relationship Id="rId11" Type="http://schemas.openxmlformats.org/officeDocument/2006/relationships/tags" Target="../tags/tag773.xml"/><Relationship Id="rId5" Type="http://schemas.openxmlformats.org/officeDocument/2006/relationships/tags" Target="../tags/tag767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772.xml"/><Relationship Id="rId4" Type="http://schemas.openxmlformats.org/officeDocument/2006/relationships/tags" Target="../tags/tag766.xml"/><Relationship Id="rId9" Type="http://schemas.openxmlformats.org/officeDocument/2006/relationships/tags" Target="../tags/tag771.xml"/><Relationship Id="rId14" Type="http://schemas.openxmlformats.org/officeDocument/2006/relationships/tags" Target="../tags/tag776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5" Type="http://schemas.openxmlformats.org/officeDocument/2006/relationships/tags" Target="../tags/tag13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7.xml"/><Relationship Id="rId9" Type="http://schemas.openxmlformats.org/officeDocument/2006/relationships/tags" Target="../tags/tag142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tags" Target="../tags/tag784.xml"/><Relationship Id="rId3" Type="http://schemas.openxmlformats.org/officeDocument/2006/relationships/tags" Target="../tags/tag779.xml"/><Relationship Id="rId7" Type="http://schemas.openxmlformats.org/officeDocument/2006/relationships/tags" Target="../tags/tag783.xml"/><Relationship Id="rId2" Type="http://schemas.openxmlformats.org/officeDocument/2006/relationships/tags" Target="../tags/tag778.xml"/><Relationship Id="rId1" Type="http://schemas.openxmlformats.org/officeDocument/2006/relationships/tags" Target="../tags/tag777.xml"/><Relationship Id="rId6" Type="http://schemas.openxmlformats.org/officeDocument/2006/relationships/tags" Target="../tags/tag782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781.xml"/><Relationship Id="rId10" Type="http://schemas.openxmlformats.org/officeDocument/2006/relationships/tags" Target="../tags/tag786.xml"/><Relationship Id="rId4" Type="http://schemas.openxmlformats.org/officeDocument/2006/relationships/tags" Target="../tags/tag780.xml"/><Relationship Id="rId9" Type="http://schemas.openxmlformats.org/officeDocument/2006/relationships/tags" Target="../tags/tag785.xml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tags" Target="../tags/tag794.xml"/><Relationship Id="rId3" Type="http://schemas.openxmlformats.org/officeDocument/2006/relationships/tags" Target="../tags/tag789.xml"/><Relationship Id="rId7" Type="http://schemas.openxmlformats.org/officeDocument/2006/relationships/tags" Target="../tags/tag793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788.xml"/><Relationship Id="rId1" Type="http://schemas.openxmlformats.org/officeDocument/2006/relationships/tags" Target="../tags/tag787.xml"/><Relationship Id="rId6" Type="http://schemas.openxmlformats.org/officeDocument/2006/relationships/tags" Target="../tags/tag792.xml"/><Relationship Id="rId11" Type="http://schemas.openxmlformats.org/officeDocument/2006/relationships/tags" Target="../tags/tag797.xml"/><Relationship Id="rId5" Type="http://schemas.openxmlformats.org/officeDocument/2006/relationships/tags" Target="../tags/tag791.xml"/><Relationship Id="rId10" Type="http://schemas.openxmlformats.org/officeDocument/2006/relationships/tags" Target="../tags/tag796.xml"/><Relationship Id="rId4" Type="http://schemas.openxmlformats.org/officeDocument/2006/relationships/tags" Target="../tags/tag790.xml"/><Relationship Id="rId9" Type="http://schemas.openxmlformats.org/officeDocument/2006/relationships/tags" Target="../tags/tag795.xml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tags" Target="../tags/tag805.xml"/><Relationship Id="rId3" Type="http://schemas.openxmlformats.org/officeDocument/2006/relationships/tags" Target="../tags/tag800.xml"/><Relationship Id="rId7" Type="http://schemas.openxmlformats.org/officeDocument/2006/relationships/tags" Target="../tags/tag804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799.xml"/><Relationship Id="rId1" Type="http://schemas.openxmlformats.org/officeDocument/2006/relationships/tags" Target="../tags/tag798.xml"/><Relationship Id="rId6" Type="http://schemas.openxmlformats.org/officeDocument/2006/relationships/tags" Target="../tags/tag803.xml"/><Relationship Id="rId11" Type="http://schemas.openxmlformats.org/officeDocument/2006/relationships/tags" Target="../tags/tag808.xml"/><Relationship Id="rId5" Type="http://schemas.openxmlformats.org/officeDocument/2006/relationships/tags" Target="../tags/tag802.xml"/><Relationship Id="rId10" Type="http://schemas.openxmlformats.org/officeDocument/2006/relationships/tags" Target="../tags/tag807.xml"/><Relationship Id="rId4" Type="http://schemas.openxmlformats.org/officeDocument/2006/relationships/tags" Target="../tags/tag801.xml"/><Relationship Id="rId9" Type="http://schemas.openxmlformats.org/officeDocument/2006/relationships/tags" Target="../tags/tag806.xml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tags" Target="../tags/tag816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811.xml"/><Relationship Id="rId7" Type="http://schemas.openxmlformats.org/officeDocument/2006/relationships/tags" Target="../tags/tag815.xml"/><Relationship Id="rId12" Type="http://schemas.openxmlformats.org/officeDocument/2006/relationships/tags" Target="../tags/tag820.xml"/><Relationship Id="rId2" Type="http://schemas.openxmlformats.org/officeDocument/2006/relationships/tags" Target="../tags/tag810.xml"/><Relationship Id="rId1" Type="http://schemas.openxmlformats.org/officeDocument/2006/relationships/tags" Target="../tags/tag809.xml"/><Relationship Id="rId6" Type="http://schemas.openxmlformats.org/officeDocument/2006/relationships/tags" Target="../tags/tag814.xml"/><Relationship Id="rId11" Type="http://schemas.openxmlformats.org/officeDocument/2006/relationships/tags" Target="../tags/tag819.xml"/><Relationship Id="rId5" Type="http://schemas.openxmlformats.org/officeDocument/2006/relationships/tags" Target="../tags/tag813.xml"/><Relationship Id="rId10" Type="http://schemas.openxmlformats.org/officeDocument/2006/relationships/tags" Target="../tags/tag818.xml"/><Relationship Id="rId4" Type="http://schemas.openxmlformats.org/officeDocument/2006/relationships/tags" Target="../tags/tag812.xml"/><Relationship Id="rId9" Type="http://schemas.openxmlformats.org/officeDocument/2006/relationships/tags" Target="../tags/tag817.xml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tags" Target="../tags/tag828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823.xml"/><Relationship Id="rId7" Type="http://schemas.openxmlformats.org/officeDocument/2006/relationships/tags" Target="../tags/tag827.xml"/><Relationship Id="rId12" Type="http://schemas.openxmlformats.org/officeDocument/2006/relationships/tags" Target="../tags/tag832.xml"/><Relationship Id="rId2" Type="http://schemas.openxmlformats.org/officeDocument/2006/relationships/tags" Target="../tags/tag822.xml"/><Relationship Id="rId1" Type="http://schemas.openxmlformats.org/officeDocument/2006/relationships/tags" Target="../tags/tag821.xml"/><Relationship Id="rId6" Type="http://schemas.openxmlformats.org/officeDocument/2006/relationships/tags" Target="../tags/tag826.xml"/><Relationship Id="rId11" Type="http://schemas.openxmlformats.org/officeDocument/2006/relationships/tags" Target="../tags/tag831.xml"/><Relationship Id="rId5" Type="http://schemas.openxmlformats.org/officeDocument/2006/relationships/tags" Target="../tags/tag825.xml"/><Relationship Id="rId10" Type="http://schemas.openxmlformats.org/officeDocument/2006/relationships/tags" Target="../tags/tag830.xml"/><Relationship Id="rId4" Type="http://schemas.openxmlformats.org/officeDocument/2006/relationships/tags" Target="../tags/tag824.xml"/><Relationship Id="rId9" Type="http://schemas.openxmlformats.org/officeDocument/2006/relationships/tags" Target="../tags/tag829.xml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tags" Target="../tags/tag840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835.xml"/><Relationship Id="rId7" Type="http://schemas.openxmlformats.org/officeDocument/2006/relationships/tags" Target="../tags/tag839.xml"/><Relationship Id="rId12" Type="http://schemas.openxmlformats.org/officeDocument/2006/relationships/tags" Target="../tags/tag844.xml"/><Relationship Id="rId2" Type="http://schemas.openxmlformats.org/officeDocument/2006/relationships/tags" Target="../tags/tag834.xml"/><Relationship Id="rId1" Type="http://schemas.openxmlformats.org/officeDocument/2006/relationships/tags" Target="../tags/tag833.xml"/><Relationship Id="rId6" Type="http://schemas.openxmlformats.org/officeDocument/2006/relationships/tags" Target="../tags/tag838.xml"/><Relationship Id="rId11" Type="http://schemas.openxmlformats.org/officeDocument/2006/relationships/tags" Target="../tags/tag843.xml"/><Relationship Id="rId5" Type="http://schemas.openxmlformats.org/officeDocument/2006/relationships/tags" Target="../tags/tag837.xml"/><Relationship Id="rId10" Type="http://schemas.openxmlformats.org/officeDocument/2006/relationships/tags" Target="../tags/tag842.xml"/><Relationship Id="rId4" Type="http://schemas.openxmlformats.org/officeDocument/2006/relationships/tags" Target="../tags/tag836.xml"/><Relationship Id="rId9" Type="http://schemas.openxmlformats.org/officeDocument/2006/relationships/tags" Target="../tags/tag841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tags" Target="../tags/tag852.xml"/><Relationship Id="rId3" Type="http://schemas.openxmlformats.org/officeDocument/2006/relationships/tags" Target="../tags/tag847.xml"/><Relationship Id="rId7" Type="http://schemas.openxmlformats.org/officeDocument/2006/relationships/tags" Target="../tags/tag851.xml"/><Relationship Id="rId2" Type="http://schemas.openxmlformats.org/officeDocument/2006/relationships/tags" Target="../tags/tag846.xml"/><Relationship Id="rId1" Type="http://schemas.openxmlformats.org/officeDocument/2006/relationships/tags" Target="../tags/tag845.xml"/><Relationship Id="rId6" Type="http://schemas.openxmlformats.org/officeDocument/2006/relationships/tags" Target="../tags/tag850.xml"/><Relationship Id="rId5" Type="http://schemas.openxmlformats.org/officeDocument/2006/relationships/tags" Target="../tags/tag849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848.xml"/><Relationship Id="rId9" Type="http://schemas.openxmlformats.org/officeDocument/2006/relationships/tags" Target="../tags/tag85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5.xml"/><Relationship Id="rId1" Type="http://schemas.openxmlformats.org/officeDocument/2006/relationships/tags" Target="../tags/tag854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7.xml"/><Relationship Id="rId1" Type="http://schemas.openxmlformats.org/officeDocument/2006/relationships/tags" Target="../tags/tag856.xml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tags" Target="../tags/tag865.xml"/><Relationship Id="rId3" Type="http://schemas.openxmlformats.org/officeDocument/2006/relationships/tags" Target="../tags/tag860.xml"/><Relationship Id="rId7" Type="http://schemas.openxmlformats.org/officeDocument/2006/relationships/tags" Target="../tags/tag864.xml"/><Relationship Id="rId2" Type="http://schemas.openxmlformats.org/officeDocument/2006/relationships/tags" Target="../tags/tag859.xml"/><Relationship Id="rId1" Type="http://schemas.openxmlformats.org/officeDocument/2006/relationships/tags" Target="../tags/tag858.xml"/><Relationship Id="rId6" Type="http://schemas.openxmlformats.org/officeDocument/2006/relationships/tags" Target="../tags/tag863.xml"/><Relationship Id="rId5" Type="http://schemas.openxmlformats.org/officeDocument/2006/relationships/tags" Target="../tags/tag862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861.xml"/><Relationship Id="rId9" Type="http://schemas.openxmlformats.org/officeDocument/2006/relationships/tags" Target="../tags/tag866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5" Type="http://schemas.openxmlformats.org/officeDocument/2006/relationships/tags" Target="../tags/tag147.xml"/><Relationship Id="rId4" Type="http://schemas.openxmlformats.org/officeDocument/2006/relationships/tags" Target="../tags/tag146.xml"/><Relationship Id="rId9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tags" Target="../tags/tag874.xml"/><Relationship Id="rId3" Type="http://schemas.openxmlformats.org/officeDocument/2006/relationships/tags" Target="../tags/tag869.xml"/><Relationship Id="rId7" Type="http://schemas.openxmlformats.org/officeDocument/2006/relationships/tags" Target="../tags/tag873.xml"/><Relationship Id="rId2" Type="http://schemas.openxmlformats.org/officeDocument/2006/relationships/tags" Target="../tags/tag868.xml"/><Relationship Id="rId1" Type="http://schemas.openxmlformats.org/officeDocument/2006/relationships/tags" Target="../tags/tag867.xml"/><Relationship Id="rId6" Type="http://schemas.openxmlformats.org/officeDocument/2006/relationships/tags" Target="../tags/tag872.xml"/><Relationship Id="rId5" Type="http://schemas.openxmlformats.org/officeDocument/2006/relationships/tags" Target="../tags/tag871.xml"/><Relationship Id="rId4" Type="http://schemas.openxmlformats.org/officeDocument/2006/relationships/tags" Target="../tags/tag870.xml"/><Relationship Id="rId9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tags" Target="../tags/tag882.xml"/><Relationship Id="rId13" Type="http://schemas.openxmlformats.org/officeDocument/2006/relationships/tags" Target="../tags/tag887.xml"/><Relationship Id="rId3" Type="http://schemas.openxmlformats.org/officeDocument/2006/relationships/tags" Target="../tags/tag877.xml"/><Relationship Id="rId7" Type="http://schemas.openxmlformats.org/officeDocument/2006/relationships/tags" Target="../tags/tag881.xml"/><Relationship Id="rId12" Type="http://schemas.openxmlformats.org/officeDocument/2006/relationships/tags" Target="../tags/tag886.xml"/><Relationship Id="rId2" Type="http://schemas.openxmlformats.org/officeDocument/2006/relationships/tags" Target="../tags/tag876.xml"/><Relationship Id="rId1" Type="http://schemas.openxmlformats.org/officeDocument/2006/relationships/tags" Target="../tags/tag875.xml"/><Relationship Id="rId6" Type="http://schemas.openxmlformats.org/officeDocument/2006/relationships/tags" Target="../tags/tag880.xml"/><Relationship Id="rId11" Type="http://schemas.openxmlformats.org/officeDocument/2006/relationships/tags" Target="../tags/tag885.xml"/><Relationship Id="rId5" Type="http://schemas.openxmlformats.org/officeDocument/2006/relationships/tags" Target="../tags/tag879.xml"/><Relationship Id="rId10" Type="http://schemas.openxmlformats.org/officeDocument/2006/relationships/tags" Target="../tags/tag884.xml"/><Relationship Id="rId4" Type="http://schemas.openxmlformats.org/officeDocument/2006/relationships/tags" Target="../tags/tag878.xml"/><Relationship Id="rId9" Type="http://schemas.openxmlformats.org/officeDocument/2006/relationships/tags" Target="../tags/tag883.xml"/><Relationship Id="rId14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tags" Target="../tags/tag895.xml"/><Relationship Id="rId3" Type="http://schemas.openxmlformats.org/officeDocument/2006/relationships/tags" Target="../tags/tag890.xml"/><Relationship Id="rId7" Type="http://schemas.openxmlformats.org/officeDocument/2006/relationships/tags" Target="../tags/tag894.xml"/><Relationship Id="rId2" Type="http://schemas.openxmlformats.org/officeDocument/2006/relationships/tags" Target="../tags/tag889.xml"/><Relationship Id="rId1" Type="http://schemas.openxmlformats.org/officeDocument/2006/relationships/tags" Target="../tags/tag888.xml"/><Relationship Id="rId6" Type="http://schemas.openxmlformats.org/officeDocument/2006/relationships/tags" Target="../tags/tag893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892.xml"/><Relationship Id="rId10" Type="http://schemas.openxmlformats.org/officeDocument/2006/relationships/tags" Target="../tags/tag897.xml"/><Relationship Id="rId4" Type="http://schemas.openxmlformats.org/officeDocument/2006/relationships/tags" Target="../tags/tag891.xml"/><Relationship Id="rId9" Type="http://schemas.openxmlformats.org/officeDocument/2006/relationships/tags" Target="../tags/tag896.xml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tags" Target="../tags/tag905.xml"/><Relationship Id="rId3" Type="http://schemas.openxmlformats.org/officeDocument/2006/relationships/tags" Target="../tags/tag900.xml"/><Relationship Id="rId7" Type="http://schemas.openxmlformats.org/officeDocument/2006/relationships/tags" Target="../tags/tag904.xml"/><Relationship Id="rId2" Type="http://schemas.openxmlformats.org/officeDocument/2006/relationships/tags" Target="../tags/tag899.xml"/><Relationship Id="rId1" Type="http://schemas.openxmlformats.org/officeDocument/2006/relationships/tags" Target="../tags/tag898.xml"/><Relationship Id="rId6" Type="http://schemas.openxmlformats.org/officeDocument/2006/relationships/tags" Target="../tags/tag903.xml"/><Relationship Id="rId5" Type="http://schemas.openxmlformats.org/officeDocument/2006/relationships/tags" Target="../tags/tag902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901.xml"/><Relationship Id="rId9" Type="http://schemas.openxmlformats.org/officeDocument/2006/relationships/tags" Target="../tags/tag906.xml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tags" Target="../tags/tag914.xml"/><Relationship Id="rId3" Type="http://schemas.openxmlformats.org/officeDocument/2006/relationships/tags" Target="../tags/tag909.xml"/><Relationship Id="rId7" Type="http://schemas.openxmlformats.org/officeDocument/2006/relationships/tags" Target="../tags/tag913.xml"/><Relationship Id="rId2" Type="http://schemas.openxmlformats.org/officeDocument/2006/relationships/tags" Target="../tags/tag908.xml"/><Relationship Id="rId1" Type="http://schemas.openxmlformats.org/officeDocument/2006/relationships/tags" Target="../tags/tag907.xml"/><Relationship Id="rId6" Type="http://schemas.openxmlformats.org/officeDocument/2006/relationships/tags" Target="../tags/tag912.xml"/><Relationship Id="rId5" Type="http://schemas.openxmlformats.org/officeDocument/2006/relationships/tags" Target="../tags/tag911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910.xml"/><Relationship Id="rId9" Type="http://schemas.openxmlformats.org/officeDocument/2006/relationships/tags" Target="../tags/tag915.xml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tags" Target="../tags/tag923.xml"/><Relationship Id="rId3" Type="http://schemas.openxmlformats.org/officeDocument/2006/relationships/tags" Target="../tags/tag918.xml"/><Relationship Id="rId7" Type="http://schemas.openxmlformats.org/officeDocument/2006/relationships/tags" Target="../tags/tag922.xml"/><Relationship Id="rId2" Type="http://schemas.openxmlformats.org/officeDocument/2006/relationships/tags" Target="../tags/tag917.xml"/><Relationship Id="rId1" Type="http://schemas.openxmlformats.org/officeDocument/2006/relationships/tags" Target="../tags/tag916.xml"/><Relationship Id="rId6" Type="http://schemas.openxmlformats.org/officeDocument/2006/relationships/tags" Target="../tags/tag921.xml"/><Relationship Id="rId5" Type="http://schemas.openxmlformats.org/officeDocument/2006/relationships/tags" Target="../tags/tag920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919.xml"/><Relationship Id="rId9" Type="http://schemas.openxmlformats.org/officeDocument/2006/relationships/tags" Target="../tags/tag924.xml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tags" Target="../tags/tag932.xml"/><Relationship Id="rId3" Type="http://schemas.openxmlformats.org/officeDocument/2006/relationships/tags" Target="../tags/tag927.xml"/><Relationship Id="rId7" Type="http://schemas.openxmlformats.org/officeDocument/2006/relationships/tags" Target="../tags/tag931.xml"/><Relationship Id="rId2" Type="http://schemas.openxmlformats.org/officeDocument/2006/relationships/tags" Target="../tags/tag926.xml"/><Relationship Id="rId1" Type="http://schemas.openxmlformats.org/officeDocument/2006/relationships/tags" Target="../tags/tag925.xml"/><Relationship Id="rId6" Type="http://schemas.openxmlformats.org/officeDocument/2006/relationships/tags" Target="../tags/tag930.xml"/><Relationship Id="rId5" Type="http://schemas.openxmlformats.org/officeDocument/2006/relationships/tags" Target="../tags/tag929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928.xml"/><Relationship Id="rId9" Type="http://schemas.openxmlformats.org/officeDocument/2006/relationships/tags" Target="../tags/tag933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4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37.xml"/><Relationship Id="rId7" Type="http://schemas.openxmlformats.org/officeDocument/2006/relationships/image" Target="../media/image5.png"/><Relationship Id="rId2" Type="http://schemas.openxmlformats.org/officeDocument/2006/relationships/tags" Target="../tags/tag936.xml"/><Relationship Id="rId1" Type="http://schemas.openxmlformats.org/officeDocument/2006/relationships/tags" Target="../tags/tag93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939.xml"/><Relationship Id="rId4" Type="http://schemas.openxmlformats.org/officeDocument/2006/relationships/tags" Target="../tags/tag938.xml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42.xml"/><Relationship Id="rId7" Type="http://schemas.openxmlformats.org/officeDocument/2006/relationships/image" Target="../media/image5.png"/><Relationship Id="rId2" Type="http://schemas.openxmlformats.org/officeDocument/2006/relationships/tags" Target="../tags/tag941.xml"/><Relationship Id="rId1" Type="http://schemas.openxmlformats.org/officeDocument/2006/relationships/tags" Target="../tags/tag94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944.xml"/><Relationship Id="rId4" Type="http://schemas.openxmlformats.org/officeDocument/2006/relationships/tags" Target="../tags/tag94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58.xml"/><Relationship Id="rId13" Type="http://schemas.openxmlformats.org/officeDocument/2006/relationships/tags" Target="../tags/tag163.xml"/><Relationship Id="rId3" Type="http://schemas.openxmlformats.org/officeDocument/2006/relationships/tags" Target="../tags/tag153.xml"/><Relationship Id="rId7" Type="http://schemas.openxmlformats.org/officeDocument/2006/relationships/tags" Target="../tags/tag157.xml"/><Relationship Id="rId12" Type="http://schemas.openxmlformats.org/officeDocument/2006/relationships/tags" Target="../tags/tag162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tags" Target="../tags/tag156.xml"/><Relationship Id="rId11" Type="http://schemas.openxmlformats.org/officeDocument/2006/relationships/tags" Target="../tags/tag161.xml"/><Relationship Id="rId5" Type="http://schemas.openxmlformats.org/officeDocument/2006/relationships/tags" Target="../tags/tag155.xml"/><Relationship Id="rId10" Type="http://schemas.openxmlformats.org/officeDocument/2006/relationships/tags" Target="../tags/tag160.xml"/><Relationship Id="rId4" Type="http://schemas.openxmlformats.org/officeDocument/2006/relationships/tags" Target="../tags/tag154.xml"/><Relationship Id="rId9" Type="http://schemas.openxmlformats.org/officeDocument/2006/relationships/tags" Target="../tags/tag159.xml"/><Relationship Id="rId14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947.xml"/><Relationship Id="rId7" Type="http://schemas.openxmlformats.org/officeDocument/2006/relationships/image" Target="../media/image6.png"/><Relationship Id="rId2" Type="http://schemas.openxmlformats.org/officeDocument/2006/relationships/tags" Target="../tags/tag946.xml"/><Relationship Id="rId1" Type="http://schemas.openxmlformats.org/officeDocument/2006/relationships/tags" Target="../tags/tag94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949.xml"/><Relationship Id="rId4" Type="http://schemas.openxmlformats.org/officeDocument/2006/relationships/tags" Target="../tags/tag948.xml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952.xml"/><Relationship Id="rId7" Type="http://schemas.openxmlformats.org/officeDocument/2006/relationships/tags" Target="../tags/tag956.xml"/><Relationship Id="rId2" Type="http://schemas.openxmlformats.org/officeDocument/2006/relationships/tags" Target="../tags/tag951.xml"/><Relationship Id="rId1" Type="http://schemas.openxmlformats.org/officeDocument/2006/relationships/tags" Target="../tags/tag950.xml"/><Relationship Id="rId6" Type="http://schemas.openxmlformats.org/officeDocument/2006/relationships/tags" Target="../tags/tag955.xml"/><Relationship Id="rId5" Type="http://schemas.openxmlformats.org/officeDocument/2006/relationships/tags" Target="../tags/tag954.xml"/><Relationship Id="rId4" Type="http://schemas.openxmlformats.org/officeDocument/2006/relationships/tags" Target="../tags/tag953.xml"/><Relationship Id="rId9" Type="http://schemas.openxmlformats.org/officeDocument/2006/relationships/image" Target="../media/image6.png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959.xml"/><Relationship Id="rId7" Type="http://schemas.openxmlformats.org/officeDocument/2006/relationships/tags" Target="../tags/tag963.xml"/><Relationship Id="rId2" Type="http://schemas.openxmlformats.org/officeDocument/2006/relationships/tags" Target="../tags/tag958.xml"/><Relationship Id="rId1" Type="http://schemas.openxmlformats.org/officeDocument/2006/relationships/tags" Target="../tags/tag957.xml"/><Relationship Id="rId6" Type="http://schemas.openxmlformats.org/officeDocument/2006/relationships/tags" Target="../tags/tag962.xml"/><Relationship Id="rId5" Type="http://schemas.openxmlformats.org/officeDocument/2006/relationships/tags" Target="../tags/tag961.xml"/><Relationship Id="rId4" Type="http://schemas.openxmlformats.org/officeDocument/2006/relationships/tags" Target="../tags/tag960.xml"/><Relationship Id="rId9" Type="http://schemas.openxmlformats.org/officeDocument/2006/relationships/image" Target="../media/image6.pn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4.xml"/><Relationship Id="rId4" Type="http://schemas.openxmlformats.org/officeDocument/2006/relationships/image" Target="../media/image8.emf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5.xml"/><Relationship Id="rId4" Type="http://schemas.openxmlformats.org/officeDocument/2006/relationships/image" Target="../media/image8.emf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6.xml"/><Relationship Id="rId4" Type="http://schemas.openxmlformats.org/officeDocument/2006/relationships/image" Target="../media/image8.emf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68.xml"/><Relationship Id="rId10" Type="http://schemas.openxmlformats.org/officeDocument/2006/relationships/tags" Target="../tags/tag173.xml"/><Relationship Id="rId4" Type="http://schemas.openxmlformats.org/officeDocument/2006/relationships/tags" Target="../tags/tag167.xml"/><Relationship Id="rId9" Type="http://schemas.openxmlformats.org/officeDocument/2006/relationships/tags" Target="../tags/tag17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5" Type="http://schemas.openxmlformats.org/officeDocument/2006/relationships/tags" Target="../tags/tag17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77.xml"/><Relationship Id="rId9" Type="http://schemas.openxmlformats.org/officeDocument/2006/relationships/tags" Target="../tags/tag18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3.emf"/><Relationship Id="rId5" Type="http://schemas.openxmlformats.org/officeDocument/2006/relationships/tags" Target="../tags/tag14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3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5" Type="http://schemas.openxmlformats.org/officeDocument/2006/relationships/tags" Target="../tags/tag18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86.xml"/><Relationship Id="rId9" Type="http://schemas.openxmlformats.org/officeDocument/2006/relationships/tags" Target="../tags/tag19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5" Type="http://schemas.openxmlformats.org/officeDocument/2006/relationships/tags" Target="../tags/tag19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5.xml"/><Relationship Id="rId9" Type="http://schemas.openxmlformats.org/officeDocument/2006/relationships/tags" Target="../tags/tag200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5" Type="http://schemas.openxmlformats.org/officeDocument/2006/relationships/tags" Target="../tags/tag20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04.xml"/><Relationship Id="rId9" Type="http://schemas.openxmlformats.org/officeDocument/2006/relationships/tags" Target="../tags/tag209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0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13.xml"/><Relationship Id="rId7" Type="http://schemas.openxmlformats.org/officeDocument/2006/relationships/image" Target="../media/image5.png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5.xml"/><Relationship Id="rId4" Type="http://schemas.openxmlformats.org/officeDocument/2006/relationships/tags" Target="../tags/tag214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18.xml"/><Relationship Id="rId7" Type="http://schemas.openxmlformats.org/officeDocument/2006/relationships/image" Target="../media/image5.png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0.xml"/><Relationship Id="rId4" Type="http://schemas.openxmlformats.org/officeDocument/2006/relationships/tags" Target="../tags/tag219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7" Type="http://schemas.openxmlformats.org/officeDocument/2006/relationships/image" Target="../media/image6.png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5.xml"/><Relationship Id="rId4" Type="http://schemas.openxmlformats.org/officeDocument/2006/relationships/tags" Target="../tags/tag22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tags" Target="../tags/tag231.xml"/><Relationship Id="rId5" Type="http://schemas.openxmlformats.org/officeDocument/2006/relationships/tags" Target="../tags/tag230.xml"/><Relationship Id="rId4" Type="http://schemas.openxmlformats.org/officeDocument/2006/relationships/tags" Target="../tags/tag229.xml"/><Relationship Id="rId9" Type="http://schemas.openxmlformats.org/officeDocument/2006/relationships/image" Target="../media/image6.png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35.xml"/><Relationship Id="rId7" Type="http://schemas.openxmlformats.org/officeDocument/2006/relationships/tags" Target="../tags/tag239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5" Type="http://schemas.openxmlformats.org/officeDocument/2006/relationships/tags" Target="../tags/tag237.xml"/><Relationship Id="rId4" Type="http://schemas.openxmlformats.org/officeDocument/2006/relationships/tags" Target="../tags/tag236.xml"/><Relationship Id="rId9" Type="http://schemas.openxmlformats.org/officeDocument/2006/relationships/image" Target="../media/image6.png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10" Type="http://schemas.openxmlformats.org/officeDocument/2006/relationships/image" Target="../media/image4.png"/><Relationship Id="rId4" Type="http://schemas.openxmlformats.org/officeDocument/2006/relationships/tags" Target="../tags/tag21.xml"/><Relationship Id="rId9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7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249.xml"/><Relationship Id="rId7" Type="http://schemas.openxmlformats.org/officeDocument/2006/relationships/image" Target="../media/image2.png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1.xml"/><Relationship Id="rId4" Type="http://schemas.openxmlformats.org/officeDocument/2006/relationships/tags" Target="../tags/tag250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image" Target="../media/image4.png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tags" Target="../tags/tag257.xml"/><Relationship Id="rId11" Type="http://schemas.openxmlformats.org/officeDocument/2006/relationships/image" Target="../media/image3.emf"/><Relationship Id="rId5" Type="http://schemas.openxmlformats.org/officeDocument/2006/relationships/tags" Target="../tags/tag256.xml"/><Relationship Id="rId10" Type="http://schemas.openxmlformats.org/officeDocument/2006/relationships/oleObject" Target="../embeddings/oleObject4.bin"/><Relationship Id="rId4" Type="http://schemas.openxmlformats.org/officeDocument/2006/relationships/tags" Target="../tags/tag255.xml"/><Relationship Id="rId9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267.xml"/><Relationship Id="rId3" Type="http://schemas.openxmlformats.org/officeDocument/2006/relationships/tags" Target="../tags/tag262.xml"/><Relationship Id="rId7" Type="http://schemas.openxmlformats.org/officeDocument/2006/relationships/tags" Target="../tags/tag266.xml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tags" Target="../tags/tag265.xml"/><Relationship Id="rId5" Type="http://schemas.openxmlformats.org/officeDocument/2006/relationships/tags" Target="../tags/tag264.xml"/><Relationship Id="rId10" Type="http://schemas.openxmlformats.org/officeDocument/2006/relationships/image" Target="../media/image4.png"/><Relationship Id="rId4" Type="http://schemas.openxmlformats.org/officeDocument/2006/relationships/tags" Target="../tags/tag263.xml"/><Relationship Id="rId9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275.xml"/><Relationship Id="rId13" Type="http://schemas.openxmlformats.org/officeDocument/2006/relationships/tags" Target="../tags/tag280.xml"/><Relationship Id="rId3" Type="http://schemas.openxmlformats.org/officeDocument/2006/relationships/tags" Target="../tags/tag270.xml"/><Relationship Id="rId7" Type="http://schemas.openxmlformats.org/officeDocument/2006/relationships/tags" Target="../tags/tag274.xml"/><Relationship Id="rId12" Type="http://schemas.openxmlformats.org/officeDocument/2006/relationships/tags" Target="../tags/tag279.xml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tags" Target="../tags/tag273.xml"/><Relationship Id="rId11" Type="http://schemas.openxmlformats.org/officeDocument/2006/relationships/tags" Target="../tags/tag278.xml"/><Relationship Id="rId5" Type="http://schemas.openxmlformats.org/officeDocument/2006/relationships/tags" Target="../tags/tag272.xml"/><Relationship Id="rId10" Type="http://schemas.openxmlformats.org/officeDocument/2006/relationships/tags" Target="../tags/tag277.xml"/><Relationship Id="rId4" Type="http://schemas.openxmlformats.org/officeDocument/2006/relationships/tags" Target="../tags/tag271.xml"/><Relationship Id="rId9" Type="http://schemas.openxmlformats.org/officeDocument/2006/relationships/tags" Target="../tags/tag276.xml"/><Relationship Id="rId1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tags" Target="../tags/tag84.xml"/><Relationship Id="rId5" Type="http://schemas.openxmlformats.org/officeDocument/2006/relationships/tags" Target="../tags/tag78.xml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288.xml"/><Relationship Id="rId13" Type="http://schemas.openxmlformats.org/officeDocument/2006/relationships/tags" Target="../tags/tag293.xml"/><Relationship Id="rId3" Type="http://schemas.openxmlformats.org/officeDocument/2006/relationships/tags" Target="../tags/tag283.xml"/><Relationship Id="rId7" Type="http://schemas.openxmlformats.org/officeDocument/2006/relationships/tags" Target="../tags/tag287.xml"/><Relationship Id="rId12" Type="http://schemas.openxmlformats.org/officeDocument/2006/relationships/tags" Target="../tags/tag292.xml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tags" Target="../tags/tag286.xml"/><Relationship Id="rId11" Type="http://schemas.openxmlformats.org/officeDocument/2006/relationships/tags" Target="../tags/tag291.xml"/><Relationship Id="rId5" Type="http://schemas.openxmlformats.org/officeDocument/2006/relationships/tags" Target="../tags/tag28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90.xml"/><Relationship Id="rId4" Type="http://schemas.openxmlformats.org/officeDocument/2006/relationships/tags" Target="../tags/tag284.xml"/><Relationship Id="rId9" Type="http://schemas.openxmlformats.org/officeDocument/2006/relationships/tags" Target="../tags/tag289.xml"/><Relationship Id="rId14" Type="http://schemas.openxmlformats.org/officeDocument/2006/relationships/tags" Target="../tags/tag294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302.xml"/><Relationship Id="rId3" Type="http://schemas.openxmlformats.org/officeDocument/2006/relationships/tags" Target="../tags/tag297.xml"/><Relationship Id="rId7" Type="http://schemas.openxmlformats.org/officeDocument/2006/relationships/tags" Target="../tags/tag301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6" Type="http://schemas.openxmlformats.org/officeDocument/2006/relationships/tags" Target="../tags/tag300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299.xml"/><Relationship Id="rId10" Type="http://schemas.openxmlformats.org/officeDocument/2006/relationships/tags" Target="../tags/tag304.xml"/><Relationship Id="rId4" Type="http://schemas.openxmlformats.org/officeDocument/2006/relationships/tags" Target="../tags/tag298.xml"/><Relationship Id="rId9" Type="http://schemas.openxmlformats.org/officeDocument/2006/relationships/tags" Target="../tags/tag303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11" Type="http://schemas.openxmlformats.org/officeDocument/2006/relationships/tags" Target="../tags/tag315.xml"/><Relationship Id="rId5" Type="http://schemas.openxmlformats.org/officeDocument/2006/relationships/tags" Target="../tags/tag309.xml"/><Relationship Id="rId10" Type="http://schemas.openxmlformats.org/officeDocument/2006/relationships/tags" Target="../tags/tag314.xml"/><Relationship Id="rId4" Type="http://schemas.openxmlformats.org/officeDocument/2006/relationships/tags" Target="../tags/tag308.xml"/><Relationship Id="rId9" Type="http://schemas.openxmlformats.org/officeDocument/2006/relationships/tags" Target="../tags/tag313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323.xml"/><Relationship Id="rId3" Type="http://schemas.openxmlformats.org/officeDocument/2006/relationships/tags" Target="../tags/tag318.xml"/><Relationship Id="rId7" Type="http://schemas.openxmlformats.org/officeDocument/2006/relationships/tags" Target="../tags/tag322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tags" Target="../tags/tag321.xml"/><Relationship Id="rId11" Type="http://schemas.openxmlformats.org/officeDocument/2006/relationships/tags" Target="../tags/tag326.xml"/><Relationship Id="rId5" Type="http://schemas.openxmlformats.org/officeDocument/2006/relationships/tags" Target="../tags/tag320.xml"/><Relationship Id="rId10" Type="http://schemas.openxmlformats.org/officeDocument/2006/relationships/tags" Target="../tags/tag325.xml"/><Relationship Id="rId4" Type="http://schemas.openxmlformats.org/officeDocument/2006/relationships/tags" Target="../tags/tag319.xml"/><Relationship Id="rId9" Type="http://schemas.openxmlformats.org/officeDocument/2006/relationships/tags" Target="../tags/tag324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334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329.xml"/><Relationship Id="rId7" Type="http://schemas.openxmlformats.org/officeDocument/2006/relationships/tags" Target="../tags/tag333.xml"/><Relationship Id="rId12" Type="http://schemas.openxmlformats.org/officeDocument/2006/relationships/tags" Target="../tags/tag338.xml"/><Relationship Id="rId2" Type="http://schemas.openxmlformats.org/officeDocument/2006/relationships/tags" Target="../tags/tag328.xml"/><Relationship Id="rId1" Type="http://schemas.openxmlformats.org/officeDocument/2006/relationships/tags" Target="../tags/tag327.xml"/><Relationship Id="rId6" Type="http://schemas.openxmlformats.org/officeDocument/2006/relationships/tags" Target="../tags/tag332.xml"/><Relationship Id="rId11" Type="http://schemas.openxmlformats.org/officeDocument/2006/relationships/tags" Target="../tags/tag337.xml"/><Relationship Id="rId5" Type="http://schemas.openxmlformats.org/officeDocument/2006/relationships/tags" Target="../tags/tag331.xml"/><Relationship Id="rId10" Type="http://schemas.openxmlformats.org/officeDocument/2006/relationships/tags" Target="../tags/tag336.xml"/><Relationship Id="rId4" Type="http://schemas.openxmlformats.org/officeDocument/2006/relationships/tags" Target="../tags/tag330.xml"/><Relationship Id="rId9" Type="http://schemas.openxmlformats.org/officeDocument/2006/relationships/tags" Target="../tags/tag335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tags" Target="../tags/tag346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341.xml"/><Relationship Id="rId7" Type="http://schemas.openxmlformats.org/officeDocument/2006/relationships/tags" Target="../tags/tag345.xml"/><Relationship Id="rId12" Type="http://schemas.openxmlformats.org/officeDocument/2006/relationships/tags" Target="../tags/tag350.xml"/><Relationship Id="rId2" Type="http://schemas.openxmlformats.org/officeDocument/2006/relationships/tags" Target="../tags/tag340.xml"/><Relationship Id="rId1" Type="http://schemas.openxmlformats.org/officeDocument/2006/relationships/tags" Target="../tags/tag339.xml"/><Relationship Id="rId6" Type="http://schemas.openxmlformats.org/officeDocument/2006/relationships/tags" Target="../tags/tag344.xml"/><Relationship Id="rId11" Type="http://schemas.openxmlformats.org/officeDocument/2006/relationships/tags" Target="../tags/tag349.xml"/><Relationship Id="rId5" Type="http://schemas.openxmlformats.org/officeDocument/2006/relationships/tags" Target="../tags/tag343.xml"/><Relationship Id="rId10" Type="http://schemas.openxmlformats.org/officeDocument/2006/relationships/tags" Target="../tags/tag348.xml"/><Relationship Id="rId4" Type="http://schemas.openxmlformats.org/officeDocument/2006/relationships/tags" Target="../tags/tag342.xml"/><Relationship Id="rId9" Type="http://schemas.openxmlformats.org/officeDocument/2006/relationships/tags" Target="../tags/tag347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358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353.xml"/><Relationship Id="rId7" Type="http://schemas.openxmlformats.org/officeDocument/2006/relationships/tags" Target="../tags/tag357.xml"/><Relationship Id="rId12" Type="http://schemas.openxmlformats.org/officeDocument/2006/relationships/tags" Target="../tags/tag362.xml"/><Relationship Id="rId2" Type="http://schemas.openxmlformats.org/officeDocument/2006/relationships/tags" Target="../tags/tag352.xml"/><Relationship Id="rId1" Type="http://schemas.openxmlformats.org/officeDocument/2006/relationships/tags" Target="../tags/tag351.xml"/><Relationship Id="rId6" Type="http://schemas.openxmlformats.org/officeDocument/2006/relationships/tags" Target="../tags/tag356.xml"/><Relationship Id="rId11" Type="http://schemas.openxmlformats.org/officeDocument/2006/relationships/tags" Target="../tags/tag361.xml"/><Relationship Id="rId5" Type="http://schemas.openxmlformats.org/officeDocument/2006/relationships/tags" Target="../tags/tag355.xml"/><Relationship Id="rId10" Type="http://schemas.openxmlformats.org/officeDocument/2006/relationships/tags" Target="../tags/tag360.xml"/><Relationship Id="rId4" Type="http://schemas.openxmlformats.org/officeDocument/2006/relationships/tags" Target="../tags/tag354.xml"/><Relationship Id="rId9" Type="http://schemas.openxmlformats.org/officeDocument/2006/relationships/tags" Target="../tags/tag359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370.xml"/><Relationship Id="rId3" Type="http://schemas.openxmlformats.org/officeDocument/2006/relationships/tags" Target="../tags/tag365.xml"/><Relationship Id="rId7" Type="http://schemas.openxmlformats.org/officeDocument/2006/relationships/tags" Target="../tags/tag369.xml"/><Relationship Id="rId2" Type="http://schemas.openxmlformats.org/officeDocument/2006/relationships/tags" Target="../tags/tag364.xml"/><Relationship Id="rId1" Type="http://schemas.openxmlformats.org/officeDocument/2006/relationships/tags" Target="../tags/tag363.xml"/><Relationship Id="rId6" Type="http://schemas.openxmlformats.org/officeDocument/2006/relationships/tags" Target="../tags/tag368.xml"/><Relationship Id="rId5" Type="http://schemas.openxmlformats.org/officeDocument/2006/relationships/tags" Target="../tags/tag36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366.xml"/><Relationship Id="rId9" Type="http://schemas.openxmlformats.org/officeDocument/2006/relationships/tags" Target="../tags/tag37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3.xml"/><Relationship Id="rId1" Type="http://schemas.openxmlformats.org/officeDocument/2006/relationships/tags" Target="../tags/tag37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5.xml"/><Relationship Id="rId1" Type="http://schemas.openxmlformats.org/officeDocument/2006/relationships/tags" Target="../tags/tag374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5" Type="http://schemas.openxmlformats.org/officeDocument/2006/relationships/tags" Target="../tags/tag89.xml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383.xml"/><Relationship Id="rId3" Type="http://schemas.openxmlformats.org/officeDocument/2006/relationships/tags" Target="../tags/tag378.xml"/><Relationship Id="rId7" Type="http://schemas.openxmlformats.org/officeDocument/2006/relationships/tags" Target="../tags/tag382.xml"/><Relationship Id="rId2" Type="http://schemas.openxmlformats.org/officeDocument/2006/relationships/tags" Target="../tags/tag377.xml"/><Relationship Id="rId1" Type="http://schemas.openxmlformats.org/officeDocument/2006/relationships/tags" Target="../tags/tag376.xml"/><Relationship Id="rId6" Type="http://schemas.openxmlformats.org/officeDocument/2006/relationships/tags" Target="../tags/tag381.xml"/><Relationship Id="rId5" Type="http://schemas.openxmlformats.org/officeDocument/2006/relationships/tags" Target="../tags/tag38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379.xml"/><Relationship Id="rId9" Type="http://schemas.openxmlformats.org/officeDocument/2006/relationships/tags" Target="../tags/tag384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tags" Target="../tags/tag392.xml"/><Relationship Id="rId3" Type="http://schemas.openxmlformats.org/officeDocument/2006/relationships/tags" Target="../tags/tag387.xml"/><Relationship Id="rId7" Type="http://schemas.openxmlformats.org/officeDocument/2006/relationships/tags" Target="../tags/tag391.xml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6" Type="http://schemas.openxmlformats.org/officeDocument/2006/relationships/tags" Target="../tags/tag390.xml"/><Relationship Id="rId5" Type="http://schemas.openxmlformats.org/officeDocument/2006/relationships/tags" Target="../tags/tag389.xml"/><Relationship Id="rId4" Type="http://schemas.openxmlformats.org/officeDocument/2006/relationships/tags" Target="../tags/tag388.xml"/><Relationship Id="rId9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tags" Target="../tags/tag400.xml"/><Relationship Id="rId13" Type="http://schemas.openxmlformats.org/officeDocument/2006/relationships/tags" Target="../tags/tag405.xml"/><Relationship Id="rId3" Type="http://schemas.openxmlformats.org/officeDocument/2006/relationships/tags" Target="../tags/tag395.xml"/><Relationship Id="rId7" Type="http://schemas.openxmlformats.org/officeDocument/2006/relationships/tags" Target="../tags/tag399.xml"/><Relationship Id="rId12" Type="http://schemas.openxmlformats.org/officeDocument/2006/relationships/tags" Target="../tags/tag404.xml"/><Relationship Id="rId2" Type="http://schemas.openxmlformats.org/officeDocument/2006/relationships/tags" Target="../tags/tag394.xml"/><Relationship Id="rId1" Type="http://schemas.openxmlformats.org/officeDocument/2006/relationships/tags" Target="../tags/tag393.xml"/><Relationship Id="rId6" Type="http://schemas.openxmlformats.org/officeDocument/2006/relationships/tags" Target="../tags/tag398.xml"/><Relationship Id="rId11" Type="http://schemas.openxmlformats.org/officeDocument/2006/relationships/tags" Target="../tags/tag403.xml"/><Relationship Id="rId5" Type="http://schemas.openxmlformats.org/officeDocument/2006/relationships/tags" Target="../tags/tag397.xml"/><Relationship Id="rId10" Type="http://schemas.openxmlformats.org/officeDocument/2006/relationships/tags" Target="../tags/tag402.xml"/><Relationship Id="rId4" Type="http://schemas.openxmlformats.org/officeDocument/2006/relationships/tags" Target="../tags/tag396.xml"/><Relationship Id="rId9" Type="http://schemas.openxmlformats.org/officeDocument/2006/relationships/tags" Target="../tags/tag401.xml"/><Relationship Id="rId14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413.xml"/><Relationship Id="rId3" Type="http://schemas.openxmlformats.org/officeDocument/2006/relationships/tags" Target="../tags/tag408.xml"/><Relationship Id="rId7" Type="http://schemas.openxmlformats.org/officeDocument/2006/relationships/tags" Target="../tags/tag412.xml"/><Relationship Id="rId2" Type="http://schemas.openxmlformats.org/officeDocument/2006/relationships/tags" Target="../tags/tag407.xml"/><Relationship Id="rId1" Type="http://schemas.openxmlformats.org/officeDocument/2006/relationships/tags" Target="../tags/tag406.xml"/><Relationship Id="rId6" Type="http://schemas.openxmlformats.org/officeDocument/2006/relationships/tags" Target="../tags/tag411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410.xml"/><Relationship Id="rId10" Type="http://schemas.openxmlformats.org/officeDocument/2006/relationships/tags" Target="../tags/tag415.xml"/><Relationship Id="rId4" Type="http://schemas.openxmlformats.org/officeDocument/2006/relationships/tags" Target="../tags/tag409.xml"/><Relationship Id="rId9" Type="http://schemas.openxmlformats.org/officeDocument/2006/relationships/tags" Target="../tags/tag414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tags" Target="../tags/tag423.xml"/><Relationship Id="rId3" Type="http://schemas.openxmlformats.org/officeDocument/2006/relationships/tags" Target="../tags/tag418.xml"/><Relationship Id="rId7" Type="http://schemas.openxmlformats.org/officeDocument/2006/relationships/tags" Target="../tags/tag422.xml"/><Relationship Id="rId2" Type="http://schemas.openxmlformats.org/officeDocument/2006/relationships/tags" Target="../tags/tag417.xml"/><Relationship Id="rId1" Type="http://schemas.openxmlformats.org/officeDocument/2006/relationships/tags" Target="../tags/tag416.xml"/><Relationship Id="rId6" Type="http://schemas.openxmlformats.org/officeDocument/2006/relationships/tags" Target="../tags/tag421.xml"/><Relationship Id="rId5" Type="http://schemas.openxmlformats.org/officeDocument/2006/relationships/tags" Target="../tags/tag42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19.xml"/><Relationship Id="rId9" Type="http://schemas.openxmlformats.org/officeDocument/2006/relationships/tags" Target="../tags/tag424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tags" Target="../tags/tag432.xml"/><Relationship Id="rId3" Type="http://schemas.openxmlformats.org/officeDocument/2006/relationships/tags" Target="../tags/tag427.xml"/><Relationship Id="rId7" Type="http://schemas.openxmlformats.org/officeDocument/2006/relationships/tags" Target="../tags/tag431.xml"/><Relationship Id="rId2" Type="http://schemas.openxmlformats.org/officeDocument/2006/relationships/tags" Target="../tags/tag426.xml"/><Relationship Id="rId1" Type="http://schemas.openxmlformats.org/officeDocument/2006/relationships/tags" Target="../tags/tag425.xml"/><Relationship Id="rId6" Type="http://schemas.openxmlformats.org/officeDocument/2006/relationships/tags" Target="../tags/tag430.xml"/><Relationship Id="rId5" Type="http://schemas.openxmlformats.org/officeDocument/2006/relationships/tags" Target="../tags/tag42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28.xml"/><Relationship Id="rId9" Type="http://schemas.openxmlformats.org/officeDocument/2006/relationships/tags" Target="../tags/tag433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441.xml"/><Relationship Id="rId3" Type="http://schemas.openxmlformats.org/officeDocument/2006/relationships/tags" Target="../tags/tag436.xml"/><Relationship Id="rId7" Type="http://schemas.openxmlformats.org/officeDocument/2006/relationships/tags" Target="../tags/tag440.xml"/><Relationship Id="rId2" Type="http://schemas.openxmlformats.org/officeDocument/2006/relationships/tags" Target="../tags/tag435.xml"/><Relationship Id="rId1" Type="http://schemas.openxmlformats.org/officeDocument/2006/relationships/tags" Target="../tags/tag434.xml"/><Relationship Id="rId6" Type="http://schemas.openxmlformats.org/officeDocument/2006/relationships/tags" Target="../tags/tag439.xml"/><Relationship Id="rId5" Type="http://schemas.openxmlformats.org/officeDocument/2006/relationships/tags" Target="../tags/tag43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37.xml"/><Relationship Id="rId9" Type="http://schemas.openxmlformats.org/officeDocument/2006/relationships/tags" Target="../tags/tag442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450.xml"/><Relationship Id="rId3" Type="http://schemas.openxmlformats.org/officeDocument/2006/relationships/tags" Target="../tags/tag445.xml"/><Relationship Id="rId7" Type="http://schemas.openxmlformats.org/officeDocument/2006/relationships/tags" Target="../tags/tag449.xml"/><Relationship Id="rId2" Type="http://schemas.openxmlformats.org/officeDocument/2006/relationships/tags" Target="../tags/tag444.xml"/><Relationship Id="rId1" Type="http://schemas.openxmlformats.org/officeDocument/2006/relationships/tags" Target="../tags/tag443.xml"/><Relationship Id="rId6" Type="http://schemas.openxmlformats.org/officeDocument/2006/relationships/tags" Target="../tags/tag448.xml"/><Relationship Id="rId5" Type="http://schemas.openxmlformats.org/officeDocument/2006/relationships/tags" Target="../tags/tag44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46.xml"/><Relationship Id="rId9" Type="http://schemas.openxmlformats.org/officeDocument/2006/relationships/tags" Target="../tags/tag45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2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55.xml"/><Relationship Id="rId7" Type="http://schemas.openxmlformats.org/officeDocument/2006/relationships/image" Target="../media/image5.png"/><Relationship Id="rId2" Type="http://schemas.openxmlformats.org/officeDocument/2006/relationships/tags" Target="../tags/tag454.xml"/><Relationship Id="rId1" Type="http://schemas.openxmlformats.org/officeDocument/2006/relationships/tags" Target="../tags/tag45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57.xml"/><Relationship Id="rId4" Type="http://schemas.openxmlformats.org/officeDocument/2006/relationships/tags" Target="../tags/tag45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1B0421D-0F2C-4D5C-8C6A-4F33BBA87B51}"/>
              </a:ext>
            </a:extLst>
          </p:cNvPr>
          <p:cNvGrpSpPr/>
          <p:nvPr/>
        </p:nvGrpSpPr>
        <p:grpSpPr>
          <a:xfrm>
            <a:off x="1" y="1192"/>
            <a:ext cx="12191999" cy="4534816"/>
            <a:chOff x="0" y="-1850"/>
            <a:chExt cx="10058399" cy="513945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AC2468B-7B7C-4C8C-B055-6EEB0FDFB458}"/>
                </a:ext>
              </a:extLst>
            </p:cNvPr>
            <p:cNvSpPr/>
            <p:nvPr/>
          </p:nvSpPr>
          <p:spPr bwMode="hidden">
            <a:xfrm>
              <a:off x="0" y="-1850"/>
              <a:ext cx="6738778" cy="3854593"/>
            </a:xfrm>
            <a:prstGeom prst="rect">
              <a:avLst/>
            </a:pr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BBA73F9-E23B-456D-80BC-9D102C6807BF}"/>
                </a:ext>
              </a:extLst>
            </p:cNvPr>
            <p:cNvSpPr/>
            <p:nvPr/>
          </p:nvSpPr>
          <p:spPr bwMode="hidden">
            <a:xfrm>
              <a:off x="0" y="3852743"/>
              <a:ext cx="6738778" cy="1284865"/>
            </a:xfrm>
            <a:prstGeom prst="rect">
              <a:avLst/>
            </a:pr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BE32A15-DC57-4998-AEBF-FEB28AD4F1C7}"/>
                </a:ext>
              </a:extLst>
            </p:cNvPr>
            <p:cNvSpPr/>
            <p:nvPr/>
          </p:nvSpPr>
          <p:spPr bwMode="hidden">
            <a:xfrm>
              <a:off x="6738779" y="-1850"/>
              <a:ext cx="3319620" cy="3854593"/>
            </a:xfrm>
            <a:prstGeom prst="rect">
              <a:avLst/>
            </a:prstGeom>
            <a:solidFill>
              <a:srgbClr val="EB8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/>
            </a:p>
          </p:txBody>
        </p: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ADEBCFBD-4064-4013-BFAD-CD6A74630F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gray">
          <a:xfrm>
            <a:off x="345196" y="5410798"/>
            <a:ext cx="2182367" cy="1311444"/>
          </a:xfrm>
          <a:prstGeom prst="rect">
            <a:avLst/>
          </a:prstGeom>
        </p:spPr>
      </p:pic>
      <p:sp>
        <p:nvSpPr>
          <p:cNvPr id="12" name="Report Title">
            <a:extLst>
              <a:ext uri="{FF2B5EF4-FFF2-40B4-BE49-F238E27FC236}">
                <a16:creationId xmlns:a16="http://schemas.microsoft.com/office/drawing/2014/main" id="{33E879B0-433D-44B8-A45C-4AA9431195B4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7362768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D138D7C5-AFED-488C-9EB0-31F9B7E94C5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3475573"/>
            <a:ext cx="7362768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B4906E0-DCF0-4572-8EB8-2DD2439A515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02834" y="4338549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4D76D332-7278-485D-8CDF-6978AE979BD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02834" y="4153041"/>
            <a:ext cx="2669925" cy="1747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E3D03A1-F1AB-4918-AAE4-A674AC23F6D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3701056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495870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to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46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Section Header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2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21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0"/>
            <p:custDataLst>
              <p:tags r:id="rId5"/>
            </p:custDataLst>
          </p:nvPr>
        </p:nvSpPr>
        <p:spPr>
          <a:xfrm>
            <a:off x="642851" y="1815353"/>
            <a:ext cx="5364480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11"/>
            <p:custDataLst>
              <p:tags r:id="rId6"/>
            </p:custDataLst>
          </p:nvPr>
        </p:nvSpPr>
        <p:spPr>
          <a:xfrm>
            <a:off x="6184669" y="1815353"/>
            <a:ext cx="5364480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4"/>
          <p:cNvSpPr>
            <a:spLocks noGrp="1"/>
          </p:cNvSpPr>
          <p:nvPr>
            <p:ph sz="quarter" idx="12"/>
            <p:custDataLst>
              <p:tags r:id="rId7"/>
            </p:custDataLst>
          </p:nvPr>
        </p:nvSpPr>
        <p:spPr>
          <a:xfrm>
            <a:off x="642851" y="4043202"/>
            <a:ext cx="10906298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Draft stamp">
            <a:extLst>
              <a:ext uri="{FF2B5EF4-FFF2-40B4-BE49-F238E27FC236}">
                <a16:creationId xmlns:a16="http://schemas.microsoft.com/office/drawing/2014/main" id="{E4D3AC3D-FB5C-4056-B3CE-C6F20174717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:a16="http://schemas.microsoft.com/office/drawing/2014/main" id="{D8BE6AE2-E4FA-4A4C-9F4A-0801F27EF15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7" name="Page Number">
            <a:extLst>
              <a:ext uri="{FF2B5EF4-FFF2-40B4-BE49-F238E27FC236}">
                <a16:creationId xmlns:a16="http://schemas.microsoft.com/office/drawing/2014/main" id="{B132AC77-15B7-427D-9EDA-27E044A04CD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9" name="Presentation Disclaimer">
            <a:extLst>
              <a:ext uri="{FF2B5EF4-FFF2-40B4-BE49-F238E27FC236}">
                <a16:creationId xmlns:a16="http://schemas.microsoft.com/office/drawing/2014/main" id="{C1ACCB47-82D5-446E-80FB-2690A95152B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0" name="Section Footer">
            <a:extLst>
              <a:ext uri="{FF2B5EF4-FFF2-40B4-BE49-F238E27FC236}">
                <a16:creationId xmlns:a16="http://schemas.microsoft.com/office/drawing/2014/main" id="{9A254952-4576-4CFE-B61C-9E618027811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DDE2759-0B78-4BAC-9091-A3898FCC7E2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D178E40-037A-4FB9-9A78-25D7EB7BC066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318619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9">
            <a:extLst>
              <a:ext uri="{FF2B5EF4-FFF2-40B4-BE49-F238E27FC236}">
                <a16:creationId xmlns:a16="http://schemas.microsoft.com/office/drawing/2014/main" id="{627FAFAA-285F-4945-A3A2-666A8A502E1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709" r="24167"/>
          <a:stretch/>
        </p:blipFill>
        <p:spPr>
          <a:xfrm>
            <a:off x="2493818" y="3"/>
            <a:ext cx="9698182" cy="6868345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575F215B-4184-4392-9C86-1A188FA31F05}"/>
              </a:ext>
            </a:extLst>
          </p:cNvPr>
          <p:cNvSpPr>
            <a:spLocks noChangeAspect="1"/>
          </p:cNvSpPr>
          <p:nvPr/>
        </p:nvSpPr>
        <p:spPr bwMode="white">
          <a:xfrm>
            <a:off x="2" y="1"/>
            <a:ext cx="8367536" cy="68580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068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D160942-482E-4DB8-A58E-71FBEDE772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11" name="Report Title">
            <a:extLst>
              <a:ext uri="{FF2B5EF4-FFF2-40B4-BE49-F238E27FC236}">
                <a16:creationId xmlns:a16="http://schemas.microsoft.com/office/drawing/2014/main" id="{12C0EFB5-DB4A-44B7-BEB6-50F77D1D323D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2EEB4B15-EBE2-4CC7-87E7-CF12291C9A89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6" name="Confidentiality Stamp">
            <a:extLst>
              <a:ext uri="{FF2B5EF4-FFF2-40B4-BE49-F238E27FC236}">
                <a16:creationId xmlns:a16="http://schemas.microsoft.com/office/drawing/2014/main" id="{BB6F76BA-CA5E-46B1-A4FE-A04494BA1F4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7" name="Draft Stamp">
            <a:extLst>
              <a:ext uri="{FF2B5EF4-FFF2-40B4-BE49-F238E27FC236}">
                <a16:creationId xmlns:a16="http://schemas.microsoft.com/office/drawing/2014/main" id="{FD086E63-2C7B-45FF-B665-56AD61AC323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port Date">
            <a:extLst>
              <a:ext uri="{FF2B5EF4-FFF2-40B4-BE49-F238E27FC236}">
                <a16:creationId xmlns:a16="http://schemas.microsoft.com/office/drawing/2014/main" id="{2093D07F-E838-4E22-A6DD-E50DBC55755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6548212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54905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tle Slide 2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2743200" y="1"/>
            <a:ext cx="9448800" cy="68579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1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" y="1"/>
            <a:ext cx="8367536" cy="6858000"/>
            <a:chOff x="1" y="3"/>
            <a:chExt cx="6126163" cy="6858000"/>
          </a:xfrm>
          <a:solidFill>
            <a:schemeClr val="accent6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068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  <a:grpFill/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69937" y="4208056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569938" y="4722192"/>
            <a:ext cx="3258602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569937" y="3751729"/>
            <a:ext cx="2911018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308284" y="3167623"/>
            <a:ext cx="8145368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9937" y="2217741"/>
            <a:ext cx="6348201" cy="65184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4236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69937" y="3477409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9772245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tle Slide 3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2743200" y="1"/>
            <a:ext cx="9448800" cy="68579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1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" y="1"/>
            <a:ext cx="8367536" cy="6858000"/>
            <a:chOff x="1" y="3"/>
            <a:chExt cx="6126163" cy="68580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068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69937" y="4208056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569938" y="4722192"/>
            <a:ext cx="3258602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569937" y="3751729"/>
            <a:ext cx="2911018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308284" y="3167623"/>
            <a:ext cx="8145368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9937" y="2217741"/>
            <a:ext cx="6348201" cy="65184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4236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69937" y="3477409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228263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Lines 2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12192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BDC28A-6CCA-D946-B517-6BB4EEB49B0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Freeform: Shape 7">
              <a:extLst>
                <a:ext uri="{FF2B5EF4-FFF2-40B4-BE49-F238E27FC236}">
                  <a16:creationId xmlns:a16="http://schemas.microsoft.com/office/drawing/2014/main" id="{88987A12-2FCD-A24E-A035-A87DB2CE21C2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3309692 h 6858000"/>
                <a:gd name="connsiteX3" fmla="*/ 12192000 w 12192000"/>
                <a:gd name="connsiteY3" fmla="*/ 3309692 h 6858000"/>
                <a:gd name="connsiteX4" fmla="*/ 12192000 w 12192000"/>
                <a:gd name="connsiteY4" fmla="*/ 3615692 h 6858000"/>
                <a:gd name="connsiteX5" fmla="*/ 9450000 w 12192000"/>
                <a:gd name="connsiteY5" fmla="*/ 3615692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  <a:gd name="connsiteX16" fmla="*/ 9144000 w 12192000"/>
                <a:gd name="connsiteY16" fmla="*/ 3615692 h 6858000"/>
                <a:gd name="connsiteX17" fmla="*/ 0 w 12192000"/>
                <a:gd name="connsiteY17" fmla="*/ 3615692 h 6858000"/>
                <a:gd name="connsiteX18" fmla="*/ 0 w 12192000"/>
                <a:gd name="connsiteY18" fmla="*/ 3309692 h 6858000"/>
                <a:gd name="connsiteX19" fmla="*/ 9144000 w 12192000"/>
                <a:gd name="connsiteY19" fmla="*/ 330969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3309692"/>
                  </a:lnTo>
                  <a:lnTo>
                    <a:pt x="12192000" y="3309692"/>
                  </a:lnTo>
                  <a:lnTo>
                    <a:pt x="12192000" y="3615692"/>
                  </a:lnTo>
                  <a:lnTo>
                    <a:pt x="9450000" y="3615692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lnTo>
                    <a:pt x="9144000" y="3615692"/>
                  </a:lnTo>
                  <a:lnTo>
                    <a:pt x="0" y="3615692"/>
                  </a:lnTo>
                  <a:lnTo>
                    <a:pt x="0" y="3309692"/>
                  </a:lnTo>
                  <a:lnTo>
                    <a:pt x="9144000" y="3309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BFFF2DD-324A-4741-B09D-D8BFF0170B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85139" y="5330952"/>
              <a:ext cx="1636776" cy="1351185"/>
            </a:xfrm>
            <a:prstGeom prst="rect">
              <a:avLst/>
            </a:prstGeom>
          </p:spPr>
        </p:pic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id="{B2285DDC-FA1B-F84F-B44E-C04413327EF5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713607"/>
            <a:ext cx="5473700" cy="594221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r>
              <a:rPr lang="en-US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4"/>
            <a:ext cx="7418387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640817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3484C0D-6176-452F-9734-BCF5DF2748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8677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3484C0D-6176-452F-9734-BCF5DF2748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Google Shape;24;p12"/>
          <p:cNvSpPr txBox="1">
            <a:spLocks noGrp="1"/>
          </p:cNvSpPr>
          <p:nvPr>
            <p:ph type="title"/>
          </p:nvPr>
        </p:nvSpPr>
        <p:spPr>
          <a:xfrm>
            <a:off x="442913" y="274544"/>
            <a:ext cx="11306175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 sz="2800">
                <a:solidFill>
                  <a:schemeClr val="tx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" name="Google Shape;75;p2">
            <a:extLst>
              <a:ext uri="{FF2B5EF4-FFF2-40B4-BE49-F238E27FC236}">
                <a16:creationId xmlns:a16="http://schemas.microsoft.com/office/drawing/2014/main" id="{15733BA1-7A19-46BC-94D4-AA73D5B54FD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lvl="0"/>
            <a:fld id="{00000000-1234-1234-1234-123412341234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9" name="Google Shape;76;p2">
            <a:extLst>
              <a:ext uri="{FF2B5EF4-FFF2-40B4-BE49-F238E27FC236}">
                <a16:creationId xmlns:a16="http://schemas.microsoft.com/office/drawing/2014/main" id="{F90358ED-B9E4-4B7A-98F8-7ED4D7F4D258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9753600" y="649224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ep 23</a:t>
            </a:r>
            <a:endParaRPr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6FDEDB9-2304-493D-BD8E-B70153449AC3}"/>
              </a:ext>
            </a:extLst>
          </p:cNvPr>
          <p:cNvCxnSpPr>
            <a:cxnSpLocks/>
          </p:cNvCxnSpPr>
          <p:nvPr userDrawn="1"/>
        </p:nvCxnSpPr>
        <p:spPr>
          <a:xfrm>
            <a:off x="0" y="1110482"/>
            <a:ext cx="12192000" cy="0"/>
          </a:xfrm>
          <a:prstGeom prst="line">
            <a:avLst/>
          </a:prstGeom>
          <a:ln w="254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C9CF0553-8850-4340-B496-AF2A4B7C163E}"/>
              </a:ext>
            </a:extLst>
          </p:cNvPr>
          <p:cNvGrpSpPr/>
          <p:nvPr userDrawn="1"/>
        </p:nvGrpSpPr>
        <p:grpSpPr>
          <a:xfrm>
            <a:off x="11163300" y="1028412"/>
            <a:ext cx="591246" cy="164140"/>
            <a:chOff x="10705057" y="974091"/>
            <a:chExt cx="935189" cy="25962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3F50E06-3BA3-45B0-872E-2A68E4020100}"/>
                </a:ext>
              </a:extLst>
            </p:cNvPr>
            <p:cNvSpPr/>
            <p:nvPr userDrawn="1"/>
          </p:nvSpPr>
          <p:spPr>
            <a:xfrm>
              <a:off x="10705057" y="974091"/>
              <a:ext cx="260263" cy="25962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ABE8DA4A-B361-4FAD-A5A6-ADCCEEE72520}"/>
                </a:ext>
              </a:extLst>
            </p:cNvPr>
            <p:cNvSpPr/>
            <p:nvPr userDrawn="1"/>
          </p:nvSpPr>
          <p:spPr>
            <a:xfrm>
              <a:off x="11042520" y="974091"/>
              <a:ext cx="260263" cy="25962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4F0084-564A-428C-A03F-C139E2F54A41}"/>
                </a:ext>
              </a:extLst>
            </p:cNvPr>
            <p:cNvSpPr/>
            <p:nvPr userDrawn="1"/>
          </p:nvSpPr>
          <p:spPr>
            <a:xfrm>
              <a:off x="11379983" y="974091"/>
              <a:ext cx="260263" cy="2596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9840934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2" y="2103120"/>
            <a:ext cx="11306175" cy="4073842"/>
          </a:xfrm>
        </p:spPr>
        <p:txBody>
          <a:bodyPr/>
          <a:lstStyle>
            <a:lvl1pPr marL="730250" indent="-7302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tabLst>
                <a:tab pos="10623550" algn="r"/>
              </a:tabLst>
              <a:defRPr sz="2800" b="0">
                <a:solidFill>
                  <a:schemeClr val="tx1"/>
                </a:solidFill>
              </a:defRPr>
            </a:lvl1pPr>
            <a:lvl2pPr marL="730250" indent="0">
              <a:buClr>
                <a:schemeClr val="accent4"/>
              </a:buClr>
              <a:buFont typeface="+mj-lt"/>
              <a:buNone/>
              <a:tabLst>
                <a:tab pos="10623550" algn="r"/>
              </a:tabLst>
              <a:defRPr sz="1600"/>
            </a:lvl2pPr>
            <a:lvl3pPr marL="914400" indent="-182563">
              <a:lnSpc>
                <a:spcPct val="100000"/>
              </a:lnSpc>
              <a:tabLst>
                <a:tab pos="10623550" algn="r"/>
              </a:tabLst>
              <a:defRPr/>
            </a:lvl3pPr>
            <a:lvl4pPr marL="1096963" indent="-182563">
              <a:lnSpc>
                <a:spcPct val="100000"/>
              </a:lnSpc>
              <a:tabLst>
                <a:tab pos="10623550" algn="r"/>
              </a:tabLst>
              <a:defRPr/>
            </a:lvl4pPr>
            <a:lvl5pPr marL="1279525" indent="-182563">
              <a:lnSpc>
                <a:spcPct val="100000"/>
              </a:lnSpc>
              <a:tabLst>
                <a:tab pos="10623550" algn="r"/>
              </a:tabLst>
              <a:defRPr/>
            </a:lvl5pPr>
            <a:lvl6pPr marL="1462088" indent="-182563">
              <a:lnSpc>
                <a:spcPct val="100000"/>
              </a:lnSpc>
              <a:tabLst>
                <a:tab pos="10623550" algn="r"/>
              </a:tabLst>
              <a:defRPr/>
            </a:lvl6pPr>
            <a:lvl7pPr marL="1644650" indent="-182563">
              <a:lnSpc>
                <a:spcPct val="100000"/>
              </a:lnSpc>
              <a:tabLst>
                <a:tab pos="10623550" algn="r"/>
              </a:tabLst>
              <a:defRPr/>
            </a:lvl7pPr>
            <a:lvl8pPr marL="1828800" indent="-182563">
              <a:lnSpc>
                <a:spcPct val="100000"/>
              </a:lnSpc>
              <a:tabLst>
                <a:tab pos="10623550" algn="r"/>
              </a:tabLst>
              <a:defRPr/>
            </a:lvl8pPr>
            <a:lvl9pPr marL="2011363" indent="-182563">
              <a:lnSpc>
                <a:spcPct val="100000"/>
              </a:lnSpc>
              <a:tabLst>
                <a:tab pos="10623550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92926E-C7A2-1946-B74B-5EC49D3EA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29A14A-827E-1247-9162-E763C985AC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AE826D-197B-B84E-8B9B-E0610700761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76509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AF55A2-2C43-4003-B7DB-BB2BA8FD1A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5882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AF55A2-2C43-4003-B7DB-BB2BA8FD1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spcAft>
                <a:spcPts val="1200"/>
              </a:spcAft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693523"/>
            <a:ext cx="5473700" cy="594360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9AE8A82-226D-458A-B26F-C73B563AC241}"/>
              </a:ext>
            </a:extLst>
          </p:cNvPr>
          <p:cNvSpPr/>
          <p:nvPr userDrawn="1"/>
        </p:nvSpPr>
        <p:spPr>
          <a:xfrm rot="5400000">
            <a:off x="2605770" y="3352800"/>
            <a:ext cx="68580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57521133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AF55A2-2C43-4003-B7DB-BB2BA8FD1A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5882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AF55A2-2C43-4003-B7DB-BB2BA8FD1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spcAft>
                <a:spcPts val="1200"/>
              </a:spcAft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4978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4978400"/>
            <a:ext cx="6096000" cy="18796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693523"/>
            <a:ext cx="5473700" cy="594360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76546671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Quote 1 Image Oran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F37D7A94-5169-4B57-B053-68AF3C9AE5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BDB9795-14DB-4611-A356-F1F92FE05ED1}"/>
              </a:ext>
            </a:extLst>
          </p:cNvPr>
          <p:cNvSpPr/>
          <p:nvPr userDrawn="1"/>
        </p:nvSpPr>
        <p:spPr>
          <a:xfrm>
            <a:off x="0" y="1111250"/>
            <a:ext cx="6095999" cy="46355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7519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 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6"/>
            </p:custDataLst>
          </p:nvPr>
        </p:nvSpPr>
        <p:spPr>
          <a:xfrm>
            <a:off x="4339244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7"/>
            </p:custDataLst>
          </p:nvPr>
        </p:nvSpPr>
        <p:spPr>
          <a:xfrm>
            <a:off x="8035636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Report Date">
            <a:extLst>
              <a:ext uri="{FF2B5EF4-FFF2-40B4-BE49-F238E27FC236}">
                <a16:creationId xmlns:a16="http://schemas.microsoft.com/office/drawing/2014/main" id="{71242622-92E5-4577-9939-C23982B6F0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5" name="Page Number">
            <a:extLst>
              <a:ext uri="{FF2B5EF4-FFF2-40B4-BE49-F238E27FC236}">
                <a16:creationId xmlns:a16="http://schemas.microsoft.com/office/drawing/2014/main" id="{7253FE5D-87D6-4F45-BF52-14884C4140B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6" name="Presentation Disclaimer">
            <a:extLst>
              <a:ext uri="{FF2B5EF4-FFF2-40B4-BE49-F238E27FC236}">
                <a16:creationId xmlns:a16="http://schemas.microsoft.com/office/drawing/2014/main" id="{2DE48912-752E-4B28-992E-A8018FA045F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7" name="Section Footer">
            <a:extLst>
              <a:ext uri="{FF2B5EF4-FFF2-40B4-BE49-F238E27FC236}">
                <a16:creationId xmlns:a16="http://schemas.microsoft.com/office/drawing/2014/main" id="{24E13DC1-0CD8-4F00-BEB6-8ED480D1657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7E1B077-C346-4667-9422-134889A69A8E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30B69CA-5FCE-4A4A-B144-701CC8BBBE64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raft stamp">
            <a:extLst>
              <a:ext uri="{FF2B5EF4-FFF2-40B4-BE49-F238E27FC236}">
                <a16:creationId xmlns:a16="http://schemas.microsoft.com/office/drawing/2014/main" id="{8BA4733D-DD24-4E66-AB15-27D0B8AA9EB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14839973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GB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47370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388" y="2103437"/>
            <a:ext cx="5473699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8C77347-C792-41EE-BAB8-07B37B9B5F0A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855CA0F-B925-4009-AFC7-2C64D81F36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FBE9ADE-3F54-4820-9478-1C0D6A25329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1537D5A3-B672-4852-AC41-91EB6B6297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50821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1B0421D-0F2C-4D5C-8C6A-4F33BBA87B51}"/>
              </a:ext>
            </a:extLst>
          </p:cNvPr>
          <p:cNvGrpSpPr/>
          <p:nvPr/>
        </p:nvGrpSpPr>
        <p:grpSpPr>
          <a:xfrm>
            <a:off x="1" y="1192"/>
            <a:ext cx="12191999" cy="4534816"/>
            <a:chOff x="0" y="-1850"/>
            <a:chExt cx="10058399" cy="513945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AC2468B-7B7C-4C8C-B055-6EEB0FDFB458}"/>
                </a:ext>
              </a:extLst>
            </p:cNvPr>
            <p:cNvSpPr/>
            <p:nvPr/>
          </p:nvSpPr>
          <p:spPr bwMode="hidden">
            <a:xfrm>
              <a:off x="0" y="-1850"/>
              <a:ext cx="6738778" cy="3854593"/>
            </a:xfrm>
            <a:prstGeom prst="rect">
              <a:avLst/>
            </a:pr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BBA73F9-E23B-456D-80BC-9D102C6807BF}"/>
                </a:ext>
              </a:extLst>
            </p:cNvPr>
            <p:cNvSpPr/>
            <p:nvPr/>
          </p:nvSpPr>
          <p:spPr bwMode="hidden">
            <a:xfrm>
              <a:off x="0" y="3852743"/>
              <a:ext cx="6738778" cy="1284865"/>
            </a:xfrm>
            <a:prstGeom prst="rect">
              <a:avLst/>
            </a:pr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BE32A15-DC57-4998-AEBF-FEB28AD4F1C7}"/>
                </a:ext>
              </a:extLst>
            </p:cNvPr>
            <p:cNvSpPr/>
            <p:nvPr/>
          </p:nvSpPr>
          <p:spPr bwMode="hidden">
            <a:xfrm>
              <a:off x="6738779" y="-1850"/>
              <a:ext cx="3319620" cy="3854593"/>
            </a:xfrm>
            <a:prstGeom prst="rect">
              <a:avLst/>
            </a:prstGeom>
            <a:solidFill>
              <a:srgbClr val="EB8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/>
            </a:p>
          </p:txBody>
        </p: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ADEBCFBD-4064-4013-BFAD-CD6A74630F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gray">
          <a:xfrm>
            <a:off x="345196" y="5410798"/>
            <a:ext cx="2182367" cy="1311444"/>
          </a:xfrm>
          <a:prstGeom prst="rect">
            <a:avLst/>
          </a:prstGeom>
        </p:spPr>
      </p:pic>
      <p:sp>
        <p:nvSpPr>
          <p:cNvPr id="12" name="Report Title">
            <a:extLst>
              <a:ext uri="{FF2B5EF4-FFF2-40B4-BE49-F238E27FC236}">
                <a16:creationId xmlns:a16="http://schemas.microsoft.com/office/drawing/2014/main" id="{33E879B0-433D-44B8-A45C-4AA9431195B4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7362768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D138D7C5-AFED-488C-9EB0-31F9B7E94C5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3475573"/>
            <a:ext cx="7362768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B4906E0-DCF0-4572-8EB8-2DD2439A515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02834" y="4338549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4D76D332-7278-485D-8CDF-6978AE979BD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02834" y="4153041"/>
            <a:ext cx="2669925" cy="1747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E3D03A1-F1AB-4918-AAE4-A674AC23F6D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3701056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9559505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E44432-2DD3-429B-9192-CDE2430039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5" y="1401"/>
          <a:ext cx="1925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3" imgH="424" progId="TCLayout.ActiveDocument.1">
                  <p:embed/>
                </p:oleObj>
              </mc:Choice>
              <mc:Fallback>
                <p:oleObj name="think-cell Slide" r:id="rId10" imgW="423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E44432-2DD3-429B-9192-CDE2430039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25" y="1401"/>
                        <a:ext cx="1925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04E73762-5B0C-4A73-AAD9-B6C6DB42A1C9}"/>
              </a:ext>
            </a:extLst>
          </p:cNvPr>
          <p:cNvSpPr/>
          <p:nvPr/>
        </p:nvSpPr>
        <p:spPr>
          <a:xfrm>
            <a:off x="0" y="0"/>
            <a:ext cx="3147753" cy="685800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235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21C81E0-A595-44BD-A048-8DF8E985F86C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5" t="30898" r="32576" b="30525"/>
          <a:stretch/>
        </p:blipFill>
        <p:spPr>
          <a:xfrm>
            <a:off x="543224" y="941294"/>
            <a:ext cx="1175030" cy="669407"/>
          </a:xfrm>
          <a:prstGeom prst="rect">
            <a:avLst/>
          </a:prstGeom>
        </p:spPr>
      </p:pic>
      <p:sp>
        <p:nvSpPr>
          <p:cNvPr id="19" name="Draft stamp">
            <a:extLst>
              <a:ext uri="{FF2B5EF4-FFF2-40B4-BE49-F238E27FC236}">
                <a16:creationId xmlns:a16="http://schemas.microsoft.com/office/drawing/2014/main" id="{AF78C4E9-5EC7-47A9-8CD3-A576720D21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888DD68-89F1-4B99-A070-7459C90282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3225" y="1815353"/>
            <a:ext cx="2409846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EBB040F-A728-48CD-A5B9-F69EC5296F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225" y="5356604"/>
            <a:ext cx="2409846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ress Placeholder </a:t>
            </a:r>
          </a:p>
        </p:txBody>
      </p:sp>
      <p:cxnSp>
        <p:nvCxnSpPr>
          <p:cNvPr id="22" name="Frame Line">
            <a:extLst>
              <a:ext uri="{FF2B5EF4-FFF2-40B4-BE49-F238E27FC236}">
                <a16:creationId xmlns:a16="http://schemas.microsoft.com/office/drawing/2014/main" id="{F7BAF0B3-E029-470C-87E4-46D3229C1448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3585682" y="1748118"/>
            <a:ext cx="796913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33075B3C-DA49-4F57-9409-515CA5F8C1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5683" y="941295"/>
            <a:ext cx="3213601" cy="149362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1A63BB9A-729A-4857-BE09-F8368F34E8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5683" y="1815353"/>
            <a:ext cx="7963465" cy="36186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6" name="Report Date">
            <a:extLst>
              <a:ext uri="{FF2B5EF4-FFF2-40B4-BE49-F238E27FC236}">
                <a16:creationId xmlns:a16="http://schemas.microsoft.com/office/drawing/2014/main" id="{EE19D4BC-B65F-4593-B6DA-6CEA94B7B65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latin typeface="+mn-lt"/>
              </a:rPr>
              <a:t>1 April 2019</a:t>
            </a: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DBA60797-0C6B-4279-88BD-0214B400B51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8283" y="6317437"/>
            <a:ext cx="3037401" cy="10861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Strictly private and confidential</a:t>
            </a:r>
          </a:p>
        </p:txBody>
      </p:sp>
      <p:sp>
        <p:nvSpPr>
          <p:cNvPr id="28" name="Page Number">
            <a:extLst>
              <a:ext uri="{FF2B5EF4-FFF2-40B4-BE49-F238E27FC236}">
                <a16:creationId xmlns:a16="http://schemas.microsoft.com/office/drawing/2014/main" id="{0AC58CDE-7BF7-4E9A-86DE-005A8226C2D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7BC2F3DA-F5E4-44B0-8190-5C4510FA91E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31830" y="6468674"/>
            <a:ext cx="278118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A4FBAFA-F1A1-40A6-9134-3230D2D92D31}"/>
              </a:ext>
            </a:extLst>
          </p:cNvPr>
          <p:cNvSpPr txBox="1"/>
          <p:nvPr/>
        </p:nvSpPr>
        <p:spPr>
          <a:xfrm>
            <a:off x="543224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0810281-0E5A-4B69-940A-B5D1F833254D}"/>
              </a:ext>
            </a:extLst>
          </p:cNvPr>
          <p:cNvCxnSpPr>
            <a:cxnSpLocks/>
          </p:cNvCxnSpPr>
          <p:nvPr/>
        </p:nvCxnSpPr>
        <p:spPr>
          <a:xfrm>
            <a:off x="869680" y="6478603"/>
            <a:ext cx="0" cy="8875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HeaderTOCPlaceholder"/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616881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etter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port Date">
            <a:extLst>
              <a:ext uri="{FF2B5EF4-FFF2-40B4-BE49-F238E27FC236}">
                <a16:creationId xmlns:a16="http://schemas.microsoft.com/office/drawing/2014/main" id="{53D1EBEC-E8DA-41B3-AC08-642CC2A584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latin typeface="+mn-lt"/>
              </a:rPr>
              <a:t>1 April 2019</a:t>
            </a:r>
          </a:p>
        </p:txBody>
      </p:sp>
      <p:sp>
        <p:nvSpPr>
          <p:cNvPr id="19" name="Draft stamp">
            <a:extLst>
              <a:ext uri="{FF2B5EF4-FFF2-40B4-BE49-F238E27FC236}">
                <a16:creationId xmlns:a16="http://schemas.microsoft.com/office/drawing/2014/main" id="{AF78C4E9-5EC7-47A9-8CD3-A576720D21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21430" y="6317429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0E7DDA1-E9E0-4BD2-9F18-4D73A5A3E3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09305" y="1282424"/>
            <a:ext cx="3904775" cy="4611356"/>
          </a:xfrm>
        </p:spPr>
        <p:txBody>
          <a:bodyPr/>
          <a:lstStyle>
            <a:lvl1pPr>
              <a:defRPr sz="794"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A63B2BC-C1AA-475D-80E8-6103AE0017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44375" y="1282424"/>
            <a:ext cx="3904775" cy="4611356"/>
          </a:xfrm>
        </p:spPr>
        <p:txBody>
          <a:bodyPr/>
          <a:lstStyle>
            <a:lvl1pPr>
              <a:defRPr sz="794"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772873F-F098-49A1-B629-C8530BE60C1A}"/>
              </a:ext>
            </a:extLst>
          </p:cNvPr>
          <p:cNvSpPr/>
          <p:nvPr/>
        </p:nvSpPr>
        <p:spPr>
          <a:xfrm>
            <a:off x="1" y="0"/>
            <a:ext cx="3150086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235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318A1954-C595-46AF-9BD0-C51B68380FC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5" t="30898" r="32576" b="30525"/>
          <a:stretch/>
        </p:blipFill>
        <p:spPr>
          <a:xfrm>
            <a:off x="543224" y="941294"/>
            <a:ext cx="1175030" cy="669407"/>
          </a:xfrm>
          <a:prstGeom prst="rect">
            <a:avLst/>
          </a:prstGeom>
        </p:spPr>
      </p:pic>
      <p:sp>
        <p:nvSpPr>
          <p:cNvPr id="34" name="Presentation Disclaimer">
            <a:extLst>
              <a:ext uri="{FF2B5EF4-FFF2-40B4-BE49-F238E27FC236}">
                <a16:creationId xmlns:a16="http://schemas.microsoft.com/office/drawing/2014/main" id="{04DDCE90-61F5-41F7-BCB5-5378C4B9A37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48283" y="6087752"/>
            <a:ext cx="2376566" cy="10861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r>
              <a:rPr lang="en-GB" sz="706" noProof="1">
                <a:solidFill>
                  <a:schemeClr val="bg2"/>
                </a:solidFill>
              </a:rPr>
              <a:t>Strictly private and confidential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011B331F-A998-4B93-9E0F-EFB8090DC5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3225" y="1815353"/>
            <a:ext cx="2376566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012E331A-BF46-4F6E-9356-402F5B3A21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225" y="5230180"/>
            <a:ext cx="2376566" cy="149362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ress Placeholder </a:t>
            </a:r>
          </a:p>
        </p:txBody>
      </p:sp>
      <p:sp>
        <p:nvSpPr>
          <p:cNvPr id="41" name="Page Number">
            <a:extLst>
              <a:ext uri="{FF2B5EF4-FFF2-40B4-BE49-F238E27FC236}">
                <a16:creationId xmlns:a16="http://schemas.microsoft.com/office/drawing/2014/main" id="{F36165EE-352C-4AC1-98EF-60E59C280DC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42" name="Section Footer">
            <a:extLst>
              <a:ext uri="{FF2B5EF4-FFF2-40B4-BE49-F238E27FC236}">
                <a16:creationId xmlns:a16="http://schemas.microsoft.com/office/drawing/2014/main" id="{DFD9E5A5-EA34-4218-A4A4-FD56114AF05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31830" y="6468674"/>
            <a:ext cx="278118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8601950-F3C4-4D1E-A940-993B2DC79208}"/>
              </a:ext>
            </a:extLst>
          </p:cNvPr>
          <p:cNvSpPr txBox="1"/>
          <p:nvPr/>
        </p:nvSpPr>
        <p:spPr>
          <a:xfrm>
            <a:off x="543224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D043B99-C2CB-4B03-BAF5-2B73C672E9E7}"/>
              </a:ext>
            </a:extLst>
          </p:cNvPr>
          <p:cNvCxnSpPr>
            <a:cxnSpLocks/>
          </p:cNvCxnSpPr>
          <p:nvPr/>
        </p:nvCxnSpPr>
        <p:spPr>
          <a:xfrm>
            <a:off x="869680" y="6478603"/>
            <a:ext cx="0" cy="8875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raft stamp">
            <a:extLst>
              <a:ext uri="{FF2B5EF4-FFF2-40B4-BE49-F238E27FC236}">
                <a16:creationId xmlns:a16="http://schemas.microsoft.com/office/drawing/2014/main" id="{0C7A3222-0907-4B8B-931D-CDF391F1375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  <p:sp>
        <p:nvSpPr>
          <p:cNvPr id="17" name="HeaderTOCPlaceholder"/>
          <p:cNvSpPr txBox="1"/>
          <p:nvPr>
            <p:custDataLst>
              <p:tags r:id="rId7"/>
            </p:custDataLst>
          </p:nvPr>
        </p:nvSpPr>
        <p:spPr>
          <a:xfrm>
            <a:off x="3378647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HeaderTOCPlaceholder"/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55742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2549562"/>
            <a:ext cx="10906298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F64073-2668-46FE-AD35-445DFFB448D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6"/>
            </p:custDataLst>
          </p:nvPr>
        </p:nvSpPr>
        <p:spPr>
          <a:xfrm>
            <a:off x="642851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Subject matter -- Insert text here 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EC542A2-EEE2-4DCF-B881-FD6F8C730597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7"/>
            </p:custDataLst>
          </p:nvPr>
        </p:nvSpPr>
        <p:spPr>
          <a:xfrm>
            <a:off x="6184669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-- Insert text here </a:t>
            </a:r>
          </a:p>
        </p:txBody>
      </p:sp>
      <p:sp>
        <p:nvSpPr>
          <p:cNvPr id="42" name="Section Header">
            <a:extLst>
              <a:ext uri="{FF2B5EF4-FFF2-40B4-BE49-F238E27FC236}">
                <a16:creationId xmlns:a16="http://schemas.microsoft.com/office/drawing/2014/main" id="{42230C15-E0EF-475B-8C56-8180ED2FC02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9" name="Report Date">
            <a:extLst>
              <a:ext uri="{FF2B5EF4-FFF2-40B4-BE49-F238E27FC236}">
                <a16:creationId xmlns:a16="http://schemas.microsoft.com/office/drawing/2014/main" id="{B66C8374-F5C4-4996-A017-C80027E874A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40" name="Page Number">
            <a:extLst>
              <a:ext uri="{FF2B5EF4-FFF2-40B4-BE49-F238E27FC236}">
                <a16:creationId xmlns:a16="http://schemas.microsoft.com/office/drawing/2014/main" id="{00FF76E0-A4C6-4C27-96DB-D6E6C03A892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41" name="Presentation Disclaimer">
            <a:extLst>
              <a:ext uri="{FF2B5EF4-FFF2-40B4-BE49-F238E27FC236}">
                <a16:creationId xmlns:a16="http://schemas.microsoft.com/office/drawing/2014/main" id="{08D357CF-2BDC-45D2-B8A1-33CD43A8FB0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43" name="Section Footer">
            <a:extLst>
              <a:ext uri="{FF2B5EF4-FFF2-40B4-BE49-F238E27FC236}">
                <a16:creationId xmlns:a16="http://schemas.microsoft.com/office/drawing/2014/main" id="{98D7C6BC-F4A4-4F9C-A8BF-E320D746F02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93993BF-D529-458F-A6DB-FF58DC66AF25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69A4775-51B2-49AF-BE77-A2DD117CCF43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raft stamp">
            <a:extLst>
              <a:ext uri="{FF2B5EF4-FFF2-40B4-BE49-F238E27FC236}">
                <a16:creationId xmlns:a16="http://schemas.microsoft.com/office/drawing/2014/main" id="{17968DA8-EB16-47EE-839F-ED9A501B8C2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80435924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2549562"/>
            <a:ext cx="5364480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2549562"/>
            <a:ext cx="5364480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 hidden="1"/>
          <p:cNvSpPr txBox="1"/>
          <p:nvPr>
            <p:custDataLst>
              <p:tags r:id="rId4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F64073-2668-46FE-AD35-445DFFB448D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7"/>
            </p:custDataLst>
          </p:nvPr>
        </p:nvSpPr>
        <p:spPr>
          <a:xfrm>
            <a:off x="642851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Subject matter -- Insert text here 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EC542A2-EEE2-4DCF-B881-FD6F8C730597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8"/>
            </p:custDataLst>
          </p:nvPr>
        </p:nvSpPr>
        <p:spPr>
          <a:xfrm>
            <a:off x="6184669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-- Insert text here </a:t>
            </a:r>
          </a:p>
        </p:txBody>
      </p:sp>
      <p:sp>
        <p:nvSpPr>
          <p:cNvPr id="43" name="Section Header">
            <a:extLst>
              <a:ext uri="{FF2B5EF4-FFF2-40B4-BE49-F238E27FC236}">
                <a16:creationId xmlns:a16="http://schemas.microsoft.com/office/drawing/2014/main" id="{7F444856-1130-46B5-A045-52E1A79FBBD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Report Date">
            <a:extLst>
              <a:ext uri="{FF2B5EF4-FFF2-40B4-BE49-F238E27FC236}">
                <a16:creationId xmlns:a16="http://schemas.microsoft.com/office/drawing/2014/main" id="{B4D96363-5048-42D4-A625-7660951202C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6" name="Page Number">
            <a:extLst>
              <a:ext uri="{FF2B5EF4-FFF2-40B4-BE49-F238E27FC236}">
                <a16:creationId xmlns:a16="http://schemas.microsoft.com/office/drawing/2014/main" id="{59EA6C49-2D7E-4FCB-8DA7-C1A79DF7B9B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2072BD5A-7576-4E0D-976F-209E7B832A2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0698F7A3-ECB8-4459-B242-13A3C3A4C41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0767C8B-73EA-42B7-9AA5-AE3E0CFA7F2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E701F06-0467-480F-B3C7-DDF18CF6675F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Draft stamp">
            <a:extLst>
              <a:ext uri="{FF2B5EF4-FFF2-40B4-BE49-F238E27FC236}">
                <a16:creationId xmlns:a16="http://schemas.microsoft.com/office/drawing/2014/main" id="{76E39CD5-987F-43AE-B084-849EE59B5399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62180091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1090629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/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/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/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9" name="Report Date">
            <a:extLst>
              <a:ext uri="{FF2B5EF4-FFF2-40B4-BE49-F238E27FC236}">
                <a16:creationId xmlns:a16="http://schemas.microsoft.com/office/drawing/2014/main" id="{64581E60-A0D4-4BC1-823A-2B418E8F212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30" name="Page Number">
            <a:extLst>
              <a:ext uri="{FF2B5EF4-FFF2-40B4-BE49-F238E27FC236}">
                <a16:creationId xmlns:a16="http://schemas.microsoft.com/office/drawing/2014/main" id="{41779BE8-A4CC-4DAD-B153-54092D7A99B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1" name="Presentation Disclaimer">
            <a:extLst>
              <a:ext uri="{FF2B5EF4-FFF2-40B4-BE49-F238E27FC236}">
                <a16:creationId xmlns:a16="http://schemas.microsoft.com/office/drawing/2014/main" id="{3C2E928F-BA23-4F06-9CC3-E08864FB846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2" name="Section Footer">
            <a:extLst>
              <a:ext uri="{FF2B5EF4-FFF2-40B4-BE49-F238E27FC236}">
                <a16:creationId xmlns:a16="http://schemas.microsoft.com/office/drawing/2014/main" id="{8D2C9B10-5BE7-4AF8-BFF8-A3046EC4F94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87D8D29-B820-4A31-8280-EFE6F9FA98F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B44D133-2D16-42A3-A3AD-A385F9C01A0E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782285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4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:a16="http://schemas.microsoft.com/office/drawing/2014/main" id="{A8AA2BC8-1024-45CC-9E76-6C0E7A21F6C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A89B890D-CBFA-4D2C-BB10-C27690A9929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57CE9966-8074-4152-9D34-F90B6B3C28D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FC58C329-4792-4816-A60A-3D2DCE9CA03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AFC1A6-EFD9-4BBD-86EB-FA5F92D972EA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5CE69C-839D-427C-8F86-57156ADECE5D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032834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721975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8035637" y="1815353"/>
            <a:ext cx="3506124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4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176703B5-D291-496D-B26E-525DA3A3675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:a16="http://schemas.microsoft.com/office/drawing/2014/main" id="{53D88DCA-117D-416D-82D2-2367ED968B2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D7336B48-3136-4E82-8B16-FBC22E8CAE0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90BED7C2-73F9-48D2-A750-793071C5693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951C7BF0-CFC4-4094-AA1F-87A845BB89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2F61651-EB89-48D4-A6DE-27384110A6BB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3DD7B9E-30C4-4159-BFEE-77F215166572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280621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0" y="1815353"/>
            <a:ext cx="5360787" cy="208429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42850" y="4042186"/>
            <a:ext cx="5360787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188364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4" name="HeaderTOCPlaceholder"/>
          <p:cNvSpPr txBox="1"/>
          <p:nvPr>
            <p:custDataLst>
              <p:tags r:id="rId4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5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Date/Filepath" hidden="1"/>
          <p:cNvSpPr txBox="1"/>
          <p:nvPr>
            <p:custDataLst>
              <p:tags r:id="rId6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20" name="Slide Tags" hidden="1"/>
          <p:cNvSpPr txBox="1"/>
          <p:nvPr>
            <p:custDataLst>
              <p:tags r:id="rId7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4" name="Draft stamp">
            <a:extLst>
              <a:ext uri="{FF2B5EF4-FFF2-40B4-BE49-F238E27FC236}">
                <a16:creationId xmlns:a16="http://schemas.microsoft.com/office/drawing/2014/main" id="{98F467DD-E508-4793-B8C1-41188C0178B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19" name="Report Date">
            <a:extLst>
              <a:ext uri="{FF2B5EF4-FFF2-40B4-BE49-F238E27FC236}">
                <a16:creationId xmlns:a16="http://schemas.microsoft.com/office/drawing/2014/main" id="{BDC234B1-84B0-44C3-BE38-95CEC0CA133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1" name="Page Number">
            <a:extLst>
              <a:ext uri="{FF2B5EF4-FFF2-40B4-BE49-F238E27FC236}">
                <a16:creationId xmlns:a16="http://schemas.microsoft.com/office/drawing/2014/main" id="{B4A20242-E44A-4263-95BA-D1D5664EE2C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3" name="Presentation Disclaimer">
            <a:extLst>
              <a:ext uri="{FF2B5EF4-FFF2-40B4-BE49-F238E27FC236}">
                <a16:creationId xmlns:a16="http://schemas.microsoft.com/office/drawing/2014/main" id="{885D6D75-46D2-4F31-9186-3D5BFAC2EBA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880E68C9-26BA-4DB5-861B-DC433ABD5EC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B6D62A-63C1-496F-864F-F8EA90700F13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FA8B007-F8F4-4D8B-B7BA-C35A62369B11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66785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642851" y="1815353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6184669" y="1815353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42851" y="4042186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184669" y="4042186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1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Section Header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21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:a16="http://schemas.microsoft.com/office/drawing/2014/main" id="{C9AC37EA-A51B-4D19-8AFD-D5550BB1DBD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2" name="Page Number">
            <a:extLst>
              <a:ext uri="{FF2B5EF4-FFF2-40B4-BE49-F238E27FC236}">
                <a16:creationId xmlns:a16="http://schemas.microsoft.com/office/drawing/2014/main" id="{D5E4965D-0DB2-40AB-8C54-A02F73111BD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5D5F1A31-F3C3-4E8D-8EE5-5D802CF63C9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8" name="Section Footer">
            <a:extLst>
              <a:ext uri="{FF2B5EF4-FFF2-40B4-BE49-F238E27FC236}">
                <a16:creationId xmlns:a16="http://schemas.microsoft.com/office/drawing/2014/main" id="{386FB611-2223-4501-B9AF-3FF47256085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337E43E-8B9E-4332-A613-62823857903C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42FC379-8CCB-4D1B-B59F-CD6E374799E5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raft stamp">
            <a:extLst>
              <a:ext uri="{FF2B5EF4-FFF2-40B4-BE49-F238E27FC236}">
                <a16:creationId xmlns:a16="http://schemas.microsoft.com/office/drawing/2014/main" id="{2F22AEF7-CCE6-447D-A2ED-AE17E661B93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28413686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to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46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Section Header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2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21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0"/>
            <p:custDataLst>
              <p:tags r:id="rId5"/>
            </p:custDataLst>
          </p:nvPr>
        </p:nvSpPr>
        <p:spPr>
          <a:xfrm>
            <a:off x="642851" y="1815353"/>
            <a:ext cx="5364480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11"/>
            <p:custDataLst>
              <p:tags r:id="rId6"/>
            </p:custDataLst>
          </p:nvPr>
        </p:nvSpPr>
        <p:spPr>
          <a:xfrm>
            <a:off x="6184669" y="1815353"/>
            <a:ext cx="5364480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4"/>
          <p:cNvSpPr>
            <a:spLocks noGrp="1"/>
          </p:cNvSpPr>
          <p:nvPr>
            <p:ph sz="quarter" idx="12"/>
            <p:custDataLst>
              <p:tags r:id="rId7"/>
            </p:custDataLst>
          </p:nvPr>
        </p:nvSpPr>
        <p:spPr>
          <a:xfrm>
            <a:off x="642851" y="4043202"/>
            <a:ext cx="10906298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Draft stamp">
            <a:extLst>
              <a:ext uri="{FF2B5EF4-FFF2-40B4-BE49-F238E27FC236}">
                <a16:creationId xmlns:a16="http://schemas.microsoft.com/office/drawing/2014/main" id="{E4D3AC3D-FB5C-4056-B3CE-C6F20174717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:a16="http://schemas.microsoft.com/office/drawing/2014/main" id="{D8BE6AE2-E4FA-4A4C-9F4A-0801F27EF15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7" name="Page Number">
            <a:extLst>
              <a:ext uri="{FF2B5EF4-FFF2-40B4-BE49-F238E27FC236}">
                <a16:creationId xmlns:a16="http://schemas.microsoft.com/office/drawing/2014/main" id="{B132AC77-15B7-427D-9EDA-27E044A04CD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9" name="Presentation Disclaimer">
            <a:extLst>
              <a:ext uri="{FF2B5EF4-FFF2-40B4-BE49-F238E27FC236}">
                <a16:creationId xmlns:a16="http://schemas.microsoft.com/office/drawing/2014/main" id="{C1ACCB47-82D5-446E-80FB-2690A95152B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0" name="Section Footer">
            <a:extLst>
              <a:ext uri="{FF2B5EF4-FFF2-40B4-BE49-F238E27FC236}">
                <a16:creationId xmlns:a16="http://schemas.microsoft.com/office/drawing/2014/main" id="{9A254952-4576-4CFE-B61C-9E618027811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DDE2759-0B78-4BAC-9091-A3898FCC7E2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D178E40-037A-4FB9-9A78-25D7EB7BC066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617914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 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6"/>
            </p:custDataLst>
          </p:nvPr>
        </p:nvSpPr>
        <p:spPr>
          <a:xfrm>
            <a:off x="4339244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7"/>
            </p:custDataLst>
          </p:nvPr>
        </p:nvSpPr>
        <p:spPr>
          <a:xfrm>
            <a:off x="8035636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Report Date">
            <a:extLst>
              <a:ext uri="{FF2B5EF4-FFF2-40B4-BE49-F238E27FC236}">
                <a16:creationId xmlns:a16="http://schemas.microsoft.com/office/drawing/2014/main" id="{71242622-92E5-4577-9939-C23982B6F0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5" name="Page Number">
            <a:extLst>
              <a:ext uri="{FF2B5EF4-FFF2-40B4-BE49-F238E27FC236}">
                <a16:creationId xmlns:a16="http://schemas.microsoft.com/office/drawing/2014/main" id="{7253FE5D-87D6-4F45-BF52-14884C4140B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6" name="Presentation Disclaimer">
            <a:extLst>
              <a:ext uri="{FF2B5EF4-FFF2-40B4-BE49-F238E27FC236}">
                <a16:creationId xmlns:a16="http://schemas.microsoft.com/office/drawing/2014/main" id="{2DE48912-752E-4B28-992E-A8018FA045F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7" name="Section Footer">
            <a:extLst>
              <a:ext uri="{FF2B5EF4-FFF2-40B4-BE49-F238E27FC236}">
                <a16:creationId xmlns:a16="http://schemas.microsoft.com/office/drawing/2014/main" id="{24E13DC1-0CD8-4F00-BEB6-8ED480D1657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7E1B077-C346-4667-9422-134889A69A8E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30B69CA-5FCE-4A4A-B144-701CC8BBBE64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raft stamp">
            <a:extLst>
              <a:ext uri="{FF2B5EF4-FFF2-40B4-BE49-F238E27FC236}">
                <a16:creationId xmlns:a16="http://schemas.microsoft.com/office/drawing/2014/main" id="{8BA4733D-DD24-4E66-AB15-27D0B8AA9EB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75097577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642851" y="1815353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6184669" y="1815353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42851" y="4042186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184669" y="4042186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1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Section Header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21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:a16="http://schemas.microsoft.com/office/drawing/2014/main" id="{C9AC37EA-A51B-4D19-8AFD-D5550BB1DBD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2" name="Page Number">
            <a:extLst>
              <a:ext uri="{FF2B5EF4-FFF2-40B4-BE49-F238E27FC236}">
                <a16:creationId xmlns:a16="http://schemas.microsoft.com/office/drawing/2014/main" id="{D5E4965D-0DB2-40AB-8C54-A02F73111BD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5D5F1A31-F3C3-4E8D-8EE5-5D802CF63C9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8" name="Section Footer">
            <a:extLst>
              <a:ext uri="{FF2B5EF4-FFF2-40B4-BE49-F238E27FC236}">
                <a16:creationId xmlns:a16="http://schemas.microsoft.com/office/drawing/2014/main" id="{386FB611-2223-4501-B9AF-3FF47256085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337E43E-8B9E-4332-A613-62823857903C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42FC379-8CCB-4D1B-B59F-CD6E374799E5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raft stamp">
            <a:extLst>
              <a:ext uri="{FF2B5EF4-FFF2-40B4-BE49-F238E27FC236}">
                <a16:creationId xmlns:a16="http://schemas.microsoft.com/office/drawing/2014/main" id="{2F22AEF7-CCE6-447D-A2ED-AE17E661B93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97135540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>
            <p:custDataLst>
              <p:tags r:id="rId1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5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75329825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12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324853937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/>
          </a:p>
        </p:txBody>
      </p:sp>
      <p:sp>
        <p:nvSpPr>
          <p:cNvPr id="6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7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878B0EBC-141B-4C4F-A362-F528990FC2B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15" name="Page Number">
            <a:extLst>
              <a:ext uri="{FF2B5EF4-FFF2-40B4-BE49-F238E27FC236}">
                <a16:creationId xmlns:a16="http://schemas.microsoft.com/office/drawing/2014/main" id="{C9163938-2785-4D1F-BF6D-38BF33DF9B9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16" name="Presentation Disclaimer">
            <a:extLst>
              <a:ext uri="{FF2B5EF4-FFF2-40B4-BE49-F238E27FC236}">
                <a16:creationId xmlns:a16="http://schemas.microsoft.com/office/drawing/2014/main" id="{C7F05687-DF8A-4343-AC91-BC2675AFB87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3" name="Section Footer">
            <a:extLst>
              <a:ext uri="{FF2B5EF4-FFF2-40B4-BE49-F238E27FC236}">
                <a16:creationId xmlns:a16="http://schemas.microsoft.com/office/drawing/2014/main" id="{DED794C3-4383-43AC-902C-5A450186D19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4F52D2-7367-4B0E-9D2D-29AFCA9CD2C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F7E5360-4F8D-4FCD-B7AC-F798EC35A7AE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raft stamp">
            <a:extLst>
              <a:ext uri="{FF2B5EF4-FFF2-40B4-BE49-F238E27FC236}">
                <a16:creationId xmlns:a16="http://schemas.microsoft.com/office/drawing/2014/main" id="{1DF6D7B6-5867-4B92-8FBA-C62AA2356B0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14033595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7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EA7A290B-C63D-405E-8ACC-CE7A7042C43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18" name="Page Number">
            <a:extLst>
              <a:ext uri="{FF2B5EF4-FFF2-40B4-BE49-F238E27FC236}">
                <a16:creationId xmlns:a16="http://schemas.microsoft.com/office/drawing/2014/main" id="{A58703A6-1313-434F-9F41-5C0717B2C4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19" name="Presentation Disclaimer">
            <a:extLst>
              <a:ext uri="{FF2B5EF4-FFF2-40B4-BE49-F238E27FC236}">
                <a16:creationId xmlns:a16="http://schemas.microsoft.com/office/drawing/2014/main" id="{FEED1EAE-54DA-4BFE-B8AA-01FAFBE1AB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1" name="Section Footer">
            <a:extLst>
              <a:ext uri="{FF2B5EF4-FFF2-40B4-BE49-F238E27FC236}">
                <a16:creationId xmlns:a16="http://schemas.microsoft.com/office/drawing/2014/main" id="{F1847CC5-B1D1-4474-9C3E-39FBF238FC9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891E66-7DDE-4707-BC15-833A2E60B93F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939BE09-0D2C-4954-8138-608BE1226ADD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raft stamp">
            <a:extLst>
              <a:ext uri="{FF2B5EF4-FFF2-40B4-BE49-F238E27FC236}">
                <a16:creationId xmlns:a16="http://schemas.microsoft.com/office/drawing/2014/main" id="{6C4C93B2-A619-441E-B329-F1D1D1339EB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34267934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 a Glanc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3513513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At a glance 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6"/>
            </p:custDataLst>
          </p:nvPr>
        </p:nvSpPr>
        <p:spPr>
          <a:xfrm>
            <a:off x="4339244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7"/>
            </p:custDataLst>
          </p:nvPr>
        </p:nvSpPr>
        <p:spPr>
          <a:xfrm>
            <a:off x="8035636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3EFFD349-10E5-48CF-8A59-EF1555B521B2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8"/>
            </p:custDataLst>
          </p:nvPr>
        </p:nvSpPr>
        <p:spPr>
          <a:xfrm>
            <a:off x="4339244" y="949817"/>
            <a:ext cx="7209905" cy="742278"/>
          </a:xfrm>
        </p:spPr>
        <p:txBody>
          <a:bodyPr tIns="0" bIns="0"/>
          <a:lstStyle>
            <a:lvl1pPr>
              <a:defRPr sz="882" b="1" i="0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– Insert text here </a:t>
            </a:r>
          </a:p>
        </p:txBody>
      </p:sp>
      <p:sp>
        <p:nvSpPr>
          <p:cNvPr id="25" name="Report Date">
            <a:extLst>
              <a:ext uri="{FF2B5EF4-FFF2-40B4-BE49-F238E27FC236}">
                <a16:creationId xmlns:a16="http://schemas.microsoft.com/office/drawing/2014/main" id="{0665A064-6277-415D-A60B-2C406E27F0A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6" name="Page Number">
            <a:extLst>
              <a:ext uri="{FF2B5EF4-FFF2-40B4-BE49-F238E27FC236}">
                <a16:creationId xmlns:a16="http://schemas.microsoft.com/office/drawing/2014/main" id="{3E3BCC40-17E6-40CE-86FB-031964A7D93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E93B3E1C-A734-4BF7-8D8A-7ABE20B0541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EAB395CC-B6E8-411B-AD9B-E9D9855FB07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4D888D0-1439-411F-967C-CAA5F572B50E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D75FF6B-0198-42AD-B231-B2AA3F0AE8FC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raft stamp">
            <a:extLst>
              <a:ext uri="{FF2B5EF4-FFF2-40B4-BE49-F238E27FC236}">
                <a16:creationId xmlns:a16="http://schemas.microsoft.com/office/drawing/2014/main" id="{E209326F-C152-4F60-A83B-88FAC2D99544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92110882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loss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Glossary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1090629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BCDE7FFC-7693-4723-B753-B6E41BB1B5E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3" name="Page Number">
            <a:extLst>
              <a:ext uri="{FF2B5EF4-FFF2-40B4-BE49-F238E27FC236}">
                <a16:creationId xmlns:a16="http://schemas.microsoft.com/office/drawing/2014/main" id="{48686681-E6DE-42F4-A1DD-218D21E6C1A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4" name="Presentation Disclaimer">
            <a:extLst>
              <a:ext uri="{FF2B5EF4-FFF2-40B4-BE49-F238E27FC236}">
                <a16:creationId xmlns:a16="http://schemas.microsoft.com/office/drawing/2014/main" id="{3DD43CF5-DB97-4C55-B532-40D00A448FD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5" name="Section Footer">
            <a:extLst>
              <a:ext uri="{FF2B5EF4-FFF2-40B4-BE49-F238E27FC236}">
                <a16:creationId xmlns:a16="http://schemas.microsoft.com/office/drawing/2014/main" id="{21726509-E513-4245-AE69-0956E3B4711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74265E-D6B4-4307-BBAE-41A376249A96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2174D3C-422F-4C24-91E7-4C14614D41BB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raft stamp">
            <a:extLst>
              <a:ext uri="{FF2B5EF4-FFF2-40B4-BE49-F238E27FC236}">
                <a16:creationId xmlns:a16="http://schemas.microsoft.com/office/drawing/2014/main" id="{B9EC7613-0765-4C3E-A317-ECEF6A7225C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8836603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5609"/>
            <a:ext cx="7891549" cy="665349"/>
          </a:xfrm>
          <a:solidFill>
            <a:schemeClr val="accent6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353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4FBEF6FA-A0C7-46EC-AFF5-9AFA4782851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B864BC2B-A74D-467D-99EB-1EE062BBD3C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5855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>
            <p:custDataLst>
              <p:tags r:id="rId1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5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135698573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5609"/>
            <a:ext cx="7891549" cy="665349"/>
          </a:xfrm>
          <a:solidFill>
            <a:schemeClr val="accent1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353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0E108681-ED46-4FCD-AF9B-B0F12DB8236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9FB0E485-E0C8-4B7D-BB20-D326D12F239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31175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1294"/>
            <a:ext cx="7892524" cy="669664"/>
          </a:xfrm>
          <a:solidFill>
            <a:schemeClr val="accent6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3530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784D724-50E8-40C9-83D5-3D08BB1550D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DB77E1-10C5-41A7-B534-2D41309DC8D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39353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1294"/>
            <a:ext cx="7892524" cy="669664"/>
          </a:xfrm>
          <a:solidFill>
            <a:schemeClr val="accent4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3530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2C19DD9-BA46-4527-91D3-9377718D0CB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1998C4-AD53-42B5-93F1-BC4AA20A524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06230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5309062" cy="2517289"/>
          </a:xfrm>
        </p:spPr>
        <p:txBody>
          <a:bodyPr vert="horz" lIns="0" tIns="0" rIns="0" bIns="0" rtlCol="0" anchor="b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4236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Thank you</a:t>
            </a:r>
            <a:endParaRPr lang="en-GB"/>
          </a:p>
        </p:txBody>
      </p:sp>
      <p:sp>
        <p:nvSpPr>
          <p:cNvPr id="8" name="Slide Tags" hidden="1"/>
          <p:cNvSpPr txBox="1"/>
          <p:nvPr>
            <p:custDataLst>
              <p:tags r:id="rId1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AF4687C-57A8-453A-A049-0D4DDFEA3263}"/>
              </a:ext>
            </a:extLst>
          </p:cNvPr>
          <p:cNvSpPr/>
          <p:nvPr/>
        </p:nvSpPr>
        <p:spPr bwMode="hidden">
          <a:xfrm>
            <a:off x="0" y="4940855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1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C2BBAF-6A4B-47CB-BD75-5168D1A27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5212080"/>
            <a:ext cx="10906298" cy="137160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[Legal]</a:t>
            </a:r>
          </a:p>
        </p:txBody>
      </p:sp>
    </p:spTree>
    <p:extLst>
      <p:ext uri="{BB962C8B-B14F-4D97-AF65-F5344CB8AC3E}">
        <p14:creationId xmlns:p14="http://schemas.microsoft.com/office/powerpoint/2010/main" val="6081691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9">
            <a:extLst>
              <a:ext uri="{FF2B5EF4-FFF2-40B4-BE49-F238E27FC236}">
                <a16:creationId xmlns:a16="http://schemas.microsoft.com/office/drawing/2014/main" id="{88EEE73C-8877-43D1-86A9-69E953630E6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709" r="24167"/>
          <a:stretch/>
        </p:blipFill>
        <p:spPr>
          <a:xfrm>
            <a:off x="2493818" y="3"/>
            <a:ext cx="9698182" cy="6868345"/>
          </a:xfrm>
          <a:prstGeom prst="rect">
            <a:avLst/>
          </a:pr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2869856-6182-4B8D-938C-EBFCD02C87F2}"/>
              </a:ext>
            </a:extLst>
          </p:cNvPr>
          <p:cNvSpPr>
            <a:spLocks noChangeAspect="1"/>
          </p:cNvSpPr>
          <p:nvPr/>
        </p:nvSpPr>
        <p:spPr bwMode="white">
          <a:xfrm>
            <a:off x="2" y="1"/>
            <a:ext cx="8367536" cy="68580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068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9773553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9">
            <a:extLst>
              <a:ext uri="{FF2B5EF4-FFF2-40B4-BE49-F238E27FC236}">
                <a16:creationId xmlns:a16="http://schemas.microsoft.com/office/drawing/2014/main" id="{627FAFAA-285F-4945-A3A2-666A8A502E1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709" r="24167"/>
          <a:stretch/>
        </p:blipFill>
        <p:spPr>
          <a:xfrm>
            <a:off x="2493818" y="3"/>
            <a:ext cx="9698182" cy="6868345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575F215B-4184-4392-9C86-1A188FA31F05}"/>
              </a:ext>
            </a:extLst>
          </p:cNvPr>
          <p:cNvSpPr>
            <a:spLocks noChangeAspect="1"/>
          </p:cNvSpPr>
          <p:nvPr/>
        </p:nvSpPr>
        <p:spPr bwMode="white">
          <a:xfrm>
            <a:off x="2" y="1"/>
            <a:ext cx="8367536" cy="68580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068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D160942-482E-4DB8-A58E-71FBEDE772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11" name="Report Title">
            <a:extLst>
              <a:ext uri="{FF2B5EF4-FFF2-40B4-BE49-F238E27FC236}">
                <a16:creationId xmlns:a16="http://schemas.microsoft.com/office/drawing/2014/main" id="{12C0EFB5-DB4A-44B7-BEB6-50F77D1D323D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2EEB4B15-EBE2-4CC7-87E7-CF12291C9A89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6" name="Confidentiality Stamp">
            <a:extLst>
              <a:ext uri="{FF2B5EF4-FFF2-40B4-BE49-F238E27FC236}">
                <a16:creationId xmlns:a16="http://schemas.microsoft.com/office/drawing/2014/main" id="{BB6F76BA-CA5E-46B1-A4FE-A04494BA1F4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7" name="Draft Stamp">
            <a:extLst>
              <a:ext uri="{FF2B5EF4-FFF2-40B4-BE49-F238E27FC236}">
                <a16:creationId xmlns:a16="http://schemas.microsoft.com/office/drawing/2014/main" id="{FD086E63-2C7B-45FF-B665-56AD61AC323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port Date">
            <a:extLst>
              <a:ext uri="{FF2B5EF4-FFF2-40B4-BE49-F238E27FC236}">
                <a16:creationId xmlns:a16="http://schemas.microsoft.com/office/drawing/2014/main" id="{2093D07F-E838-4E22-A6DD-E50DBC55755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5774721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3040987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tle Slide 2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2743200" y="1"/>
            <a:ext cx="9448800" cy="68579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1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" y="1"/>
            <a:ext cx="8367536" cy="6858000"/>
            <a:chOff x="1" y="3"/>
            <a:chExt cx="6126163" cy="6858000"/>
          </a:xfrm>
          <a:solidFill>
            <a:schemeClr val="accent6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068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  <a:grpFill/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69937" y="4208056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569938" y="4722192"/>
            <a:ext cx="3258602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569937" y="3751729"/>
            <a:ext cx="2911018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308284" y="3167623"/>
            <a:ext cx="8145368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9937" y="2217741"/>
            <a:ext cx="6348201" cy="65184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4236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69937" y="3477409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204158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tle Slide 3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2743200" y="1"/>
            <a:ext cx="9448800" cy="68579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1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" y="1"/>
            <a:ext cx="8367536" cy="6858000"/>
            <a:chOff x="1" y="3"/>
            <a:chExt cx="6126163" cy="68580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068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69937" y="4208056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569938" y="4722192"/>
            <a:ext cx="3258602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569937" y="3751729"/>
            <a:ext cx="2911018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308284" y="3167623"/>
            <a:ext cx="8145368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9937" y="2217741"/>
            <a:ext cx="6348201" cy="65184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4236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69937" y="3477409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7795046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Lines 2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12192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BDC28A-6CCA-D946-B517-6BB4EEB49B0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Freeform: Shape 7">
              <a:extLst>
                <a:ext uri="{FF2B5EF4-FFF2-40B4-BE49-F238E27FC236}">
                  <a16:creationId xmlns:a16="http://schemas.microsoft.com/office/drawing/2014/main" id="{88987A12-2FCD-A24E-A035-A87DB2CE21C2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3309692 h 6858000"/>
                <a:gd name="connsiteX3" fmla="*/ 12192000 w 12192000"/>
                <a:gd name="connsiteY3" fmla="*/ 3309692 h 6858000"/>
                <a:gd name="connsiteX4" fmla="*/ 12192000 w 12192000"/>
                <a:gd name="connsiteY4" fmla="*/ 3615692 h 6858000"/>
                <a:gd name="connsiteX5" fmla="*/ 9450000 w 12192000"/>
                <a:gd name="connsiteY5" fmla="*/ 3615692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  <a:gd name="connsiteX16" fmla="*/ 9144000 w 12192000"/>
                <a:gd name="connsiteY16" fmla="*/ 3615692 h 6858000"/>
                <a:gd name="connsiteX17" fmla="*/ 0 w 12192000"/>
                <a:gd name="connsiteY17" fmla="*/ 3615692 h 6858000"/>
                <a:gd name="connsiteX18" fmla="*/ 0 w 12192000"/>
                <a:gd name="connsiteY18" fmla="*/ 3309692 h 6858000"/>
                <a:gd name="connsiteX19" fmla="*/ 9144000 w 12192000"/>
                <a:gd name="connsiteY19" fmla="*/ 330969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3309692"/>
                  </a:lnTo>
                  <a:lnTo>
                    <a:pt x="12192000" y="3309692"/>
                  </a:lnTo>
                  <a:lnTo>
                    <a:pt x="12192000" y="3615692"/>
                  </a:lnTo>
                  <a:lnTo>
                    <a:pt x="9450000" y="3615692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lnTo>
                    <a:pt x="9144000" y="3615692"/>
                  </a:lnTo>
                  <a:lnTo>
                    <a:pt x="0" y="3615692"/>
                  </a:lnTo>
                  <a:lnTo>
                    <a:pt x="0" y="3309692"/>
                  </a:lnTo>
                  <a:lnTo>
                    <a:pt x="9144000" y="3309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BFFF2DD-324A-4741-B09D-D8BFF0170B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85139" y="5330952"/>
              <a:ext cx="1636776" cy="1351185"/>
            </a:xfrm>
            <a:prstGeom prst="rect">
              <a:avLst/>
            </a:prstGeom>
          </p:spPr>
        </p:pic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id="{B2285DDC-FA1B-F84F-B44E-C04413327EF5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713607"/>
            <a:ext cx="5473700" cy="594221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r>
              <a:rPr lang="en-US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4"/>
            <a:ext cx="7418387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03605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12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260817396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3484C0D-6176-452F-9734-BCF5DF2748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8677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3484C0D-6176-452F-9734-BCF5DF2748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Google Shape;24;p12"/>
          <p:cNvSpPr txBox="1">
            <a:spLocks noGrp="1"/>
          </p:cNvSpPr>
          <p:nvPr>
            <p:ph type="title"/>
          </p:nvPr>
        </p:nvSpPr>
        <p:spPr>
          <a:xfrm>
            <a:off x="442913" y="274544"/>
            <a:ext cx="11306175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 sz="2800">
                <a:solidFill>
                  <a:schemeClr val="tx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" name="Google Shape;75;p2">
            <a:extLst>
              <a:ext uri="{FF2B5EF4-FFF2-40B4-BE49-F238E27FC236}">
                <a16:creationId xmlns:a16="http://schemas.microsoft.com/office/drawing/2014/main" id="{15733BA1-7A19-46BC-94D4-AA73D5B54FD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lvl="0"/>
            <a:fld id="{00000000-1234-1234-1234-123412341234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9" name="Google Shape;76;p2">
            <a:extLst>
              <a:ext uri="{FF2B5EF4-FFF2-40B4-BE49-F238E27FC236}">
                <a16:creationId xmlns:a16="http://schemas.microsoft.com/office/drawing/2014/main" id="{F90358ED-B9E4-4B7A-98F8-7ED4D7F4D258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9753600" y="649224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ep 23</a:t>
            </a:r>
            <a:endParaRPr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6FDEDB9-2304-493D-BD8E-B70153449AC3}"/>
              </a:ext>
            </a:extLst>
          </p:cNvPr>
          <p:cNvCxnSpPr>
            <a:cxnSpLocks/>
          </p:cNvCxnSpPr>
          <p:nvPr userDrawn="1"/>
        </p:nvCxnSpPr>
        <p:spPr>
          <a:xfrm>
            <a:off x="0" y="1110482"/>
            <a:ext cx="12192000" cy="0"/>
          </a:xfrm>
          <a:prstGeom prst="line">
            <a:avLst/>
          </a:prstGeom>
          <a:ln w="254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C9CF0553-8850-4340-B496-AF2A4B7C163E}"/>
              </a:ext>
            </a:extLst>
          </p:cNvPr>
          <p:cNvGrpSpPr/>
          <p:nvPr userDrawn="1"/>
        </p:nvGrpSpPr>
        <p:grpSpPr>
          <a:xfrm>
            <a:off x="11163300" y="1028412"/>
            <a:ext cx="591246" cy="164140"/>
            <a:chOff x="10705057" y="974091"/>
            <a:chExt cx="935189" cy="25962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3F50E06-3BA3-45B0-872E-2A68E4020100}"/>
                </a:ext>
              </a:extLst>
            </p:cNvPr>
            <p:cNvSpPr/>
            <p:nvPr userDrawn="1"/>
          </p:nvSpPr>
          <p:spPr>
            <a:xfrm>
              <a:off x="10705057" y="974091"/>
              <a:ext cx="260263" cy="25962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ABE8DA4A-B361-4FAD-A5A6-ADCCEEE72520}"/>
                </a:ext>
              </a:extLst>
            </p:cNvPr>
            <p:cNvSpPr/>
            <p:nvPr userDrawn="1"/>
          </p:nvSpPr>
          <p:spPr>
            <a:xfrm>
              <a:off x="11042520" y="974091"/>
              <a:ext cx="260263" cy="25962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4F0084-564A-428C-A03F-C139E2F54A41}"/>
                </a:ext>
              </a:extLst>
            </p:cNvPr>
            <p:cNvSpPr/>
            <p:nvPr userDrawn="1"/>
          </p:nvSpPr>
          <p:spPr>
            <a:xfrm>
              <a:off x="11379983" y="974091"/>
              <a:ext cx="260263" cy="2596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3349320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AF55A2-2C43-4003-B7DB-BB2BA8FD1A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5882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AF55A2-2C43-4003-B7DB-BB2BA8FD1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spcAft>
                <a:spcPts val="1200"/>
              </a:spcAft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693523"/>
            <a:ext cx="5473700" cy="594360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9AE8A82-226D-458A-B26F-C73B563AC241}"/>
              </a:ext>
            </a:extLst>
          </p:cNvPr>
          <p:cNvSpPr/>
          <p:nvPr userDrawn="1"/>
        </p:nvSpPr>
        <p:spPr>
          <a:xfrm rot="5400000">
            <a:off x="2605770" y="3352800"/>
            <a:ext cx="68580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82786565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AF55A2-2C43-4003-B7DB-BB2BA8FD1A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5882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AF55A2-2C43-4003-B7DB-BB2BA8FD1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spcAft>
                <a:spcPts val="1200"/>
              </a:spcAft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4978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4978400"/>
            <a:ext cx="6096000" cy="18796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693523"/>
            <a:ext cx="5473700" cy="594360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78473964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Quote 1 Image Oran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F37D7A94-5169-4B57-B053-68AF3C9AE5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BDB9795-14DB-4611-A356-F1F92FE05ED1}"/>
              </a:ext>
            </a:extLst>
          </p:cNvPr>
          <p:cNvSpPr/>
          <p:nvPr userDrawn="1"/>
        </p:nvSpPr>
        <p:spPr>
          <a:xfrm>
            <a:off x="0" y="1111250"/>
            <a:ext cx="6095999" cy="46355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2155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GB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47370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388" y="2103437"/>
            <a:ext cx="5473699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8C77347-C792-41EE-BAB8-07B37B9B5F0A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855CA0F-B925-4009-AFC7-2C64D81F36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FBE9ADE-3F54-4820-9478-1C0D6A25329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1537D5A3-B672-4852-AC41-91EB6B6297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97425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1B0421D-0F2C-4D5C-8C6A-4F33BBA87B51}"/>
              </a:ext>
            </a:extLst>
          </p:cNvPr>
          <p:cNvGrpSpPr/>
          <p:nvPr/>
        </p:nvGrpSpPr>
        <p:grpSpPr>
          <a:xfrm>
            <a:off x="1" y="1192"/>
            <a:ext cx="12191999" cy="4534816"/>
            <a:chOff x="0" y="-1850"/>
            <a:chExt cx="10058399" cy="513945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AC2468B-7B7C-4C8C-B055-6EEB0FDFB458}"/>
                </a:ext>
              </a:extLst>
            </p:cNvPr>
            <p:cNvSpPr/>
            <p:nvPr/>
          </p:nvSpPr>
          <p:spPr bwMode="hidden">
            <a:xfrm>
              <a:off x="0" y="-1850"/>
              <a:ext cx="6738778" cy="3854593"/>
            </a:xfrm>
            <a:prstGeom prst="rect">
              <a:avLst/>
            </a:pr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BBA73F9-E23B-456D-80BC-9D102C6807BF}"/>
                </a:ext>
              </a:extLst>
            </p:cNvPr>
            <p:cNvSpPr/>
            <p:nvPr/>
          </p:nvSpPr>
          <p:spPr bwMode="hidden">
            <a:xfrm>
              <a:off x="0" y="3852743"/>
              <a:ext cx="6738778" cy="1284865"/>
            </a:xfrm>
            <a:prstGeom prst="rect">
              <a:avLst/>
            </a:pr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BE32A15-DC57-4998-AEBF-FEB28AD4F1C7}"/>
                </a:ext>
              </a:extLst>
            </p:cNvPr>
            <p:cNvSpPr/>
            <p:nvPr/>
          </p:nvSpPr>
          <p:spPr bwMode="hidden">
            <a:xfrm>
              <a:off x="6738779" y="-1850"/>
              <a:ext cx="3319620" cy="3854593"/>
            </a:xfrm>
            <a:prstGeom prst="rect">
              <a:avLst/>
            </a:prstGeom>
            <a:solidFill>
              <a:srgbClr val="EB8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/>
            </a:p>
          </p:txBody>
        </p: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ADEBCFBD-4064-4013-BFAD-CD6A74630F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gray">
          <a:xfrm>
            <a:off x="345196" y="5410798"/>
            <a:ext cx="2182367" cy="1311444"/>
          </a:xfrm>
          <a:prstGeom prst="rect">
            <a:avLst/>
          </a:prstGeom>
        </p:spPr>
      </p:pic>
      <p:sp>
        <p:nvSpPr>
          <p:cNvPr id="12" name="Report Title">
            <a:extLst>
              <a:ext uri="{FF2B5EF4-FFF2-40B4-BE49-F238E27FC236}">
                <a16:creationId xmlns:a16="http://schemas.microsoft.com/office/drawing/2014/main" id="{33E879B0-433D-44B8-A45C-4AA9431195B4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7362768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D138D7C5-AFED-488C-9EB0-31F9B7E94C5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3475573"/>
            <a:ext cx="7362768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B4906E0-DCF0-4572-8EB8-2DD2439A515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02834" y="4338549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4D76D332-7278-485D-8CDF-6978AE979BD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02834" y="4153041"/>
            <a:ext cx="2669925" cy="1747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E3D03A1-F1AB-4918-AAE4-A674AC23F6D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3701056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3165780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E44432-2DD3-429B-9192-CDE2430039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5" y="1401"/>
          <a:ext cx="1925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3" imgH="424" progId="TCLayout.ActiveDocument.1">
                  <p:embed/>
                </p:oleObj>
              </mc:Choice>
              <mc:Fallback>
                <p:oleObj name="think-cell Slide" r:id="rId10" imgW="423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E44432-2DD3-429B-9192-CDE2430039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25" y="1401"/>
                        <a:ext cx="1925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04E73762-5B0C-4A73-AAD9-B6C6DB42A1C9}"/>
              </a:ext>
            </a:extLst>
          </p:cNvPr>
          <p:cNvSpPr/>
          <p:nvPr/>
        </p:nvSpPr>
        <p:spPr>
          <a:xfrm>
            <a:off x="0" y="0"/>
            <a:ext cx="3147753" cy="685800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235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21C81E0-A595-44BD-A048-8DF8E985F86C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5" t="30898" r="32576" b="30525"/>
          <a:stretch/>
        </p:blipFill>
        <p:spPr>
          <a:xfrm>
            <a:off x="543224" y="941294"/>
            <a:ext cx="1175030" cy="669407"/>
          </a:xfrm>
          <a:prstGeom prst="rect">
            <a:avLst/>
          </a:prstGeom>
        </p:spPr>
      </p:pic>
      <p:sp>
        <p:nvSpPr>
          <p:cNvPr id="19" name="Draft stamp">
            <a:extLst>
              <a:ext uri="{FF2B5EF4-FFF2-40B4-BE49-F238E27FC236}">
                <a16:creationId xmlns:a16="http://schemas.microsoft.com/office/drawing/2014/main" id="{AF78C4E9-5EC7-47A9-8CD3-A576720D21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888DD68-89F1-4B99-A070-7459C90282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3225" y="1815353"/>
            <a:ext cx="2409846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EBB040F-A728-48CD-A5B9-F69EC5296F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225" y="5356604"/>
            <a:ext cx="2409846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ress Placeholder </a:t>
            </a:r>
          </a:p>
        </p:txBody>
      </p:sp>
      <p:cxnSp>
        <p:nvCxnSpPr>
          <p:cNvPr id="22" name="Frame Line">
            <a:extLst>
              <a:ext uri="{FF2B5EF4-FFF2-40B4-BE49-F238E27FC236}">
                <a16:creationId xmlns:a16="http://schemas.microsoft.com/office/drawing/2014/main" id="{F7BAF0B3-E029-470C-87E4-46D3229C1448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3585682" y="1748118"/>
            <a:ext cx="796913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33075B3C-DA49-4F57-9409-515CA5F8C1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5683" y="941295"/>
            <a:ext cx="3213601" cy="149362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1A63BB9A-729A-4857-BE09-F8368F34E8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5683" y="1815353"/>
            <a:ext cx="7963465" cy="36186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6" name="Report Date">
            <a:extLst>
              <a:ext uri="{FF2B5EF4-FFF2-40B4-BE49-F238E27FC236}">
                <a16:creationId xmlns:a16="http://schemas.microsoft.com/office/drawing/2014/main" id="{EE19D4BC-B65F-4593-B6DA-6CEA94B7B65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latin typeface="+mn-lt"/>
              </a:rPr>
              <a:t>1 April 2019</a:t>
            </a: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DBA60797-0C6B-4279-88BD-0214B400B51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8283" y="6317437"/>
            <a:ext cx="3037401" cy="10861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Strictly private and confidential</a:t>
            </a:r>
          </a:p>
        </p:txBody>
      </p:sp>
      <p:sp>
        <p:nvSpPr>
          <p:cNvPr id="28" name="Page Number">
            <a:extLst>
              <a:ext uri="{FF2B5EF4-FFF2-40B4-BE49-F238E27FC236}">
                <a16:creationId xmlns:a16="http://schemas.microsoft.com/office/drawing/2014/main" id="{0AC58CDE-7BF7-4E9A-86DE-005A8226C2D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7BC2F3DA-F5E4-44B0-8190-5C4510FA91E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31830" y="6468674"/>
            <a:ext cx="278118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A4FBAFA-F1A1-40A6-9134-3230D2D92D31}"/>
              </a:ext>
            </a:extLst>
          </p:cNvPr>
          <p:cNvSpPr txBox="1"/>
          <p:nvPr/>
        </p:nvSpPr>
        <p:spPr>
          <a:xfrm>
            <a:off x="543224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0810281-0E5A-4B69-940A-B5D1F833254D}"/>
              </a:ext>
            </a:extLst>
          </p:cNvPr>
          <p:cNvCxnSpPr>
            <a:cxnSpLocks/>
          </p:cNvCxnSpPr>
          <p:nvPr/>
        </p:nvCxnSpPr>
        <p:spPr>
          <a:xfrm>
            <a:off x="869680" y="6478603"/>
            <a:ext cx="0" cy="8875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HeaderTOCPlaceholder"/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09179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etter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port Date">
            <a:extLst>
              <a:ext uri="{FF2B5EF4-FFF2-40B4-BE49-F238E27FC236}">
                <a16:creationId xmlns:a16="http://schemas.microsoft.com/office/drawing/2014/main" id="{53D1EBEC-E8DA-41B3-AC08-642CC2A584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latin typeface="+mn-lt"/>
              </a:rPr>
              <a:t>1 April 2019</a:t>
            </a:r>
          </a:p>
        </p:txBody>
      </p:sp>
      <p:sp>
        <p:nvSpPr>
          <p:cNvPr id="19" name="Draft stamp">
            <a:extLst>
              <a:ext uri="{FF2B5EF4-FFF2-40B4-BE49-F238E27FC236}">
                <a16:creationId xmlns:a16="http://schemas.microsoft.com/office/drawing/2014/main" id="{AF78C4E9-5EC7-47A9-8CD3-A576720D21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21430" y="6317429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0E7DDA1-E9E0-4BD2-9F18-4D73A5A3E3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09305" y="1282424"/>
            <a:ext cx="3904775" cy="4611356"/>
          </a:xfrm>
        </p:spPr>
        <p:txBody>
          <a:bodyPr/>
          <a:lstStyle>
            <a:lvl1pPr>
              <a:defRPr sz="794"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A63B2BC-C1AA-475D-80E8-6103AE0017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44375" y="1282424"/>
            <a:ext cx="3904775" cy="4611356"/>
          </a:xfrm>
        </p:spPr>
        <p:txBody>
          <a:bodyPr/>
          <a:lstStyle>
            <a:lvl1pPr>
              <a:defRPr sz="794"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772873F-F098-49A1-B629-C8530BE60C1A}"/>
              </a:ext>
            </a:extLst>
          </p:cNvPr>
          <p:cNvSpPr/>
          <p:nvPr/>
        </p:nvSpPr>
        <p:spPr>
          <a:xfrm>
            <a:off x="1" y="0"/>
            <a:ext cx="3150086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235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318A1954-C595-46AF-9BD0-C51B68380FC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5" t="30898" r="32576" b="30525"/>
          <a:stretch/>
        </p:blipFill>
        <p:spPr>
          <a:xfrm>
            <a:off x="543224" y="941294"/>
            <a:ext cx="1175030" cy="669407"/>
          </a:xfrm>
          <a:prstGeom prst="rect">
            <a:avLst/>
          </a:prstGeom>
        </p:spPr>
      </p:pic>
      <p:sp>
        <p:nvSpPr>
          <p:cNvPr id="34" name="Presentation Disclaimer">
            <a:extLst>
              <a:ext uri="{FF2B5EF4-FFF2-40B4-BE49-F238E27FC236}">
                <a16:creationId xmlns:a16="http://schemas.microsoft.com/office/drawing/2014/main" id="{04DDCE90-61F5-41F7-BCB5-5378C4B9A37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48283" y="6087752"/>
            <a:ext cx="2376566" cy="10861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r>
              <a:rPr lang="en-GB" sz="706" noProof="1">
                <a:solidFill>
                  <a:schemeClr val="bg2"/>
                </a:solidFill>
              </a:rPr>
              <a:t>Strictly private and confidential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011B331F-A998-4B93-9E0F-EFB8090DC5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3225" y="1815353"/>
            <a:ext cx="2376566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012E331A-BF46-4F6E-9356-402F5B3A21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225" y="5230180"/>
            <a:ext cx="2376566" cy="149362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ress Placeholder </a:t>
            </a:r>
          </a:p>
        </p:txBody>
      </p:sp>
      <p:sp>
        <p:nvSpPr>
          <p:cNvPr id="41" name="Page Number">
            <a:extLst>
              <a:ext uri="{FF2B5EF4-FFF2-40B4-BE49-F238E27FC236}">
                <a16:creationId xmlns:a16="http://schemas.microsoft.com/office/drawing/2014/main" id="{F36165EE-352C-4AC1-98EF-60E59C280DC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42" name="Section Footer">
            <a:extLst>
              <a:ext uri="{FF2B5EF4-FFF2-40B4-BE49-F238E27FC236}">
                <a16:creationId xmlns:a16="http://schemas.microsoft.com/office/drawing/2014/main" id="{DFD9E5A5-EA34-4218-A4A4-FD56114AF05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31830" y="6468674"/>
            <a:ext cx="278118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8601950-F3C4-4D1E-A940-993B2DC79208}"/>
              </a:ext>
            </a:extLst>
          </p:cNvPr>
          <p:cNvSpPr txBox="1"/>
          <p:nvPr/>
        </p:nvSpPr>
        <p:spPr>
          <a:xfrm>
            <a:off x="543224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D043B99-C2CB-4B03-BAF5-2B73C672E9E7}"/>
              </a:ext>
            </a:extLst>
          </p:cNvPr>
          <p:cNvCxnSpPr>
            <a:cxnSpLocks/>
          </p:cNvCxnSpPr>
          <p:nvPr/>
        </p:nvCxnSpPr>
        <p:spPr>
          <a:xfrm>
            <a:off x="869680" y="6478603"/>
            <a:ext cx="0" cy="8875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raft stamp">
            <a:extLst>
              <a:ext uri="{FF2B5EF4-FFF2-40B4-BE49-F238E27FC236}">
                <a16:creationId xmlns:a16="http://schemas.microsoft.com/office/drawing/2014/main" id="{0C7A3222-0907-4B8B-931D-CDF391F1375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  <p:sp>
        <p:nvSpPr>
          <p:cNvPr id="17" name="HeaderTOCPlaceholder"/>
          <p:cNvSpPr txBox="1"/>
          <p:nvPr>
            <p:custDataLst>
              <p:tags r:id="rId7"/>
            </p:custDataLst>
          </p:nvPr>
        </p:nvSpPr>
        <p:spPr>
          <a:xfrm>
            <a:off x="3378647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HeaderTOCPlaceholder"/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080891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2549562"/>
            <a:ext cx="10906298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F64073-2668-46FE-AD35-445DFFB448D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6"/>
            </p:custDataLst>
          </p:nvPr>
        </p:nvSpPr>
        <p:spPr>
          <a:xfrm>
            <a:off x="642851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Subject matter -- Insert text here 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EC542A2-EEE2-4DCF-B881-FD6F8C730597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7"/>
            </p:custDataLst>
          </p:nvPr>
        </p:nvSpPr>
        <p:spPr>
          <a:xfrm>
            <a:off x="6184669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-- Insert text here </a:t>
            </a:r>
          </a:p>
        </p:txBody>
      </p:sp>
      <p:sp>
        <p:nvSpPr>
          <p:cNvPr id="42" name="Section Header">
            <a:extLst>
              <a:ext uri="{FF2B5EF4-FFF2-40B4-BE49-F238E27FC236}">
                <a16:creationId xmlns:a16="http://schemas.microsoft.com/office/drawing/2014/main" id="{42230C15-E0EF-475B-8C56-8180ED2FC02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9" name="Report Date">
            <a:extLst>
              <a:ext uri="{FF2B5EF4-FFF2-40B4-BE49-F238E27FC236}">
                <a16:creationId xmlns:a16="http://schemas.microsoft.com/office/drawing/2014/main" id="{B66C8374-F5C4-4996-A017-C80027E874A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40" name="Page Number">
            <a:extLst>
              <a:ext uri="{FF2B5EF4-FFF2-40B4-BE49-F238E27FC236}">
                <a16:creationId xmlns:a16="http://schemas.microsoft.com/office/drawing/2014/main" id="{00FF76E0-A4C6-4C27-96DB-D6E6C03A892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41" name="Presentation Disclaimer">
            <a:extLst>
              <a:ext uri="{FF2B5EF4-FFF2-40B4-BE49-F238E27FC236}">
                <a16:creationId xmlns:a16="http://schemas.microsoft.com/office/drawing/2014/main" id="{08D357CF-2BDC-45D2-B8A1-33CD43A8FB0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43" name="Section Footer">
            <a:extLst>
              <a:ext uri="{FF2B5EF4-FFF2-40B4-BE49-F238E27FC236}">
                <a16:creationId xmlns:a16="http://schemas.microsoft.com/office/drawing/2014/main" id="{98D7C6BC-F4A4-4F9C-A8BF-E320D746F02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93993BF-D529-458F-A6DB-FF58DC66AF25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69A4775-51B2-49AF-BE77-A2DD117CCF43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raft stamp">
            <a:extLst>
              <a:ext uri="{FF2B5EF4-FFF2-40B4-BE49-F238E27FC236}">
                <a16:creationId xmlns:a16="http://schemas.microsoft.com/office/drawing/2014/main" id="{17968DA8-EB16-47EE-839F-ED9A501B8C2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60041236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2549562"/>
            <a:ext cx="5364480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2549562"/>
            <a:ext cx="5364480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 hidden="1"/>
          <p:cNvSpPr txBox="1"/>
          <p:nvPr>
            <p:custDataLst>
              <p:tags r:id="rId4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F64073-2668-46FE-AD35-445DFFB448D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7"/>
            </p:custDataLst>
          </p:nvPr>
        </p:nvSpPr>
        <p:spPr>
          <a:xfrm>
            <a:off x="642851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Subject matter -- Insert text here 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EC542A2-EEE2-4DCF-B881-FD6F8C730597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8"/>
            </p:custDataLst>
          </p:nvPr>
        </p:nvSpPr>
        <p:spPr>
          <a:xfrm>
            <a:off x="6184669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-- Insert text here </a:t>
            </a:r>
          </a:p>
        </p:txBody>
      </p:sp>
      <p:sp>
        <p:nvSpPr>
          <p:cNvPr id="43" name="Section Header">
            <a:extLst>
              <a:ext uri="{FF2B5EF4-FFF2-40B4-BE49-F238E27FC236}">
                <a16:creationId xmlns:a16="http://schemas.microsoft.com/office/drawing/2014/main" id="{7F444856-1130-46B5-A045-52E1A79FBBD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Report Date">
            <a:extLst>
              <a:ext uri="{FF2B5EF4-FFF2-40B4-BE49-F238E27FC236}">
                <a16:creationId xmlns:a16="http://schemas.microsoft.com/office/drawing/2014/main" id="{B4D96363-5048-42D4-A625-7660951202C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6" name="Page Number">
            <a:extLst>
              <a:ext uri="{FF2B5EF4-FFF2-40B4-BE49-F238E27FC236}">
                <a16:creationId xmlns:a16="http://schemas.microsoft.com/office/drawing/2014/main" id="{59EA6C49-2D7E-4FCB-8DA7-C1A79DF7B9B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2072BD5A-7576-4E0D-976F-209E7B832A2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0698F7A3-ECB8-4459-B242-13A3C3A4C41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0767C8B-73EA-42B7-9AA5-AE3E0CFA7F2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E701F06-0467-480F-B3C7-DDF18CF6675F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Draft stamp">
            <a:extLst>
              <a:ext uri="{FF2B5EF4-FFF2-40B4-BE49-F238E27FC236}">
                <a16:creationId xmlns:a16="http://schemas.microsoft.com/office/drawing/2014/main" id="{76E39CD5-987F-43AE-B084-849EE59B5399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1085590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/>
          </a:p>
        </p:txBody>
      </p:sp>
      <p:sp>
        <p:nvSpPr>
          <p:cNvPr id="6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7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878B0EBC-141B-4C4F-A362-F528990FC2B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15" name="Page Number">
            <a:extLst>
              <a:ext uri="{FF2B5EF4-FFF2-40B4-BE49-F238E27FC236}">
                <a16:creationId xmlns:a16="http://schemas.microsoft.com/office/drawing/2014/main" id="{C9163938-2785-4D1F-BF6D-38BF33DF9B9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16" name="Presentation Disclaimer">
            <a:extLst>
              <a:ext uri="{FF2B5EF4-FFF2-40B4-BE49-F238E27FC236}">
                <a16:creationId xmlns:a16="http://schemas.microsoft.com/office/drawing/2014/main" id="{C7F05687-DF8A-4343-AC91-BC2675AFB87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3" name="Section Footer">
            <a:extLst>
              <a:ext uri="{FF2B5EF4-FFF2-40B4-BE49-F238E27FC236}">
                <a16:creationId xmlns:a16="http://schemas.microsoft.com/office/drawing/2014/main" id="{DED794C3-4383-43AC-902C-5A450186D19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4F52D2-7367-4B0E-9D2D-29AFCA9CD2C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F7E5360-4F8D-4FCD-B7AC-F798EC35A7AE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raft stamp">
            <a:extLst>
              <a:ext uri="{FF2B5EF4-FFF2-40B4-BE49-F238E27FC236}">
                <a16:creationId xmlns:a16="http://schemas.microsoft.com/office/drawing/2014/main" id="{1DF6D7B6-5867-4B92-8FBA-C62AA2356B0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17494664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1090629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/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/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/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9" name="Report Date">
            <a:extLst>
              <a:ext uri="{FF2B5EF4-FFF2-40B4-BE49-F238E27FC236}">
                <a16:creationId xmlns:a16="http://schemas.microsoft.com/office/drawing/2014/main" id="{64581E60-A0D4-4BC1-823A-2B418E8F212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30" name="Page Number">
            <a:extLst>
              <a:ext uri="{FF2B5EF4-FFF2-40B4-BE49-F238E27FC236}">
                <a16:creationId xmlns:a16="http://schemas.microsoft.com/office/drawing/2014/main" id="{41779BE8-A4CC-4DAD-B153-54092D7A99B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1" name="Presentation Disclaimer">
            <a:extLst>
              <a:ext uri="{FF2B5EF4-FFF2-40B4-BE49-F238E27FC236}">
                <a16:creationId xmlns:a16="http://schemas.microsoft.com/office/drawing/2014/main" id="{3C2E928F-BA23-4F06-9CC3-E08864FB846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2" name="Section Footer">
            <a:extLst>
              <a:ext uri="{FF2B5EF4-FFF2-40B4-BE49-F238E27FC236}">
                <a16:creationId xmlns:a16="http://schemas.microsoft.com/office/drawing/2014/main" id="{8D2C9B10-5BE7-4AF8-BFF8-A3046EC4F94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87D8D29-B820-4A31-8280-EFE6F9FA98F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B44D133-2D16-42A3-A3AD-A385F9C01A0E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016355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4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:a16="http://schemas.microsoft.com/office/drawing/2014/main" id="{A8AA2BC8-1024-45CC-9E76-6C0E7A21F6C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A89B890D-CBFA-4D2C-BB10-C27690A9929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57CE9966-8074-4152-9D34-F90B6B3C28D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FC58C329-4792-4816-A60A-3D2DCE9CA03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AFC1A6-EFD9-4BBD-86EB-FA5F92D972EA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5CE69C-839D-427C-8F86-57156ADECE5D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384761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721975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8035637" y="1815353"/>
            <a:ext cx="3506124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4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176703B5-D291-496D-B26E-525DA3A3675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:a16="http://schemas.microsoft.com/office/drawing/2014/main" id="{53D88DCA-117D-416D-82D2-2367ED968B2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D7336B48-3136-4E82-8B16-FBC22E8CAE0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90BED7C2-73F9-48D2-A750-793071C5693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951C7BF0-CFC4-4094-AA1F-87A845BB89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2F61651-EB89-48D4-A6DE-27384110A6BB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3DD7B9E-30C4-4159-BFEE-77F215166572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293840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0" y="1815353"/>
            <a:ext cx="5360787" cy="208429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42850" y="4042186"/>
            <a:ext cx="5360787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188364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4" name="HeaderTOCPlaceholder"/>
          <p:cNvSpPr txBox="1"/>
          <p:nvPr>
            <p:custDataLst>
              <p:tags r:id="rId4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5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Date/Filepath" hidden="1"/>
          <p:cNvSpPr txBox="1"/>
          <p:nvPr>
            <p:custDataLst>
              <p:tags r:id="rId6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20" name="Slide Tags" hidden="1"/>
          <p:cNvSpPr txBox="1"/>
          <p:nvPr>
            <p:custDataLst>
              <p:tags r:id="rId7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4" name="Draft stamp">
            <a:extLst>
              <a:ext uri="{FF2B5EF4-FFF2-40B4-BE49-F238E27FC236}">
                <a16:creationId xmlns:a16="http://schemas.microsoft.com/office/drawing/2014/main" id="{98F467DD-E508-4793-B8C1-41188C0178B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19" name="Report Date">
            <a:extLst>
              <a:ext uri="{FF2B5EF4-FFF2-40B4-BE49-F238E27FC236}">
                <a16:creationId xmlns:a16="http://schemas.microsoft.com/office/drawing/2014/main" id="{BDC234B1-84B0-44C3-BE38-95CEC0CA133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1" name="Page Number">
            <a:extLst>
              <a:ext uri="{FF2B5EF4-FFF2-40B4-BE49-F238E27FC236}">
                <a16:creationId xmlns:a16="http://schemas.microsoft.com/office/drawing/2014/main" id="{B4A20242-E44A-4263-95BA-D1D5664EE2C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3" name="Presentation Disclaimer">
            <a:extLst>
              <a:ext uri="{FF2B5EF4-FFF2-40B4-BE49-F238E27FC236}">
                <a16:creationId xmlns:a16="http://schemas.microsoft.com/office/drawing/2014/main" id="{885D6D75-46D2-4F31-9186-3D5BFAC2EBA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880E68C9-26BA-4DB5-861B-DC433ABD5EC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B6D62A-63C1-496F-864F-F8EA90700F13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FA8B007-F8F4-4D8B-B7BA-C35A62369B11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37531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to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46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Section Header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2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21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0"/>
            <p:custDataLst>
              <p:tags r:id="rId5"/>
            </p:custDataLst>
          </p:nvPr>
        </p:nvSpPr>
        <p:spPr>
          <a:xfrm>
            <a:off x="642851" y="1815353"/>
            <a:ext cx="5364480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11"/>
            <p:custDataLst>
              <p:tags r:id="rId6"/>
            </p:custDataLst>
          </p:nvPr>
        </p:nvSpPr>
        <p:spPr>
          <a:xfrm>
            <a:off x="6184669" y="1815353"/>
            <a:ext cx="5364480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4"/>
          <p:cNvSpPr>
            <a:spLocks noGrp="1"/>
          </p:cNvSpPr>
          <p:nvPr>
            <p:ph sz="quarter" idx="12"/>
            <p:custDataLst>
              <p:tags r:id="rId7"/>
            </p:custDataLst>
          </p:nvPr>
        </p:nvSpPr>
        <p:spPr>
          <a:xfrm>
            <a:off x="642851" y="4043202"/>
            <a:ext cx="10906298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Draft stamp">
            <a:extLst>
              <a:ext uri="{FF2B5EF4-FFF2-40B4-BE49-F238E27FC236}">
                <a16:creationId xmlns:a16="http://schemas.microsoft.com/office/drawing/2014/main" id="{E4D3AC3D-FB5C-4056-B3CE-C6F20174717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:a16="http://schemas.microsoft.com/office/drawing/2014/main" id="{D8BE6AE2-E4FA-4A4C-9F4A-0801F27EF15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7" name="Page Number">
            <a:extLst>
              <a:ext uri="{FF2B5EF4-FFF2-40B4-BE49-F238E27FC236}">
                <a16:creationId xmlns:a16="http://schemas.microsoft.com/office/drawing/2014/main" id="{B132AC77-15B7-427D-9EDA-27E044A04CD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9" name="Presentation Disclaimer">
            <a:extLst>
              <a:ext uri="{FF2B5EF4-FFF2-40B4-BE49-F238E27FC236}">
                <a16:creationId xmlns:a16="http://schemas.microsoft.com/office/drawing/2014/main" id="{C1ACCB47-82D5-446E-80FB-2690A95152B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0" name="Section Footer">
            <a:extLst>
              <a:ext uri="{FF2B5EF4-FFF2-40B4-BE49-F238E27FC236}">
                <a16:creationId xmlns:a16="http://schemas.microsoft.com/office/drawing/2014/main" id="{9A254952-4576-4CFE-B61C-9E618027811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DDE2759-0B78-4BAC-9091-A3898FCC7E2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D178E40-037A-4FB9-9A78-25D7EB7BC066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983547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 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6"/>
            </p:custDataLst>
          </p:nvPr>
        </p:nvSpPr>
        <p:spPr>
          <a:xfrm>
            <a:off x="4339244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7"/>
            </p:custDataLst>
          </p:nvPr>
        </p:nvSpPr>
        <p:spPr>
          <a:xfrm>
            <a:off x="8035636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Report Date">
            <a:extLst>
              <a:ext uri="{FF2B5EF4-FFF2-40B4-BE49-F238E27FC236}">
                <a16:creationId xmlns:a16="http://schemas.microsoft.com/office/drawing/2014/main" id="{71242622-92E5-4577-9939-C23982B6F0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5" name="Page Number">
            <a:extLst>
              <a:ext uri="{FF2B5EF4-FFF2-40B4-BE49-F238E27FC236}">
                <a16:creationId xmlns:a16="http://schemas.microsoft.com/office/drawing/2014/main" id="{7253FE5D-87D6-4F45-BF52-14884C4140B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6" name="Presentation Disclaimer">
            <a:extLst>
              <a:ext uri="{FF2B5EF4-FFF2-40B4-BE49-F238E27FC236}">
                <a16:creationId xmlns:a16="http://schemas.microsoft.com/office/drawing/2014/main" id="{2DE48912-752E-4B28-992E-A8018FA045F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7" name="Section Footer">
            <a:extLst>
              <a:ext uri="{FF2B5EF4-FFF2-40B4-BE49-F238E27FC236}">
                <a16:creationId xmlns:a16="http://schemas.microsoft.com/office/drawing/2014/main" id="{24E13DC1-0CD8-4F00-BEB6-8ED480D1657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7E1B077-C346-4667-9422-134889A69A8E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30B69CA-5FCE-4A4A-B144-701CC8BBBE64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raft stamp">
            <a:extLst>
              <a:ext uri="{FF2B5EF4-FFF2-40B4-BE49-F238E27FC236}">
                <a16:creationId xmlns:a16="http://schemas.microsoft.com/office/drawing/2014/main" id="{8BA4733D-DD24-4E66-AB15-27D0B8AA9EB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60983398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642851" y="1815353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6184669" y="1815353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42851" y="4042186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184669" y="4042186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1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Section Header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21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:a16="http://schemas.microsoft.com/office/drawing/2014/main" id="{C9AC37EA-A51B-4D19-8AFD-D5550BB1DBD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2" name="Page Number">
            <a:extLst>
              <a:ext uri="{FF2B5EF4-FFF2-40B4-BE49-F238E27FC236}">
                <a16:creationId xmlns:a16="http://schemas.microsoft.com/office/drawing/2014/main" id="{D5E4965D-0DB2-40AB-8C54-A02F73111BD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5D5F1A31-F3C3-4E8D-8EE5-5D802CF63C9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8" name="Section Footer">
            <a:extLst>
              <a:ext uri="{FF2B5EF4-FFF2-40B4-BE49-F238E27FC236}">
                <a16:creationId xmlns:a16="http://schemas.microsoft.com/office/drawing/2014/main" id="{386FB611-2223-4501-B9AF-3FF47256085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337E43E-8B9E-4332-A613-62823857903C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42FC379-8CCB-4D1B-B59F-CD6E374799E5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raft stamp">
            <a:extLst>
              <a:ext uri="{FF2B5EF4-FFF2-40B4-BE49-F238E27FC236}">
                <a16:creationId xmlns:a16="http://schemas.microsoft.com/office/drawing/2014/main" id="{2F22AEF7-CCE6-447D-A2ED-AE17E661B93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6069724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>
            <p:custDataLst>
              <p:tags r:id="rId1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5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379569574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12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35578052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/>
          </a:p>
        </p:txBody>
      </p:sp>
      <p:sp>
        <p:nvSpPr>
          <p:cNvPr id="6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7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878B0EBC-141B-4C4F-A362-F528990FC2B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15" name="Page Number">
            <a:extLst>
              <a:ext uri="{FF2B5EF4-FFF2-40B4-BE49-F238E27FC236}">
                <a16:creationId xmlns:a16="http://schemas.microsoft.com/office/drawing/2014/main" id="{C9163938-2785-4D1F-BF6D-38BF33DF9B9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16" name="Presentation Disclaimer">
            <a:extLst>
              <a:ext uri="{FF2B5EF4-FFF2-40B4-BE49-F238E27FC236}">
                <a16:creationId xmlns:a16="http://schemas.microsoft.com/office/drawing/2014/main" id="{C7F05687-DF8A-4343-AC91-BC2675AFB87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3" name="Section Footer">
            <a:extLst>
              <a:ext uri="{FF2B5EF4-FFF2-40B4-BE49-F238E27FC236}">
                <a16:creationId xmlns:a16="http://schemas.microsoft.com/office/drawing/2014/main" id="{DED794C3-4383-43AC-902C-5A450186D19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4F52D2-7367-4B0E-9D2D-29AFCA9CD2C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F7E5360-4F8D-4FCD-B7AC-F798EC35A7AE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raft stamp">
            <a:extLst>
              <a:ext uri="{FF2B5EF4-FFF2-40B4-BE49-F238E27FC236}">
                <a16:creationId xmlns:a16="http://schemas.microsoft.com/office/drawing/2014/main" id="{1DF6D7B6-5867-4B92-8FBA-C62AA2356B0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2232804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7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EA7A290B-C63D-405E-8ACC-CE7A7042C43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18" name="Page Number">
            <a:extLst>
              <a:ext uri="{FF2B5EF4-FFF2-40B4-BE49-F238E27FC236}">
                <a16:creationId xmlns:a16="http://schemas.microsoft.com/office/drawing/2014/main" id="{A58703A6-1313-434F-9F41-5C0717B2C4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19" name="Presentation Disclaimer">
            <a:extLst>
              <a:ext uri="{FF2B5EF4-FFF2-40B4-BE49-F238E27FC236}">
                <a16:creationId xmlns:a16="http://schemas.microsoft.com/office/drawing/2014/main" id="{FEED1EAE-54DA-4BFE-B8AA-01FAFBE1AB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1" name="Section Footer">
            <a:extLst>
              <a:ext uri="{FF2B5EF4-FFF2-40B4-BE49-F238E27FC236}">
                <a16:creationId xmlns:a16="http://schemas.microsoft.com/office/drawing/2014/main" id="{F1847CC5-B1D1-4474-9C3E-39FBF238FC9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891E66-7DDE-4707-BC15-833A2E60B93F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939BE09-0D2C-4954-8138-608BE1226ADD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raft stamp">
            <a:extLst>
              <a:ext uri="{FF2B5EF4-FFF2-40B4-BE49-F238E27FC236}">
                <a16:creationId xmlns:a16="http://schemas.microsoft.com/office/drawing/2014/main" id="{6C4C93B2-A619-441E-B329-F1D1D1339EB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5463467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7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EA7A290B-C63D-405E-8ACC-CE7A7042C43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18" name="Page Number">
            <a:extLst>
              <a:ext uri="{FF2B5EF4-FFF2-40B4-BE49-F238E27FC236}">
                <a16:creationId xmlns:a16="http://schemas.microsoft.com/office/drawing/2014/main" id="{A58703A6-1313-434F-9F41-5C0717B2C4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19" name="Presentation Disclaimer">
            <a:extLst>
              <a:ext uri="{FF2B5EF4-FFF2-40B4-BE49-F238E27FC236}">
                <a16:creationId xmlns:a16="http://schemas.microsoft.com/office/drawing/2014/main" id="{FEED1EAE-54DA-4BFE-B8AA-01FAFBE1AB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1" name="Section Footer">
            <a:extLst>
              <a:ext uri="{FF2B5EF4-FFF2-40B4-BE49-F238E27FC236}">
                <a16:creationId xmlns:a16="http://schemas.microsoft.com/office/drawing/2014/main" id="{F1847CC5-B1D1-4474-9C3E-39FBF238FC9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891E66-7DDE-4707-BC15-833A2E60B93F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939BE09-0D2C-4954-8138-608BE1226ADD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raft stamp">
            <a:extLst>
              <a:ext uri="{FF2B5EF4-FFF2-40B4-BE49-F238E27FC236}">
                <a16:creationId xmlns:a16="http://schemas.microsoft.com/office/drawing/2014/main" id="{6C4C93B2-A619-441E-B329-F1D1D1339EB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72590950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 a Glanc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3513513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At a glance 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6"/>
            </p:custDataLst>
          </p:nvPr>
        </p:nvSpPr>
        <p:spPr>
          <a:xfrm>
            <a:off x="4339244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7"/>
            </p:custDataLst>
          </p:nvPr>
        </p:nvSpPr>
        <p:spPr>
          <a:xfrm>
            <a:off x="8035636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3EFFD349-10E5-48CF-8A59-EF1555B521B2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8"/>
            </p:custDataLst>
          </p:nvPr>
        </p:nvSpPr>
        <p:spPr>
          <a:xfrm>
            <a:off x="4339244" y="949817"/>
            <a:ext cx="7209905" cy="742278"/>
          </a:xfrm>
        </p:spPr>
        <p:txBody>
          <a:bodyPr tIns="0" bIns="0"/>
          <a:lstStyle>
            <a:lvl1pPr>
              <a:defRPr sz="882" b="1" i="0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– Insert text here </a:t>
            </a:r>
          </a:p>
        </p:txBody>
      </p:sp>
      <p:sp>
        <p:nvSpPr>
          <p:cNvPr id="25" name="Report Date">
            <a:extLst>
              <a:ext uri="{FF2B5EF4-FFF2-40B4-BE49-F238E27FC236}">
                <a16:creationId xmlns:a16="http://schemas.microsoft.com/office/drawing/2014/main" id="{0665A064-6277-415D-A60B-2C406E27F0A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6" name="Page Number">
            <a:extLst>
              <a:ext uri="{FF2B5EF4-FFF2-40B4-BE49-F238E27FC236}">
                <a16:creationId xmlns:a16="http://schemas.microsoft.com/office/drawing/2014/main" id="{3E3BCC40-17E6-40CE-86FB-031964A7D93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E93B3E1C-A734-4BF7-8D8A-7ABE20B0541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EAB395CC-B6E8-411B-AD9B-E9D9855FB07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4D888D0-1439-411F-967C-CAA5F572B50E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D75FF6B-0198-42AD-B231-B2AA3F0AE8FC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raft stamp">
            <a:extLst>
              <a:ext uri="{FF2B5EF4-FFF2-40B4-BE49-F238E27FC236}">
                <a16:creationId xmlns:a16="http://schemas.microsoft.com/office/drawing/2014/main" id="{E209326F-C152-4F60-A83B-88FAC2D99544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464889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loss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Glossary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1090629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BCDE7FFC-7693-4723-B753-B6E41BB1B5E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3" name="Page Number">
            <a:extLst>
              <a:ext uri="{FF2B5EF4-FFF2-40B4-BE49-F238E27FC236}">
                <a16:creationId xmlns:a16="http://schemas.microsoft.com/office/drawing/2014/main" id="{48686681-E6DE-42F4-A1DD-218D21E6C1A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4" name="Presentation Disclaimer">
            <a:extLst>
              <a:ext uri="{FF2B5EF4-FFF2-40B4-BE49-F238E27FC236}">
                <a16:creationId xmlns:a16="http://schemas.microsoft.com/office/drawing/2014/main" id="{3DD43CF5-DB97-4C55-B532-40D00A448FD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5" name="Section Footer">
            <a:extLst>
              <a:ext uri="{FF2B5EF4-FFF2-40B4-BE49-F238E27FC236}">
                <a16:creationId xmlns:a16="http://schemas.microsoft.com/office/drawing/2014/main" id="{21726509-E513-4245-AE69-0956E3B4711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74265E-D6B4-4307-BBAE-41A376249A96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2174D3C-422F-4C24-91E7-4C14614D41BB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raft stamp">
            <a:extLst>
              <a:ext uri="{FF2B5EF4-FFF2-40B4-BE49-F238E27FC236}">
                <a16:creationId xmlns:a16="http://schemas.microsoft.com/office/drawing/2014/main" id="{B9EC7613-0765-4C3E-A317-ECEF6A7225C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86125095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5609"/>
            <a:ext cx="7891549" cy="665349"/>
          </a:xfrm>
          <a:solidFill>
            <a:schemeClr val="accent6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353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4FBEF6FA-A0C7-46EC-AFF5-9AFA4782851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B864BC2B-A74D-467D-99EB-1EE062BBD3C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77669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5609"/>
            <a:ext cx="7891549" cy="665349"/>
          </a:xfrm>
          <a:solidFill>
            <a:schemeClr val="accent1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353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0E108681-ED46-4FCD-AF9B-B0F12DB8236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9FB0E485-E0C8-4B7D-BB20-D326D12F239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18750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1294"/>
            <a:ext cx="7892524" cy="669664"/>
          </a:xfrm>
          <a:solidFill>
            <a:schemeClr val="accent6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3530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784D724-50E8-40C9-83D5-3D08BB1550D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DB77E1-10C5-41A7-B534-2D41309DC8D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755925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1294"/>
            <a:ext cx="7892524" cy="669664"/>
          </a:xfrm>
          <a:solidFill>
            <a:schemeClr val="accent4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3530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2C19DD9-BA46-4527-91D3-9377718D0CB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1998C4-AD53-42B5-93F1-BC4AA20A524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3926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5309062" cy="2517289"/>
          </a:xfrm>
        </p:spPr>
        <p:txBody>
          <a:bodyPr vert="horz" lIns="0" tIns="0" rIns="0" bIns="0" rtlCol="0" anchor="b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4236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Thank you</a:t>
            </a:r>
            <a:endParaRPr lang="en-GB"/>
          </a:p>
        </p:txBody>
      </p:sp>
      <p:sp>
        <p:nvSpPr>
          <p:cNvPr id="8" name="Slide Tags" hidden="1"/>
          <p:cNvSpPr txBox="1"/>
          <p:nvPr>
            <p:custDataLst>
              <p:tags r:id="rId1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AF4687C-57A8-453A-A049-0D4DDFEA3263}"/>
              </a:ext>
            </a:extLst>
          </p:cNvPr>
          <p:cNvSpPr/>
          <p:nvPr/>
        </p:nvSpPr>
        <p:spPr bwMode="hidden">
          <a:xfrm>
            <a:off x="0" y="4940855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1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C2BBAF-6A4B-47CB-BD75-5168D1A27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5212080"/>
            <a:ext cx="10906298" cy="137160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[Legal]</a:t>
            </a:r>
          </a:p>
        </p:txBody>
      </p:sp>
    </p:spTree>
    <p:extLst>
      <p:ext uri="{BB962C8B-B14F-4D97-AF65-F5344CB8AC3E}">
        <p14:creationId xmlns:p14="http://schemas.microsoft.com/office/powerpoint/2010/main" val="255585708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9">
            <a:extLst>
              <a:ext uri="{FF2B5EF4-FFF2-40B4-BE49-F238E27FC236}">
                <a16:creationId xmlns:a16="http://schemas.microsoft.com/office/drawing/2014/main" id="{88EEE73C-8877-43D1-86A9-69E953630E6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709" r="24167"/>
          <a:stretch/>
        </p:blipFill>
        <p:spPr>
          <a:xfrm>
            <a:off x="2493818" y="3"/>
            <a:ext cx="9698182" cy="6868345"/>
          </a:xfrm>
          <a:prstGeom prst="rect">
            <a:avLst/>
          </a:pr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2869856-6182-4B8D-938C-EBFCD02C87F2}"/>
              </a:ext>
            </a:extLst>
          </p:cNvPr>
          <p:cNvSpPr>
            <a:spLocks noChangeAspect="1"/>
          </p:cNvSpPr>
          <p:nvPr/>
        </p:nvSpPr>
        <p:spPr bwMode="white">
          <a:xfrm>
            <a:off x="2" y="1"/>
            <a:ext cx="8367536" cy="68580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068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687912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9">
            <a:extLst>
              <a:ext uri="{FF2B5EF4-FFF2-40B4-BE49-F238E27FC236}">
                <a16:creationId xmlns:a16="http://schemas.microsoft.com/office/drawing/2014/main" id="{627FAFAA-285F-4945-A3A2-666A8A502E1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709" r="24167"/>
          <a:stretch/>
        </p:blipFill>
        <p:spPr>
          <a:xfrm>
            <a:off x="2493818" y="3"/>
            <a:ext cx="9698182" cy="6868345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575F215B-4184-4392-9C86-1A188FA31F05}"/>
              </a:ext>
            </a:extLst>
          </p:cNvPr>
          <p:cNvSpPr>
            <a:spLocks noChangeAspect="1"/>
          </p:cNvSpPr>
          <p:nvPr/>
        </p:nvSpPr>
        <p:spPr bwMode="white">
          <a:xfrm>
            <a:off x="2" y="1"/>
            <a:ext cx="8367536" cy="68580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068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D160942-482E-4DB8-A58E-71FBEDE772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11" name="Report Title">
            <a:extLst>
              <a:ext uri="{FF2B5EF4-FFF2-40B4-BE49-F238E27FC236}">
                <a16:creationId xmlns:a16="http://schemas.microsoft.com/office/drawing/2014/main" id="{12C0EFB5-DB4A-44B7-BEB6-50F77D1D323D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2EEB4B15-EBE2-4CC7-87E7-CF12291C9A89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6" name="Confidentiality Stamp">
            <a:extLst>
              <a:ext uri="{FF2B5EF4-FFF2-40B4-BE49-F238E27FC236}">
                <a16:creationId xmlns:a16="http://schemas.microsoft.com/office/drawing/2014/main" id="{BB6F76BA-CA5E-46B1-A4FE-A04494BA1F4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7" name="Draft Stamp">
            <a:extLst>
              <a:ext uri="{FF2B5EF4-FFF2-40B4-BE49-F238E27FC236}">
                <a16:creationId xmlns:a16="http://schemas.microsoft.com/office/drawing/2014/main" id="{FD086E63-2C7B-45FF-B665-56AD61AC323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port Date">
            <a:extLst>
              <a:ext uri="{FF2B5EF4-FFF2-40B4-BE49-F238E27FC236}">
                <a16:creationId xmlns:a16="http://schemas.microsoft.com/office/drawing/2014/main" id="{2093D07F-E838-4E22-A6DD-E50DBC55755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232234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 a Glanc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3513513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At a glance 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6"/>
            </p:custDataLst>
          </p:nvPr>
        </p:nvSpPr>
        <p:spPr>
          <a:xfrm>
            <a:off x="4339244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7"/>
            </p:custDataLst>
          </p:nvPr>
        </p:nvSpPr>
        <p:spPr>
          <a:xfrm>
            <a:off x="8035636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3EFFD349-10E5-48CF-8A59-EF1555B521B2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8"/>
            </p:custDataLst>
          </p:nvPr>
        </p:nvSpPr>
        <p:spPr>
          <a:xfrm>
            <a:off x="4339244" y="949817"/>
            <a:ext cx="7209905" cy="742278"/>
          </a:xfrm>
        </p:spPr>
        <p:txBody>
          <a:bodyPr tIns="0" bIns="0"/>
          <a:lstStyle>
            <a:lvl1pPr>
              <a:defRPr sz="882" b="1" i="0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– Insert text here </a:t>
            </a:r>
          </a:p>
        </p:txBody>
      </p:sp>
      <p:sp>
        <p:nvSpPr>
          <p:cNvPr id="25" name="Report Date">
            <a:extLst>
              <a:ext uri="{FF2B5EF4-FFF2-40B4-BE49-F238E27FC236}">
                <a16:creationId xmlns:a16="http://schemas.microsoft.com/office/drawing/2014/main" id="{0665A064-6277-415D-A60B-2C406E27F0A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6" name="Page Number">
            <a:extLst>
              <a:ext uri="{FF2B5EF4-FFF2-40B4-BE49-F238E27FC236}">
                <a16:creationId xmlns:a16="http://schemas.microsoft.com/office/drawing/2014/main" id="{3E3BCC40-17E6-40CE-86FB-031964A7D93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E93B3E1C-A734-4BF7-8D8A-7ABE20B0541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EAB395CC-B6E8-411B-AD9B-E9D9855FB07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4D888D0-1439-411F-967C-CAA5F572B50E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D75FF6B-0198-42AD-B231-B2AA3F0AE8FC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raft stamp">
            <a:extLst>
              <a:ext uri="{FF2B5EF4-FFF2-40B4-BE49-F238E27FC236}">
                <a16:creationId xmlns:a16="http://schemas.microsoft.com/office/drawing/2014/main" id="{E209326F-C152-4F60-A83B-88FAC2D99544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38288720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025323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tle Slide 2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2743200" y="1"/>
            <a:ext cx="9448800" cy="68579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1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" y="1"/>
            <a:ext cx="8367536" cy="6858000"/>
            <a:chOff x="1" y="3"/>
            <a:chExt cx="6126163" cy="6858000"/>
          </a:xfrm>
          <a:solidFill>
            <a:schemeClr val="accent6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068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  <a:grpFill/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69937" y="4208056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569938" y="4722192"/>
            <a:ext cx="3258602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569937" y="3751729"/>
            <a:ext cx="2911018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308284" y="3167623"/>
            <a:ext cx="8145368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9937" y="2217741"/>
            <a:ext cx="6348201" cy="65184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4236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69937" y="3477409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72219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tle Slide 3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2743200" y="1"/>
            <a:ext cx="9448800" cy="68579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1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" y="1"/>
            <a:ext cx="8367536" cy="6858000"/>
            <a:chOff x="1" y="3"/>
            <a:chExt cx="6126163" cy="68580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068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69937" y="4208056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569938" y="4722192"/>
            <a:ext cx="3258602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569937" y="3751729"/>
            <a:ext cx="2911018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308284" y="3167623"/>
            <a:ext cx="8145368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9937" y="2217741"/>
            <a:ext cx="6348201" cy="65184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4236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69937" y="3477409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360706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3484C0D-6176-452F-9734-BCF5DF2748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8677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3484C0D-6176-452F-9734-BCF5DF2748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Google Shape;24;p12"/>
          <p:cNvSpPr txBox="1">
            <a:spLocks noGrp="1"/>
          </p:cNvSpPr>
          <p:nvPr>
            <p:ph type="title"/>
          </p:nvPr>
        </p:nvSpPr>
        <p:spPr>
          <a:xfrm>
            <a:off x="442913" y="274544"/>
            <a:ext cx="11306175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  <a:defRPr sz="2800">
                <a:solidFill>
                  <a:schemeClr val="tx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" name="Google Shape;75;p2">
            <a:extLst>
              <a:ext uri="{FF2B5EF4-FFF2-40B4-BE49-F238E27FC236}">
                <a16:creationId xmlns:a16="http://schemas.microsoft.com/office/drawing/2014/main" id="{15733BA1-7A19-46BC-94D4-AA73D5B54FD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lvl="0"/>
            <a:fld id="{00000000-1234-1234-1234-123412341234}" type="slidenum">
              <a:rPr lang="en-US"/>
              <a:pPr lvl="0"/>
              <a:t>‹#›</a:t>
            </a:fld>
            <a:endParaRPr lang="en-US"/>
          </a:p>
        </p:txBody>
      </p:sp>
      <p:sp>
        <p:nvSpPr>
          <p:cNvPr id="9" name="Google Shape;76;p2">
            <a:extLst>
              <a:ext uri="{FF2B5EF4-FFF2-40B4-BE49-F238E27FC236}">
                <a16:creationId xmlns:a16="http://schemas.microsoft.com/office/drawing/2014/main" id="{F90358ED-B9E4-4B7A-98F8-7ED4D7F4D258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9753600" y="649224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ep 23</a:t>
            </a:r>
            <a:endParaRPr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6FDEDB9-2304-493D-BD8E-B70153449AC3}"/>
              </a:ext>
            </a:extLst>
          </p:cNvPr>
          <p:cNvCxnSpPr>
            <a:cxnSpLocks/>
          </p:cNvCxnSpPr>
          <p:nvPr userDrawn="1"/>
        </p:nvCxnSpPr>
        <p:spPr>
          <a:xfrm>
            <a:off x="0" y="1110482"/>
            <a:ext cx="12192000" cy="0"/>
          </a:xfrm>
          <a:prstGeom prst="line">
            <a:avLst/>
          </a:prstGeom>
          <a:ln w="254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C9CF0553-8850-4340-B496-AF2A4B7C163E}"/>
              </a:ext>
            </a:extLst>
          </p:cNvPr>
          <p:cNvGrpSpPr/>
          <p:nvPr userDrawn="1"/>
        </p:nvGrpSpPr>
        <p:grpSpPr>
          <a:xfrm>
            <a:off x="11163300" y="1028412"/>
            <a:ext cx="591246" cy="164140"/>
            <a:chOff x="10705057" y="974091"/>
            <a:chExt cx="935189" cy="25962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3F50E06-3BA3-45B0-872E-2A68E4020100}"/>
                </a:ext>
              </a:extLst>
            </p:cNvPr>
            <p:cNvSpPr/>
            <p:nvPr userDrawn="1"/>
          </p:nvSpPr>
          <p:spPr>
            <a:xfrm>
              <a:off x="10705057" y="974091"/>
              <a:ext cx="260263" cy="25962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ABE8DA4A-B361-4FAD-A5A6-ADCCEEE72520}"/>
                </a:ext>
              </a:extLst>
            </p:cNvPr>
            <p:cNvSpPr/>
            <p:nvPr userDrawn="1"/>
          </p:nvSpPr>
          <p:spPr>
            <a:xfrm>
              <a:off x="11042520" y="974091"/>
              <a:ext cx="260263" cy="25962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4F0084-564A-428C-A03F-C139E2F54A41}"/>
                </a:ext>
              </a:extLst>
            </p:cNvPr>
            <p:cNvSpPr/>
            <p:nvPr userDrawn="1"/>
          </p:nvSpPr>
          <p:spPr>
            <a:xfrm>
              <a:off x="11379983" y="974091"/>
              <a:ext cx="260263" cy="25962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1443908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AF55A2-2C43-4003-B7DB-BB2BA8FD1A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5882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AF55A2-2C43-4003-B7DB-BB2BA8FD1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spcAft>
                <a:spcPts val="1200"/>
              </a:spcAft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693523"/>
            <a:ext cx="5473700" cy="594360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9AE8A82-226D-458A-B26F-C73B563AC241}"/>
              </a:ext>
            </a:extLst>
          </p:cNvPr>
          <p:cNvSpPr/>
          <p:nvPr userDrawn="1"/>
        </p:nvSpPr>
        <p:spPr>
          <a:xfrm rot="5400000">
            <a:off x="2605770" y="3352800"/>
            <a:ext cx="685800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66641388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AF55A2-2C43-4003-B7DB-BB2BA8FD1A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5882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AF55A2-2C43-4003-B7DB-BB2BA8FD1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spcAft>
                <a:spcPts val="1200"/>
              </a:spcAft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4978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4978400"/>
            <a:ext cx="6096000" cy="18796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693523"/>
            <a:ext cx="5473700" cy="594360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101106372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Quote 1 Image Oran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F37D7A94-5169-4B57-B053-68AF3C9AE5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BDB9795-14DB-4611-A356-F1F92FE05ED1}"/>
              </a:ext>
            </a:extLst>
          </p:cNvPr>
          <p:cNvSpPr/>
          <p:nvPr userDrawn="1"/>
        </p:nvSpPr>
        <p:spPr>
          <a:xfrm>
            <a:off x="0" y="1111250"/>
            <a:ext cx="6095999" cy="46355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737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GB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47370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388" y="2103437"/>
            <a:ext cx="5473699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8C77347-C792-41EE-BAB8-07B37B9B5F0A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855CA0F-B925-4009-AFC7-2C64D81F36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FBE9ADE-3F54-4820-9478-1C0D6A25329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1537D5A3-B672-4852-AC41-91EB6B6297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131736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B52FF2-B0F4-45DD-A87C-48894EB805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20C8C2-5A90-4085-B9FF-867ED538D4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3696E5-70B2-49C1-926F-8396FFF1DA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010AE5-57B8-43B8-B446-15A24E1642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23B54E-95DE-4D65-9C51-FC98EC29D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42851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B2CA3-3925-45BA-8680-CD11ABB87F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8843E2-1C6D-4AC5-BA66-93FE0F3C01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8D39FB-F21B-4B1E-9EC5-C09589B060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54921A-BC88-4CA8-8AD7-77775C2138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D58CCC-410E-4125-9D19-972F8E5D27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92937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loss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Glossary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1090629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BCDE7FFC-7693-4723-B753-B6E41BB1B5E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3" name="Page Number">
            <a:extLst>
              <a:ext uri="{FF2B5EF4-FFF2-40B4-BE49-F238E27FC236}">
                <a16:creationId xmlns:a16="http://schemas.microsoft.com/office/drawing/2014/main" id="{48686681-E6DE-42F4-A1DD-218D21E6C1A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4" name="Presentation Disclaimer">
            <a:extLst>
              <a:ext uri="{FF2B5EF4-FFF2-40B4-BE49-F238E27FC236}">
                <a16:creationId xmlns:a16="http://schemas.microsoft.com/office/drawing/2014/main" id="{3DD43CF5-DB97-4C55-B532-40D00A448FD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5" name="Section Footer">
            <a:extLst>
              <a:ext uri="{FF2B5EF4-FFF2-40B4-BE49-F238E27FC236}">
                <a16:creationId xmlns:a16="http://schemas.microsoft.com/office/drawing/2014/main" id="{21726509-E513-4245-AE69-0956E3B4711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74265E-D6B4-4307-BBAE-41A376249A96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2174D3C-422F-4C24-91E7-4C14614D41BB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raft stamp">
            <a:extLst>
              <a:ext uri="{FF2B5EF4-FFF2-40B4-BE49-F238E27FC236}">
                <a16:creationId xmlns:a16="http://schemas.microsoft.com/office/drawing/2014/main" id="{B9EC7613-0765-4C3E-A317-ECEF6A7225C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40182774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A66843-3F16-4DF5-B4F6-3B92A9A0DC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E7E189-C2AA-4C9E-8D29-51416FB73D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BB3266-CD2A-4E1A-8DCA-49A3874C0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8778A-C1B3-4258-B8F8-90A617608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00BD33-A8F3-4887-AD4D-CD666B3104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59164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97097A-1A05-41E4-A216-04FC5226E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051351-F7B4-4316-8F8C-B7024F10F61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73FF61-AB58-491C-AC25-288E7365FF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D1F73A-7A39-4CDF-8025-0873B43A4B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381657-A237-440A-B420-BF35E0AF9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935CAC-6C9A-4B59-84CF-129031E663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24877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10A70C-9D01-4502-B009-505EB4F042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E7980E-9BF8-4B2C-8160-F6EA894389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BE2EB6-3B54-4949-AE4C-07F0A83ADF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9A03E2-977A-422C-BBA4-E461AFBB5B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A47F30-113E-4EC9-979D-68A5FA9539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AACB795-79DD-4975-94A5-CFE269CA2A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4688243-BFE1-4274-A90D-6B55B6AB0A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2F9FDFE-1DB0-4B82-BD6C-EE264B7B2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89394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DE7BB3-BA4E-422A-834D-52EEB735BC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59292C-B14F-4591-B981-62102A3A3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6B56527-88F0-4CBA-BDA6-8E4F6D2F36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FDB9AD-5E1C-42FF-8632-BF7848032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42318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AC6B3E-B0F2-4040-B2FF-6020DE3C5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88F550E-928F-4DB0-AFF5-2183ADFDAC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46A2CC-CFE0-41B4-8541-CDCCA5159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12447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F67FF2-DFBD-43E9-85DA-BA8E2C5DA6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277E14-1580-44BA-AE58-11913DD522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26438B-2453-4415-9A00-6163F12866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0DB7C-4175-46B1-99F8-48F432A050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97E0A6-8E5A-4AF2-AF41-C6D9793D6A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EEB32F-4F3A-496C-BA78-C2520169C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84549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D156E4-FF4E-4218-AF39-AC305BD50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23BA82B-198E-4797-A623-5C664C4E93B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1EBE15-322D-4887-AE80-511968FC0B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EBE1F7-7DBF-4662-AE0A-AD580D5A7F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426A5D-B034-4781-8F14-709DC6622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9068A2-388B-4D59-A776-65BA88DC8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68679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7DF8DA-9F15-4998-87DB-62FAF221B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9626C38-80E5-4493-AC96-86F3B45AB2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F4BBD2-16B0-46A4-9A92-24DC2B535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2C6C4E-F156-4D6B-A792-EFBB2A2B9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719D8B-DDF8-4840-B833-5AB96DA3C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47238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DB30EC2-61B8-49F7-807F-894212CD632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4399CC-5347-4379-B102-E75C584B4E5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4B34B9-8D0D-4B56-8209-9787076C2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895AEE-DE5E-456D-AD02-4BCF899E11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0B56D6-186A-4846-8F4C-63C7EAE07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D16D4-4374-44A1-ACAE-D6690F2E11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05985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Full Content - Subtitle">
  <p:cSld name="1_Title and Full Content - Subtitle">
    <p:spTree>
      <p:nvGrpSpPr>
        <p:cNvPr id="1" name="Shape 1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9" name="Google Shape;1469;g1389d6804d3_5_5"/>
          <p:cNvSpPr txBox="1">
            <a:spLocks noGrp="1"/>
          </p:cNvSpPr>
          <p:nvPr>
            <p:ph type="title"/>
          </p:nvPr>
        </p:nvSpPr>
        <p:spPr>
          <a:xfrm>
            <a:off x="442913" y="430514"/>
            <a:ext cx="113061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0" name="Google Shape;1470;g1389d6804d3_5_5"/>
          <p:cNvSpPr txBox="1">
            <a:spLocks noGrp="1"/>
          </p:cNvSpPr>
          <p:nvPr>
            <p:ph type="subTitle" idx="1"/>
          </p:nvPr>
        </p:nvSpPr>
        <p:spPr>
          <a:xfrm>
            <a:off x="442912" y="933433"/>
            <a:ext cx="11306100" cy="8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1471" name="Google Shape;1471;g1389d6804d3_5_5"/>
          <p:cNvSpPr txBox="1">
            <a:spLocks noGrp="1"/>
          </p:cNvSpPr>
          <p:nvPr>
            <p:ph type="body" idx="2"/>
          </p:nvPr>
        </p:nvSpPr>
        <p:spPr>
          <a:xfrm>
            <a:off x="442913" y="2103438"/>
            <a:ext cx="113061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4776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endParaRPr/>
          </a:p>
        </p:txBody>
      </p:sp>
      <p:sp>
        <p:nvSpPr>
          <p:cNvPr id="1472" name="Google Shape;1472;g1389d6804d3_5_5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74012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5609"/>
            <a:ext cx="7891549" cy="665349"/>
          </a:xfrm>
          <a:solidFill>
            <a:schemeClr val="accent6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353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4FBEF6FA-A0C7-46EC-AFF5-9AFA4782851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B864BC2B-A74D-467D-99EB-1EE062BBD3C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00362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- Photo Dark">
  <p:cSld name="Title Slide - Photo Dark">
    <p:bg>
      <p:bgPr>
        <a:solidFill>
          <a:srgbClr val="7D7D7D"/>
        </a:solidFill>
        <a:effectLst/>
      </p:bgPr>
    </p:bg>
    <p:spTree>
      <p:nvGrpSpPr>
        <p:cNvPr id="1" name="Shape 118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457435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86380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2" y="2103120"/>
            <a:ext cx="11306175" cy="4073842"/>
          </a:xfrm>
        </p:spPr>
        <p:txBody>
          <a:bodyPr/>
          <a:lstStyle>
            <a:lvl1pPr marL="730250" indent="-7302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tabLst>
                <a:tab pos="10623550" algn="r"/>
              </a:tabLst>
              <a:defRPr sz="2800" b="0">
                <a:solidFill>
                  <a:schemeClr val="tx1"/>
                </a:solidFill>
              </a:defRPr>
            </a:lvl1pPr>
            <a:lvl2pPr marL="730250" indent="0">
              <a:buClr>
                <a:schemeClr val="accent4"/>
              </a:buClr>
              <a:buFont typeface="+mj-lt"/>
              <a:buNone/>
              <a:tabLst>
                <a:tab pos="10623550" algn="r"/>
              </a:tabLst>
              <a:defRPr sz="1600"/>
            </a:lvl2pPr>
            <a:lvl3pPr marL="914400" indent="-182563">
              <a:lnSpc>
                <a:spcPct val="100000"/>
              </a:lnSpc>
              <a:tabLst>
                <a:tab pos="10623550" algn="r"/>
              </a:tabLst>
              <a:defRPr/>
            </a:lvl3pPr>
            <a:lvl4pPr marL="1096963" indent="-182563">
              <a:lnSpc>
                <a:spcPct val="100000"/>
              </a:lnSpc>
              <a:tabLst>
                <a:tab pos="10623550" algn="r"/>
              </a:tabLst>
              <a:defRPr/>
            </a:lvl4pPr>
            <a:lvl5pPr marL="1279525" indent="-182563">
              <a:lnSpc>
                <a:spcPct val="100000"/>
              </a:lnSpc>
              <a:tabLst>
                <a:tab pos="10623550" algn="r"/>
              </a:tabLst>
              <a:defRPr/>
            </a:lvl5pPr>
            <a:lvl6pPr marL="1462088" indent="-182563">
              <a:lnSpc>
                <a:spcPct val="100000"/>
              </a:lnSpc>
              <a:tabLst>
                <a:tab pos="10623550" algn="r"/>
              </a:tabLst>
              <a:defRPr/>
            </a:lvl6pPr>
            <a:lvl7pPr marL="1644650" indent="-182563">
              <a:lnSpc>
                <a:spcPct val="100000"/>
              </a:lnSpc>
              <a:tabLst>
                <a:tab pos="10623550" algn="r"/>
              </a:tabLst>
              <a:defRPr/>
            </a:lvl7pPr>
            <a:lvl8pPr marL="1828800" indent="-182563">
              <a:lnSpc>
                <a:spcPct val="100000"/>
              </a:lnSpc>
              <a:tabLst>
                <a:tab pos="10623550" algn="r"/>
              </a:tabLst>
              <a:defRPr/>
            </a:lvl8pPr>
            <a:lvl9pPr marL="2011363" indent="-182563">
              <a:lnSpc>
                <a:spcPct val="100000"/>
              </a:lnSpc>
              <a:tabLst>
                <a:tab pos="10623550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9D4209-E45A-4260-A3B1-D7A5D7AA56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FFE2C-359F-4037-A7DF-6F25B3E499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38E50D-2DE6-4196-87FC-191118080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CA73BBCA-33E4-4AC8-9454-651E6D0A669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71125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2103120"/>
            <a:ext cx="11306175" cy="40738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50668A-0EE7-48C1-8BF2-56AEEE17A8F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E205AB-85FA-4C49-AD4A-895E6AF276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C80C30-6CBE-44A0-9AD4-88C468F7C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50A7B76A-5CB9-4CC4-9F49-C7CA344FE6F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39064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2103438"/>
            <a:ext cx="11306175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5E15C92-9B07-42BC-A14C-43FEE0970198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D62145-490F-4CEF-9B92-FCC07EEE51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15C3EF-8DA7-4E53-BF56-BFBF5953214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B7C673D7-33B1-4FAF-A44F-2E292651358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27207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324B224-F362-4A7C-82CD-EC94CE6E1D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390E4B-B7BD-4678-B9B7-70E2DDA4AF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AE06D1-9EA1-4FF8-AB4D-940C0D9817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137159D6-19FE-4564-AA39-656DD04C3A0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68993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758DF0-2055-C446-AF59-8BED8AF86DA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29D71C9-19EF-4BC6-84FE-429C02CA29D5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42C2BDB-1BF6-4542-A973-06F0DE07BD6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68ADE6-6F9B-493D-8B81-A0A8CF5F33F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556F754C-D51E-4089-86F5-F918945F6A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74985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B664D4-FDC5-4D1F-AF0F-6067AE2AA2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CC5186-35BD-44AC-8D59-ACEEEA57F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BBE6E1-63E6-4F03-A76C-46170907B7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16ED4C5F-BCA6-4339-970C-8BC35DA045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9123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473700" cy="40687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388" y="2103438"/>
            <a:ext cx="54737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615B74-69BB-4FA3-B61E-132E147D80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CC0D07-4D9D-4D06-AD6B-9E3FAF6ECD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E3FA86-4FF0-4411-82AF-F1BD986C3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857F4387-2D21-4B14-BDE4-67689A7AC7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65970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47370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388" y="2103437"/>
            <a:ext cx="5473699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6162085-1354-48C5-9C35-E692849DBA98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809EA6-A43E-4135-8436-2A94F0C28F7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DB37CF-EB3E-42F3-B9B1-F85FD600F48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096A651F-1183-40A5-860E-5F0B2A15AD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8518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E44432-2DD3-429B-9192-CDE2430039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5" y="1401"/>
          <a:ext cx="1925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3" imgH="424" progId="TCLayout.ActiveDocument.1">
                  <p:embed/>
                </p:oleObj>
              </mc:Choice>
              <mc:Fallback>
                <p:oleObj name="think-cell Slide" r:id="rId10" imgW="423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E44432-2DD3-429B-9192-CDE2430039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25" y="1401"/>
                        <a:ext cx="1925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04E73762-5B0C-4A73-AAD9-B6C6DB42A1C9}"/>
              </a:ext>
            </a:extLst>
          </p:cNvPr>
          <p:cNvSpPr/>
          <p:nvPr/>
        </p:nvSpPr>
        <p:spPr>
          <a:xfrm>
            <a:off x="0" y="0"/>
            <a:ext cx="3147753" cy="685800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235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21C81E0-A595-44BD-A048-8DF8E985F86C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5" t="30898" r="32576" b="30525"/>
          <a:stretch/>
        </p:blipFill>
        <p:spPr>
          <a:xfrm>
            <a:off x="543224" y="941294"/>
            <a:ext cx="1175030" cy="669407"/>
          </a:xfrm>
          <a:prstGeom prst="rect">
            <a:avLst/>
          </a:prstGeom>
        </p:spPr>
      </p:pic>
      <p:sp>
        <p:nvSpPr>
          <p:cNvPr id="19" name="Draft stamp">
            <a:extLst>
              <a:ext uri="{FF2B5EF4-FFF2-40B4-BE49-F238E27FC236}">
                <a16:creationId xmlns:a16="http://schemas.microsoft.com/office/drawing/2014/main" id="{AF78C4E9-5EC7-47A9-8CD3-A576720D21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888DD68-89F1-4B99-A070-7459C90282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3225" y="1815353"/>
            <a:ext cx="2409846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EBB040F-A728-48CD-A5B9-F69EC5296F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225" y="5356604"/>
            <a:ext cx="2409846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ress Placeholder </a:t>
            </a:r>
          </a:p>
        </p:txBody>
      </p:sp>
      <p:cxnSp>
        <p:nvCxnSpPr>
          <p:cNvPr id="22" name="Frame Line">
            <a:extLst>
              <a:ext uri="{FF2B5EF4-FFF2-40B4-BE49-F238E27FC236}">
                <a16:creationId xmlns:a16="http://schemas.microsoft.com/office/drawing/2014/main" id="{F7BAF0B3-E029-470C-87E4-46D3229C1448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3585682" y="1748118"/>
            <a:ext cx="796913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33075B3C-DA49-4F57-9409-515CA5F8C1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5683" y="941295"/>
            <a:ext cx="3213601" cy="149362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1A63BB9A-729A-4857-BE09-F8368F34E8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5683" y="1815353"/>
            <a:ext cx="7963465" cy="36186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6" name="Report Date">
            <a:extLst>
              <a:ext uri="{FF2B5EF4-FFF2-40B4-BE49-F238E27FC236}">
                <a16:creationId xmlns:a16="http://schemas.microsoft.com/office/drawing/2014/main" id="{EE19D4BC-B65F-4593-B6DA-6CEA94B7B65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latin typeface="+mn-lt"/>
              </a:rPr>
              <a:t>1 April 2019</a:t>
            </a: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DBA60797-0C6B-4279-88BD-0214B400B51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8283" y="6317437"/>
            <a:ext cx="3037401" cy="10861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Strictly private and confidential</a:t>
            </a:r>
          </a:p>
        </p:txBody>
      </p:sp>
      <p:sp>
        <p:nvSpPr>
          <p:cNvPr id="28" name="Page Number">
            <a:extLst>
              <a:ext uri="{FF2B5EF4-FFF2-40B4-BE49-F238E27FC236}">
                <a16:creationId xmlns:a16="http://schemas.microsoft.com/office/drawing/2014/main" id="{0AC58CDE-7BF7-4E9A-86DE-005A8226C2D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7BC2F3DA-F5E4-44B0-8190-5C4510FA91E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31830" y="6468674"/>
            <a:ext cx="278118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A4FBAFA-F1A1-40A6-9134-3230D2D92D31}"/>
              </a:ext>
            </a:extLst>
          </p:cNvPr>
          <p:cNvSpPr txBox="1"/>
          <p:nvPr/>
        </p:nvSpPr>
        <p:spPr>
          <a:xfrm>
            <a:off x="543224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0810281-0E5A-4B69-940A-B5D1F833254D}"/>
              </a:ext>
            </a:extLst>
          </p:cNvPr>
          <p:cNvCxnSpPr>
            <a:cxnSpLocks/>
          </p:cNvCxnSpPr>
          <p:nvPr/>
        </p:nvCxnSpPr>
        <p:spPr>
          <a:xfrm>
            <a:off x="869680" y="6478603"/>
            <a:ext cx="0" cy="8875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HeaderTOCPlaceholder"/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43045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5609"/>
            <a:ext cx="7891549" cy="665349"/>
          </a:xfrm>
          <a:solidFill>
            <a:schemeClr val="accent1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353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0E108681-ED46-4FCD-AF9B-B0F12DB8236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9FB0E485-E0C8-4B7D-BB20-D326D12F239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53196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531780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317807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ED7AA0-17C2-48FB-ABC4-C692036AAF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D65541-882E-4A45-8ECE-C5A3B9B57FEF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9B3B5A-33B5-4BCD-9533-CB546E4D60C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DD0294-3637-40D7-952E-1F9B4C9E1E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FD978A89-DB4C-4A4D-A1F6-CB9EA5E807A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14932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430514"/>
            <a:ext cx="5317806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531780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31780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443C50-6CAD-4234-A949-FA7143D924B6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BB2B91-3926-4CB0-A68B-BE5462C5E9E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9B8BC6-DC04-46BE-8E49-24CBB32E7F4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4D9F5E95-DE2C-44DE-8193-4F7DBE8142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39144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32288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half" idx="13"/>
          </p:nvPr>
        </p:nvSpPr>
        <p:spPr>
          <a:xfrm>
            <a:off x="8220076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D2935A2-96F6-4BB3-89FD-FC7E0B7AAC9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E08D55-BFEA-48EA-9FEE-D9963A62CD8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94FD78-84B1-48BF-99D3-D982AC7338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27A9012A-2F01-4699-93A6-5D90B19ACA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20962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56B3548-5EB8-714F-93B3-BD8CE8C6C99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32288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half" idx="13"/>
          </p:nvPr>
        </p:nvSpPr>
        <p:spPr>
          <a:xfrm>
            <a:off x="8220076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2371D8-3798-4460-A323-117221868A3E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CD4006-5487-478B-8DE2-ED3306F05D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DBB61A-8E41-468F-9924-23F216700D0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2B0BD455-5C7F-4D16-9E8E-09BE9BF110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45384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150879-93C4-4546-813B-C50CAE90718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70A597-FEAF-45D9-A449-76BF870A6D9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156D880-4E6F-4C3C-961F-E988A8E201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9127B887-4DDE-42A1-8163-8EAB0C79B42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77377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2F08066-BCE7-3945-BE4E-1DEA43569B7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2A02B5-22E8-42D0-A0A9-89BF87208DE9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F5AAA9-9165-49B6-93C9-7D2D3D5C647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A0F376-3A29-4809-8584-4A1060D3269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31E00C8A-C5F8-4779-93F5-FFD0C57D4E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45287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20F6F5-8C97-42F9-B933-6E49A5BE15C1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F3A662-0D30-4A74-8822-72B1EE3A89D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7AD15AA-4F4A-4617-BFAC-B06C910B5CC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994F068D-C162-46C0-B2B2-FB14FE6A06C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22222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CBFC701-7287-1F4F-B6FA-1BECCBF324C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7ECB759-35BD-458D-A805-BCFA4CB91437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714D63-782A-4922-AD75-1B3B4A6B9C3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EA81B39-3B94-4A19-8E46-32A7370B423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898B0F21-B5BF-40AB-BCE2-6BDF75A3FFA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12679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F36C29E-E542-4CF8-8350-7B2993AB9F1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E49564D-E876-4F96-AA36-94443DF6A6B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D1C35B22-67CB-4342-8F23-814ABE95E98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B577CE-C519-4C33-A0D7-96CEEB1AAA22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FD1704-EED3-408F-BF93-90FB5302EDF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4715E4-B332-47CC-B948-22BBD14E942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63C902FF-F451-4E05-AC19-137759139AE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94052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CE153FD-285A-D647-ADE4-833E86A9CF52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DF41A2FF-FB3D-4971-8B6D-3BD731DE505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7662A741-222C-4F6F-9366-53AED64CAC1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2C7502DD-886C-4B7F-ACDF-7765ADE3972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E4C7C0-4113-4EC7-97D5-F285248B5BB4}"/>
              </a:ext>
            </a:extLst>
          </p:cNvPr>
          <p:cNvSpPr>
            <a:spLocks noGrp="1"/>
          </p:cNvSpPr>
          <p:nvPr>
            <p:ph type="dt" sz="half" idx="25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468ED7-55C9-4057-8284-7E991268B49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522479-8B79-4696-9018-11E6138D01D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09F80618-AE3A-4868-A8D6-92FD73B7873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4023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1294"/>
            <a:ext cx="7892524" cy="669664"/>
          </a:xfrm>
          <a:solidFill>
            <a:schemeClr val="accent6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3530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784D724-50E8-40C9-83D5-3D08BB1550D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DB77E1-10C5-41A7-B534-2D41309DC8D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52265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5647D158-444C-4C82-ACB0-9AB0A3521F0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723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09E9185D-B5E2-42D8-B0BB-64A2406425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4EDDB54A-2316-4869-8165-5986C6003418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3" name="Content Placeholder 5">
            <a:extLst>
              <a:ext uri="{FF2B5EF4-FFF2-40B4-BE49-F238E27FC236}">
                <a16:creationId xmlns:a16="http://schemas.microsoft.com/office/drawing/2014/main" id="{C944BFAA-989E-4744-AC4B-DF3B93FF7EF7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692C747-CADA-4C74-8175-9AA8F6ED71AC}"/>
              </a:ext>
            </a:extLst>
          </p:cNvPr>
          <p:cNvSpPr>
            <a:spLocks noGrp="1"/>
          </p:cNvSpPr>
          <p:nvPr>
            <p:ph type="dt" sz="half" idx="25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FD46A1-9CEC-4453-A1F7-6AD99384BD4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88ADFC-32C6-45AB-8A30-FB93EDDD2BC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A92E3E58-F806-4C3B-9C1B-36EE0C4E94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31652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A3591F7-EFF5-C649-BCF8-906639EFF4C9}"/>
              </a:ext>
            </a:extLst>
          </p:cNvPr>
          <p:cNvSpPr>
            <a:spLocks noGrp="1"/>
          </p:cNvSpPr>
          <p:nvPr>
            <p:ph type="subTitle" idx="23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4F44128-4414-43CF-8270-05DD5E55901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723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550B7EC-9A89-4137-AC2C-8E055967FFC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CAE92F97-7ADC-46A9-8EB2-EF00E7B8C3B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5" name="Content Placeholder 5">
            <a:extLst>
              <a:ext uri="{FF2B5EF4-FFF2-40B4-BE49-F238E27FC236}">
                <a16:creationId xmlns:a16="http://schemas.microsoft.com/office/drawing/2014/main" id="{F0AE013A-6661-47CF-A7AF-4541D1BE18D6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E304909-EB3E-4226-A0AD-28E9C61DDE44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B3A2BC-39FF-4A24-ADA2-15AA5B23AB2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0F5468-0C78-43E9-9DBF-3F5D67303BC0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820AB890-3D1B-46D5-A750-4D5810A26BC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65833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4"/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5"/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7BDE18C-B6F5-4F07-92F2-88EB0F06DA8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723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EAB83E31-ADC6-4472-8BCC-A5123751071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2C9889D5-4B26-4E63-BD3D-E58AF8BFA96E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7636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3" name="Content Placeholder 5">
            <a:extLst>
              <a:ext uri="{FF2B5EF4-FFF2-40B4-BE49-F238E27FC236}">
                <a16:creationId xmlns:a16="http://schemas.microsoft.com/office/drawing/2014/main" id="{D4154D0B-36B2-465C-8CF8-5F641F04607D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A1BE45-F4C1-43C8-AC2A-F2DFDAE02963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86E302-D64B-4188-BAB9-3C3F58A4F7AB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9FB5F9-BD76-463F-86DB-65B3B4C9D4A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B7AD025A-3CD8-4D82-BBF5-18E858C5EB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79854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5194D818-D8E8-5342-BDE8-319BC1FCE4A9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136A12B2-03B5-4BC2-942B-CDF222899B39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19698F39-9E08-4628-9EAA-9DFB91AB41F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19DD7D57-3E24-4739-9180-648AACAD80C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C238DBFC-D359-4AE7-953F-513D1249339E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F75EAC27-A3D9-42D2-B8B6-307439DE0C9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723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8B897F92-3121-4E86-B159-DB3A78790D25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91ECA7E9-EB6F-4C5F-9E75-057DD0429E4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7636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5" name="Content Placeholder 5">
            <a:extLst>
              <a:ext uri="{FF2B5EF4-FFF2-40B4-BE49-F238E27FC236}">
                <a16:creationId xmlns:a16="http://schemas.microsoft.com/office/drawing/2014/main" id="{364D15F8-8EEC-45CD-98E7-4DEE5949D11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1C5F9B-3A40-43EB-8366-2AE6A872C541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FFB2DC-B89F-4A36-87BD-1521FDDE93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B95FD3-2BCE-4A64-AE4F-47C98554F79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5125D75C-2E4E-4601-BFC1-92A9C3BC5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684251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5F99CD6-CD78-469B-A8EF-48666160A33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331B5D-8347-4948-8604-A8B20FCECC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73F3E8-84ED-49ED-B5A1-5882B72B42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C96F2190-6338-4C9C-9079-AD57C24A7FA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89548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168D6DA-542B-6F48-A3F4-9AAC02852C7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213C14-352A-4DD3-9450-85662F7E1DB7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369682-5DB8-48A1-865F-E65FE07241D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CB4B20-EBA9-487D-9B1B-EB511A71BEE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D544564C-858B-4D40-8B9A-B8110AEC71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13009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4EC1A6F-FA29-4BEE-B1BE-937ACD57B03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AB2C04-C0ED-4D59-BFF9-B149DC079CE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929040-12F6-449F-8095-63BE39D74B3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5E61C234-BC36-461C-B084-E1891A2BDB6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1887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512688-49BA-4481-8BE9-5985BE7AA6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26323B-46A4-4841-B08C-C749B90C0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CE0E31-394D-479D-9D8C-BC60CF6C2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D3986899-1629-4147-8F81-E8B42539959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48532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38F713D-CA5A-475A-A9BA-B081A57097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6DF15D-16DE-4197-867E-EBEF5EF735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3D9A80-6258-426A-A41D-11EF6E6C1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4B3934A1-3231-4ADC-BC55-3632EF619B1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84955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53619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1294"/>
            <a:ext cx="7892524" cy="669664"/>
          </a:xfrm>
          <a:solidFill>
            <a:schemeClr val="accent4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3530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2C19DD9-BA46-4527-91D3-9377718D0CB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1998C4-AD53-42B5-93F1-BC4AA20A524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29635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8" name="Rectangle 7"/>
          <p:cNvSpPr/>
          <p:nvPr/>
        </p:nvSpPr>
        <p:spPr bwMode="hidden">
          <a:xfrm>
            <a:off x="0" y="2103438"/>
            <a:ext cx="3971925" cy="406876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0370" y="2377440"/>
            <a:ext cx="3611880" cy="1737360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3600" b="1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3931920"/>
            <a:ext cx="3328986" cy="20617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 marL="18288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91440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109728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28016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46304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327525" y="2095500"/>
            <a:ext cx="7421563" cy="4076699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BAA829-12A1-497E-BE39-4C60212EA556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D20497-AF67-4A79-B56F-DEF50980B65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AEF756-FEEF-4CF9-81C1-2F5EF691E45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FC370993-AF38-4D0E-A1DC-D52E338BD0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91825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327524" y="2095500"/>
            <a:ext cx="3533775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22571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4327525" y="3599542"/>
            <a:ext cx="3533775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222571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FC8B492-15B9-429F-A53A-D37865998C68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AD1622-1ED2-4569-B657-4B5AD5A6E4E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56959E-C961-400D-BE04-01A5E771D9FB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93713BF8-417C-4AAD-8F0C-78A7245BF25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72980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8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442913" y="2103438"/>
            <a:ext cx="11306175" cy="4068762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E62FA0-99AF-4FBF-9D14-0EFB8706E8D4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4F3CDA-9672-44DD-AB31-0D4CE6C63A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8BBE81-84BE-4129-9F49-19FA16C8A9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C8A7A4E4-20C8-45EF-BB70-D5CB5595445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8323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5473699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>
                <a:solidFill>
                  <a:schemeClr val="tx1"/>
                </a:solidFill>
              </a:rPr>
              <a:t>pwc.com</a:t>
            </a:r>
          </a:p>
        </p:txBody>
      </p:sp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09713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0767140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296675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6D911B5-C441-B44D-9980-56426B1A19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833148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F941B13-F925-1C4F-8990-F4149ED1B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603742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582021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5189152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5309062" cy="2517289"/>
          </a:xfrm>
        </p:spPr>
        <p:txBody>
          <a:bodyPr vert="horz" lIns="0" tIns="0" rIns="0" bIns="0" rtlCol="0" anchor="b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4236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Thank you</a:t>
            </a:r>
            <a:endParaRPr lang="en-GB"/>
          </a:p>
        </p:txBody>
      </p:sp>
      <p:sp>
        <p:nvSpPr>
          <p:cNvPr id="8" name="Slide Tags" hidden="1"/>
          <p:cNvSpPr txBox="1"/>
          <p:nvPr>
            <p:custDataLst>
              <p:tags r:id="rId1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AF4687C-57A8-453A-A049-0D4DDFEA3263}"/>
              </a:ext>
            </a:extLst>
          </p:cNvPr>
          <p:cNvSpPr/>
          <p:nvPr/>
        </p:nvSpPr>
        <p:spPr bwMode="hidden">
          <a:xfrm>
            <a:off x="0" y="4940855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1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C2BBAF-6A4B-47CB-BD75-5168D1A27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5212080"/>
            <a:ext cx="10906298" cy="137160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[Legal]</a:t>
            </a:r>
          </a:p>
        </p:txBody>
      </p:sp>
    </p:spTree>
    <p:extLst>
      <p:ext uri="{BB962C8B-B14F-4D97-AF65-F5344CB8AC3E}">
        <p14:creationId xmlns:p14="http://schemas.microsoft.com/office/powerpoint/2010/main" val="111256772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20158678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83421268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43000"/>
            <a:ext cx="4572000" cy="4572000"/>
          </a:xfrm>
          <a:solidFill>
            <a:srgbClr val="E0301E"/>
          </a:solidFill>
        </p:spPr>
        <p:txBody>
          <a:bodyPr lIns="438912" tIns="1440000" rIns="252000" bIns="180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442913" y="1623703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325BC2F-9C5A-4169-97B3-577DAB74631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3B7DB6-69E5-4C56-BEDB-F0D5B568A6C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035CA4-29F7-4105-8A41-FD1CEB72519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95935BED-F3D2-4F5C-B4CD-ADF8E56B6E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5224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1D54F43-51A7-463B-BB1C-E6647B610BF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C8B610-7029-4484-9DEE-78400369D74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7CC37B-EB86-4462-9FF2-F66469ECFA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7A31CEA1-1388-4BAD-B3E7-9A2237D7DAC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753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279F6BE-B378-497A-9076-476B4DA5911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118127-343B-43E6-A398-35F4A4F884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FF2CF9-F008-4DF2-A7E6-B5FA324932B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8A3611A9-A5AE-4F19-A263-6681A05E38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7443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2CC1606-B076-4754-B898-38B3BAFBC5E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84CAED-CB5D-4174-A937-DB9177BF79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5DDEF3-9A70-4CB1-9A2F-54BAD6142C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954091AD-F76E-4C1C-BFD9-4C38CD64D6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396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AAD3EB-971E-4F9D-B21F-41024D393A8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AA4D86-576B-494A-85A0-B32483228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A6B2AF-CCF1-4884-94A1-55A1D1CA43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6891D5AC-CE9F-450B-BEF1-BFF17CC61A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2208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E39FFE-A897-4EB8-9097-E4A351549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07DB0F-8692-4CA8-B21C-966735595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7A5571-E07E-47C0-A876-EC2AB9C9D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709542FD-82AC-406B-BE17-800099A3E71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79961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733384D-E80B-4F2F-BC6E-66027D0A444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72778F-2FE0-4CCE-BF05-8E85C8F5C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185D73-6A61-41EC-8B7D-8BED28EFB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504711E1-3BEB-44DF-9B32-F3531A9741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0420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2BA78E-3EF6-46B5-95F3-FC1FE7CFC9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148D39-CFAF-4148-8E5F-F6888CDBF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B9654D-76E9-4367-B712-7BDD592785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A2C06DC7-5E5C-4ECA-8A06-0DF68A7A77F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8926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9">
            <a:extLst>
              <a:ext uri="{FF2B5EF4-FFF2-40B4-BE49-F238E27FC236}">
                <a16:creationId xmlns:a16="http://schemas.microsoft.com/office/drawing/2014/main" id="{88EEE73C-8877-43D1-86A9-69E953630E6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709" r="24167"/>
          <a:stretch/>
        </p:blipFill>
        <p:spPr>
          <a:xfrm>
            <a:off x="2493818" y="3"/>
            <a:ext cx="9698182" cy="6868345"/>
          </a:xfrm>
          <a:prstGeom prst="rect">
            <a:avLst/>
          </a:pr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2869856-6182-4B8D-938C-EBFCD02C87F2}"/>
              </a:ext>
            </a:extLst>
          </p:cNvPr>
          <p:cNvSpPr>
            <a:spLocks noChangeAspect="1"/>
          </p:cNvSpPr>
          <p:nvPr/>
        </p:nvSpPr>
        <p:spPr bwMode="white">
          <a:xfrm>
            <a:off x="2" y="1"/>
            <a:ext cx="8367536" cy="68580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068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35845336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obj">
  <p:cSld name="Blank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63CFC11-A17C-4B81-BFF7-63C8941533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90421B-6F40-4AA3-9855-BC1B78E1CE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702A02-1C99-4CB5-B7DE-D7BDC3481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5423115C-8B1C-4897-85B4-7DEB303E63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62522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3429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096000" cy="1143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3" y="428625"/>
            <a:ext cx="5473700" cy="2055496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00E57C-CC48-F54D-B3F3-3A114B2488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41624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996495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571B43E-7EFD-FC49-8203-0C37C621BF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07946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accent6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C2DF81D-CFC9-CA4F-9296-0DF32281B1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880991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067EFBB-B928-AC40-8026-93C731DCE1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85139" y="5330952"/>
            <a:ext cx="1636776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25130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644956-77CE-C94F-9DC1-ACB7D92E89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0035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6000" cy="457581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4575812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4575812"/>
            <a:ext cx="6096000" cy="2282188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3" y="428625"/>
            <a:ext cx="5473700" cy="206692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5101594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09BFEA4-1A04-C344-804A-E610366F99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0337737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9860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12192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91E7E14-05A1-3C44-AC4F-3B254DA49C58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0AF71D2-4341-774D-95E6-2A6EC9FAB977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0" y="0"/>
              <a:ext cx="12192000" cy="6858000"/>
              <a:chOff x="152400" y="152400"/>
              <a:chExt cx="12196763" cy="6862763"/>
            </a:xfrm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EB6FF182-420C-CE44-A08A-9911616955D9}"/>
                  </a:ext>
                </a:extLst>
              </p:cNvPr>
              <p:cNvSpPr>
                <a:spLocks noChangeAspect="1"/>
              </p:cNvSpPr>
              <p:nvPr/>
            </p:nvSpPr>
            <p:spPr bwMode="hidden">
              <a:xfrm>
                <a:off x="152400" y="3775075"/>
                <a:ext cx="9142413" cy="777875"/>
              </a:xfrm>
              <a:custGeom>
                <a:avLst/>
                <a:gdLst>
                  <a:gd name="T0" fmla="*/ 0 w 7908"/>
                  <a:gd name="T1" fmla="*/ 0 h 1632"/>
                  <a:gd name="T2" fmla="*/ 0 w 7908"/>
                  <a:gd name="T3" fmla="*/ 0 h 1632"/>
                  <a:gd name="T4" fmla="*/ 7908 w 7908"/>
                  <a:gd name="T5" fmla="*/ 0 h 1632"/>
                  <a:gd name="T6" fmla="*/ 7908 w 7908"/>
                  <a:gd name="T7" fmla="*/ 1632 h 1632"/>
                  <a:gd name="T8" fmla="*/ 0 w 7908"/>
                  <a:gd name="T9" fmla="*/ 1632 h 1632"/>
                  <a:gd name="T10" fmla="*/ 0 w 7908"/>
                  <a:gd name="T11" fmla="*/ 0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08" h="1632">
                    <a:moveTo>
                      <a:pt x="0" y="0"/>
                    </a:moveTo>
                    <a:lnTo>
                      <a:pt x="0" y="0"/>
                    </a:lnTo>
                    <a:lnTo>
                      <a:pt x="7908" y="0"/>
                    </a:lnTo>
                    <a:lnTo>
                      <a:pt x="7908" y="1632"/>
                    </a:lnTo>
                    <a:lnTo>
                      <a:pt x="0" y="16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4A0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3BE432B1-2C50-3E4E-AD63-D3F80C22CFAE}"/>
                  </a:ext>
                </a:extLst>
              </p:cNvPr>
              <p:cNvSpPr>
                <a:spLocks noChangeAspect="1"/>
              </p:cNvSpPr>
              <p:nvPr/>
            </p:nvSpPr>
            <p:spPr bwMode="white">
              <a:xfrm>
                <a:off x="152400" y="152400"/>
                <a:ext cx="12196763" cy="6862763"/>
              </a:xfrm>
              <a:custGeom>
                <a:avLst/>
                <a:gdLst>
                  <a:gd name="T0" fmla="*/ 19187 w 25599"/>
                  <a:gd name="T1" fmla="*/ 0 h 14399"/>
                  <a:gd name="T2" fmla="*/ 19187 w 25599"/>
                  <a:gd name="T3" fmla="*/ 0 h 14399"/>
                  <a:gd name="T4" fmla="*/ 19187 w 25599"/>
                  <a:gd name="T5" fmla="*/ 6949 h 14399"/>
                  <a:gd name="T6" fmla="*/ 0 w 25599"/>
                  <a:gd name="T7" fmla="*/ 6949 h 14399"/>
                  <a:gd name="T8" fmla="*/ 0 w 25599"/>
                  <a:gd name="T9" fmla="*/ 7602 h 14399"/>
                  <a:gd name="T10" fmla="*/ 19187 w 25599"/>
                  <a:gd name="T11" fmla="*/ 7602 h 14399"/>
                  <a:gd name="T12" fmla="*/ 19187 w 25599"/>
                  <a:gd name="T13" fmla="*/ 9234 h 14399"/>
                  <a:gd name="T14" fmla="*/ 0 w 25599"/>
                  <a:gd name="T15" fmla="*/ 9234 h 14399"/>
                  <a:gd name="T16" fmla="*/ 0 w 25599"/>
                  <a:gd name="T17" fmla="*/ 9887 h 14399"/>
                  <a:gd name="T18" fmla="*/ 19187 w 25599"/>
                  <a:gd name="T19" fmla="*/ 9887 h 14399"/>
                  <a:gd name="T20" fmla="*/ 19187 w 25599"/>
                  <a:gd name="T21" fmla="*/ 14399 h 14399"/>
                  <a:gd name="T22" fmla="*/ 19839 w 25599"/>
                  <a:gd name="T23" fmla="*/ 14399 h 14399"/>
                  <a:gd name="T24" fmla="*/ 19839 w 25599"/>
                  <a:gd name="T25" fmla="*/ 9887 h 14399"/>
                  <a:gd name="T26" fmla="*/ 25599 w 25599"/>
                  <a:gd name="T27" fmla="*/ 9887 h 14399"/>
                  <a:gd name="T28" fmla="*/ 25599 w 25599"/>
                  <a:gd name="T29" fmla="*/ 9234 h 14399"/>
                  <a:gd name="T30" fmla="*/ 19839 w 25599"/>
                  <a:gd name="T31" fmla="*/ 9234 h 14399"/>
                  <a:gd name="T32" fmla="*/ 19839 w 25599"/>
                  <a:gd name="T33" fmla="*/ 7602 h 14399"/>
                  <a:gd name="T34" fmla="*/ 25599 w 25599"/>
                  <a:gd name="T35" fmla="*/ 7602 h 14399"/>
                  <a:gd name="T36" fmla="*/ 25599 w 25599"/>
                  <a:gd name="T37" fmla="*/ 6949 h 14399"/>
                  <a:gd name="T38" fmla="*/ 19839 w 25599"/>
                  <a:gd name="T39" fmla="*/ 6949 h 14399"/>
                  <a:gd name="T40" fmla="*/ 19839 w 25599"/>
                  <a:gd name="T41" fmla="*/ 0 h 14399"/>
                  <a:gd name="T42" fmla="*/ 19187 w 25599"/>
                  <a:gd name="T43" fmla="*/ 0 h 14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599" h="14399">
                    <a:moveTo>
                      <a:pt x="19187" y="0"/>
                    </a:moveTo>
                    <a:lnTo>
                      <a:pt x="19187" y="0"/>
                    </a:lnTo>
                    <a:lnTo>
                      <a:pt x="19187" y="6949"/>
                    </a:lnTo>
                    <a:lnTo>
                      <a:pt x="0" y="6949"/>
                    </a:lnTo>
                    <a:lnTo>
                      <a:pt x="0" y="7602"/>
                    </a:lnTo>
                    <a:lnTo>
                      <a:pt x="19187" y="7602"/>
                    </a:lnTo>
                    <a:lnTo>
                      <a:pt x="19187" y="9234"/>
                    </a:lnTo>
                    <a:lnTo>
                      <a:pt x="0" y="9234"/>
                    </a:lnTo>
                    <a:lnTo>
                      <a:pt x="0" y="9887"/>
                    </a:lnTo>
                    <a:lnTo>
                      <a:pt x="19187" y="9887"/>
                    </a:lnTo>
                    <a:lnTo>
                      <a:pt x="19187" y="14399"/>
                    </a:lnTo>
                    <a:lnTo>
                      <a:pt x="19839" y="14399"/>
                    </a:lnTo>
                    <a:lnTo>
                      <a:pt x="19839" y="9887"/>
                    </a:lnTo>
                    <a:lnTo>
                      <a:pt x="25599" y="9887"/>
                    </a:lnTo>
                    <a:lnTo>
                      <a:pt x="25599" y="9234"/>
                    </a:lnTo>
                    <a:lnTo>
                      <a:pt x="19839" y="9234"/>
                    </a:lnTo>
                    <a:lnTo>
                      <a:pt x="19839" y="7602"/>
                    </a:lnTo>
                    <a:lnTo>
                      <a:pt x="25599" y="7602"/>
                    </a:lnTo>
                    <a:lnTo>
                      <a:pt x="25599" y="6949"/>
                    </a:lnTo>
                    <a:lnTo>
                      <a:pt x="19839" y="6949"/>
                    </a:lnTo>
                    <a:lnTo>
                      <a:pt x="19839" y="0"/>
                    </a:lnTo>
                    <a:lnTo>
                      <a:pt x="19187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42E31FB-8697-8E4D-9430-7773E91817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13607"/>
            <a:ext cx="5473699" cy="592074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4" y="428624"/>
            <a:ext cx="7418386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443970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2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12192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BDC28A-6CCA-D946-B517-6BB4EEB49B0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Freeform: Shape 7">
              <a:extLst>
                <a:ext uri="{FF2B5EF4-FFF2-40B4-BE49-F238E27FC236}">
                  <a16:creationId xmlns:a16="http://schemas.microsoft.com/office/drawing/2014/main" id="{88987A12-2FCD-A24E-A035-A87DB2CE21C2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3309692 h 6858000"/>
                <a:gd name="connsiteX3" fmla="*/ 12192000 w 12192000"/>
                <a:gd name="connsiteY3" fmla="*/ 3309692 h 6858000"/>
                <a:gd name="connsiteX4" fmla="*/ 12192000 w 12192000"/>
                <a:gd name="connsiteY4" fmla="*/ 3615692 h 6858000"/>
                <a:gd name="connsiteX5" fmla="*/ 9450000 w 12192000"/>
                <a:gd name="connsiteY5" fmla="*/ 3615692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  <a:gd name="connsiteX16" fmla="*/ 9144000 w 12192000"/>
                <a:gd name="connsiteY16" fmla="*/ 3615692 h 6858000"/>
                <a:gd name="connsiteX17" fmla="*/ 0 w 12192000"/>
                <a:gd name="connsiteY17" fmla="*/ 3615692 h 6858000"/>
                <a:gd name="connsiteX18" fmla="*/ 0 w 12192000"/>
                <a:gd name="connsiteY18" fmla="*/ 3309692 h 6858000"/>
                <a:gd name="connsiteX19" fmla="*/ 9144000 w 12192000"/>
                <a:gd name="connsiteY19" fmla="*/ 330969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3309692"/>
                  </a:lnTo>
                  <a:lnTo>
                    <a:pt x="12192000" y="3309692"/>
                  </a:lnTo>
                  <a:lnTo>
                    <a:pt x="12192000" y="3615692"/>
                  </a:lnTo>
                  <a:lnTo>
                    <a:pt x="9450000" y="3615692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lnTo>
                    <a:pt x="9144000" y="3615692"/>
                  </a:lnTo>
                  <a:lnTo>
                    <a:pt x="0" y="3615692"/>
                  </a:lnTo>
                  <a:lnTo>
                    <a:pt x="0" y="3309692"/>
                  </a:lnTo>
                  <a:lnTo>
                    <a:pt x="9144000" y="3309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BFFF2DD-324A-4741-B09D-D8BFF0170B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gray">
            <a:xfrm>
              <a:off x="185139" y="5330952"/>
              <a:ext cx="1636776" cy="1351185"/>
            </a:xfrm>
            <a:prstGeom prst="rect">
              <a:avLst/>
            </a:prstGeom>
          </p:spPr>
        </p:pic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id="{B2285DDC-FA1B-F84F-B44E-C04413327EF5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713607"/>
            <a:ext cx="5473700" cy="594221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r>
              <a:rPr lang="en-US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4"/>
            <a:ext cx="7418387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21073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9">
            <a:extLst>
              <a:ext uri="{FF2B5EF4-FFF2-40B4-BE49-F238E27FC236}">
                <a16:creationId xmlns:a16="http://schemas.microsoft.com/office/drawing/2014/main" id="{627FAFAA-285F-4945-A3A2-666A8A502E1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709" r="24167"/>
          <a:stretch/>
        </p:blipFill>
        <p:spPr>
          <a:xfrm>
            <a:off x="2493818" y="3"/>
            <a:ext cx="9698182" cy="6868345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575F215B-4184-4392-9C86-1A188FA31F05}"/>
              </a:ext>
            </a:extLst>
          </p:cNvPr>
          <p:cNvSpPr>
            <a:spLocks noChangeAspect="1"/>
          </p:cNvSpPr>
          <p:nvPr/>
        </p:nvSpPr>
        <p:spPr bwMode="white">
          <a:xfrm>
            <a:off x="2" y="1"/>
            <a:ext cx="8367536" cy="68580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068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D160942-482E-4DB8-A58E-71FBEDE772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11" name="Report Title">
            <a:extLst>
              <a:ext uri="{FF2B5EF4-FFF2-40B4-BE49-F238E27FC236}">
                <a16:creationId xmlns:a16="http://schemas.microsoft.com/office/drawing/2014/main" id="{12C0EFB5-DB4A-44B7-BEB6-50F77D1D323D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2EEB4B15-EBE2-4CC7-87E7-CF12291C9A89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6" name="Confidentiality Stamp">
            <a:extLst>
              <a:ext uri="{FF2B5EF4-FFF2-40B4-BE49-F238E27FC236}">
                <a16:creationId xmlns:a16="http://schemas.microsoft.com/office/drawing/2014/main" id="{BB6F76BA-CA5E-46B1-A4FE-A04494BA1F4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7" name="Draft Stamp">
            <a:extLst>
              <a:ext uri="{FF2B5EF4-FFF2-40B4-BE49-F238E27FC236}">
                <a16:creationId xmlns:a16="http://schemas.microsoft.com/office/drawing/2014/main" id="{FD086E63-2C7B-45FF-B665-56AD61AC323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port Date">
            <a:extLst>
              <a:ext uri="{FF2B5EF4-FFF2-40B4-BE49-F238E27FC236}">
                <a16:creationId xmlns:a16="http://schemas.microsoft.com/office/drawing/2014/main" id="{2093D07F-E838-4E22-A6DD-E50DBC55755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343123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9450000" y="0"/>
            <a:ext cx="2741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A901F27-1E18-0046-A577-0550B326C42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6" name="Freeform: Shape 8">
              <a:extLst>
                <a:ext uri="{FF2B5EF4-FFF2-40B4-BE49-F238E27FC236}">
                  <a16:creationId xmlns:a16="http://schemas.microsoft.com/office/drawing/2014/main" id="{2B6306E4-EA3A-6A40-90F3-BFF139CD1856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67CBCF8-572D-4D45-93D3-B122FE4A2D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5"/>
            <a:ext cx="7418388" cy="2771775"/>
          </a:xfrm>
        </p:spPr>
        <p:txBody>
          <a:bodyPr anchor="b" anchorCtr="0"/>
          <a:lstStyle>
            <a:lvl1pPr algn="l">
              <a:lnSpc>
                <a:spcPct val="86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39471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120504155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9450000" y="0"/>
            <a:ext cx="2742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5809F74-389C-BF4E-9840-CD3E0121C20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id="{02FC2F29-20BB-FC46-8933-6BF25A395800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1A41927-8102-0140-8A6E-BE11E9B2A3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5"/>
            <a:ext cx="7418388" cy="2771775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39471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389710265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9" y="-1"/>
            <a:ext cx="7088841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5065365-ACD4-4445-B744-F720FB8FF28C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3610"/>
            <a:ext cx="5258640" cy="2425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2637241116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19130D55-E01B-814B-B368-1A5B9D9224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8" y="0"/>
            <a:ext cx="7088841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7BE733A-F034-2C46-AB70-A0813595ECD7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80AA576-2E0A-D146-9C52-8C67B6E45DE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3610"/>
            <a:ext cx="5258640" cy="2425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81579572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2504B055-84E9-A34C-9FA5-3A4898E3B2D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8" y="0"/>
            <a:ext cx="7088841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1675EB2-67BA-8341-AFDE-B097C16A2531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20A64D3-5A58-A74D-827A-3B01DDFF5E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9185"/>
            <a:ext cx="5258640" cy="241981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27940666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B147A814-53FE-0143-93DA-630210643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9" y="0"/>
            <a:ext cx="7088841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9670607-F478-BE4E-8608-89949C7D5279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C790A76-DC9A-CA48-8F96-B38E81026F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9185"/>
            <a:ext cx="5258640" cy="241981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2839634629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5334000" y="0"/>
            <a:ext cx="6858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750888"/>
            <a:ext cx="4675186" cy="2678112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956185"/>
            <a:ext cx="4675187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r>
              <a:rPr lang="en-US"/>
              <a:t>[Presentation subtitle]</a:t>
            </a: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22A556-B0A2-E74A-B3E1-08C0F432C2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76242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2" y="2103120"/>
            <a:ext cx="11306175" cy="4073842"/>
          </a:xfrm>
        </p:spPr>
        <p:txBody>
          <a:bodyPr/>
          <a:lstStyle>
            <a:lvl1pPr marL="730250" indent="-7302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tabLst>
                <a:tab pos="10623550" algn="r"/>
              </a:tabLst>
              <a:defRPr sz="2800" b="0">
                <a:solidFill>
                  <a:schemeClr val="tx1"/>
                </a:solidFill>
              </a:defRPr>
            </a:lvl1pPr>
            <a:lvl2pPr marL="730250" indent="0">
              <a:buClr>
                <a:schemeClr val="accent4"/>
              </a:buClr>
              <a:buFont typeface="+mj-lt"/>
              <a:buNone/>
              <a:tabLst>
                <a:tab pos="10623550" algn="r"/>
              </a:tabLst>
              <a:defRPr sz="1600"/>
            </a:lvl2pPr>
            <a:lvl3pPr marL="914400" indent="-182563">
              <a:lnSpc>
                <a:spcPct val="100000"/>
              </a:lnSpc>
              <a:tabLst>
                <a:tab pos="10623550" algn="r"/>
              </a:tabLst>
              <a:defRPr/>
            </a:lvl3pPr>
            <a:lvl4pPr marL="1096963" indent="-182563">
              <a:lnSpc>
                <a:spcPct val="100000"/>
              </a:lnSpc>
              <a:tabLst>
                <a:tab pos="10623550" algn="r"/>
              </a:tabLst>
              <a:defRPr/>
            </a:lvl4pPr>
            <a:lvl5pPr marL="1279525" indent="-182563">
              <a:lnSpc>
                <a:spcPct val="100000"/>
              </a:lnSpc>
              <a:tabLst>
                <a:tab pos="10623550" algn="r"/>
              </a:tabLst>
              <a:defRPr/>
            </a:lvl5pPr>
            <a:lvl6pPr marL="1462088" indent="-182563">
              <a:lnSpc>
                <a:spcPct val="100000"/>
              </a:lnSpc>
              <a:tabLst>
                <a:tab pos="10623550" algn="r"/>
              </a:tabLst>
              <a:defRPr/>
            </a:lvl6pPr>
            <a:lvl7pPr marL="1644650" indent="-182563">
              <a:lnSpc>
                <a:spcPct val="100000"/>
              </a:lnSpc>
              <a:tabLst>
                <a:tab pos="10623550" algn="r"/>
              </a:tabLst>
              <a:defRPr/>
            </a:lvl7pPr>
            <a:lvl8pPr marL="1828800" indent="-182563">
              <a:lnSpc>
                <a:spcPct val="100000"/>
              </a:lnSpc>
              <a:tabLst>
                <a:tab pos="10623550" algn="r"/>
              </a:tabLst>
              <a:defRPr/>
            </a:lvl8pPr>
            <a:lvl9pPr marL="2011363" indent="-182563">
              <a:lnSpc>
                <a:spcPct val="100000"/>
              </a:lnSpc>
              <a:tabLst>
                <a:tab pos="10623550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92926E-C7A2-1946-B74B-5EC49D3EA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29A14A-827E-1247-9162-E763C985AC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AE826D-197B-B84E-8B9B-E0610700761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691066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120"/>
            <a:ext cx="7418387" cy="40738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33AD6-7E25-3440-A0A8-374B46CA7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CAC76-AD94-234E-8386-FD25DC54D41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486007-FECF-0B43-98E4-BE646CA75FA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70488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120"/>
            <a:ext cx="11306175" cy="40738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AE0E6F-13EB-BD40-A19F-F1CFDDB465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EE818A-A3B1-A74B-A063-799FD726DC7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B0F34F-6B8E-584C-9E9F-165D0787824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4725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881158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27051-9445-A34F-940C-D451EEF398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E96824-1DC8-8F4C-9F19-4AA8BD36E94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C406C8-2617-D442-A446-EA4D0CC6D9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35265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473700" cy="40687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388" y="2103438"/>
            <a:ext cx="54737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456CA5-A388-1D41-B4AF-6658D4C957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232899-915E-C74D-8F7F-7C2DD55182A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E4EFE4-848B-FB4C-92AC-48F9C8C7E4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6202873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317807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531780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DF40C9-D7F9-A14D-8F2B-F46833A0170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913943-67C1-A441-988B-505B7F0D23B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2960982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32288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8220076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E0F926-F4BA-044E-B97A-AA8668B032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EB6748-91CD-EA44-B3CB-A9D864D8B20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B9031D-3AD3-5746-B707-6596083321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716243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D6E0CB0-5FCA-9E41-ACFD-7D08A524DF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638E35-65AD-4243-B284-707345D47D7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1698C3-BF03-D940-AA4E-1704020681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70141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3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C0705E1-E330-8C4F-A023-40952CF24C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2D3CEF-2FE9-6541-A411-8712E77FDE9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0C409-BC93-7948-9808-660EF10182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440596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A63A94-C8E2-FB44-885B-EB683E5F686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5A3E01-BC1E-FC45-9A3B-16FFF0CD47E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6CD684-D4FE-F645-A29A-2F42832D27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47880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D2E598-676F-DE44-A364-05E35FEB311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4EE7D73-CC34-F34E-8E0D-FE9EFCAB5B6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69DEA3-5E99-424B-BE2E-8D9202AD4FC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818213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8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636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EC188F-17FB-9741-A681-A3C06DA3BEA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C7FE2CE-7430-B14C-8AB3-DE28B3871F5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226472-611E-0C4D-B900-2140DFE78BD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624754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397FBE-5CF3-D24C-9080-6E833FFE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C69D5E-619A-7A4D-B6D5-5294509D714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8D71E4-CBC9-3648-9D74-CDE027F0E95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4439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tle Slide 2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2743200" y="1"/>
            <a:ext cx="9448800" cy="68579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1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" y="1"/>
            <a:ext cx="8367536" cy="6858000"/>
            <a:chOff x="1" y="3"/>
            <a:chExt cx="6126163" cy="6858000"/>
          </a:xfrm>
          <a:solidFill>
            <a:schemeClr val="accent6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068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  <a:grpFill/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69937" y="4208056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569938" y="4722192"/>
            <a:ext cx="3258602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569937" y="3751729"/>
            <a:ext cx="2911018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308284" y="3167623"/>
            <a:ext cx="8145368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9937" y="2217741"/>
            <a:ext cx="6348201" cy="65184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4236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69937" y="3477409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4098651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438"/>
            <a:ext cx="741838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242D6C-75F6-2B45-8341-980F99E5DA7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226BB03-6EF6-F445-88B0-A7B24602567C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8846DF-B557-F249-A820-B138A17441D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5B6EC7-613B-094E-83F4-DA4B13BB533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805936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438"/>
            <a:ext cx="11306175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8C6408-9684-F649-A01B-20A1E9A52E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709AE37-4C0E-9449-8811-AF627111A71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5A4581-58A2-5947-96BD-212EB853695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606350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CAC806-7708-6C42-A901-982FA119C08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758DF0-2055-C446-AF59-8BED8AF86DA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75A8AA7-C631-FC48-B78E-A7C28CBFC4D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39EA78-0E25-1E49-9BAA-8BB4D19EDF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9529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47370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388" y="2103437"/>
            <a:ext cx="5473699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945371-B6F9-F541-89EE-24D897592C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01872E8-5749-484B-9C68-8AF6F238E4A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D96B6-4E2D-5D4D-9281-01075C08C0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300482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31780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430514"/>
            <a:ext cx="5317806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64736F-99D3-5349-B4BB-3F5BE96B58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531780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F02CD0-5DDD-1F41-AEB4-55BDD643AC8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8E0517-3586-2A46-900E-429A592FD73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749950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32288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8220076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D01178-C346-1B4F-8DFA-F5B5E0660B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56B3548-5EB8-714F-93B3-BD8CE8C6C99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957D98-A9BD-6147-8C17-F6034346BCF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079912-E66E-9D45-8060-9249926E269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875623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FAD9719-920C-B64C-90D2-E337E9E7C1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2F08066-BCE7-3945-BE4E-1DEA43569B7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41EFB3-11D6-AA4B-8128-47D7D7AFAE91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69CF68-145B-AD42-A079-345D6E783D1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094192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3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B2DB5C5-A275-6447-991C-726CD70A52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CBFC701-7287-1F4F-B6FA-1BECCBF324C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06189D-4BB2-3A4B-BC60-C76CE65FA0CC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98595F-E08B-3E4B-8E63-3152F1690C5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767420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B03D1A-AA63-224E-A7F2-44C5BFC3BB1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CE153FD-285A-D647-ADE4-833E86A9CF52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9EEA72-3A8E-454B-8611-EF7B92A8D01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A46C5C-0050-F948-8DC9-450AE0734966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21071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8198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348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88767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B37F2-903B-D544-93F5-C52542E06C3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A3591F7-EFF5-C649-BCF8-906639EFF4C9}"/>
              </a:ext>
            </a:extLst>
          </p:cNvPr>
          <p:cNvSpPr>
            <a:spLocks noGrp="1"/>
          </p:cNvSpPr>
          <p:nvPr>
            <p:ph type="subTitle" idx="23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60D960-D902-2048-954B-F454F3A9AB3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FAA743-55F3-AE49-BD56-1FC09BDF7C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70273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tle Slide 3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2743200" y="1"/>
            <a:ext cx="9448800" cy="68579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1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" y="1"/>
            <a:ext cx="8367536" cy="6858000"/>
            <a:chOff x="1" y="3"/>
            <a:chExt cx="6126163" cy="68580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068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69937" y="4208056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569938" y="4722192"/>
            <a:ext cx="3258602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569937" y="3751729"/>
            <a:ext cx="2911018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308284" y="3167623"/>
            <a:ext cx="8145368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9937" y="2217741"/>
            <a:ext cx="6348201" cy="65184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4236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69937" y="3477409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24350155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442912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3358197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8197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8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273482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348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9"/>
          </p:nvPr>
        </p:nvSpPr>
        <p:spPr>
          <a:xfrm>
            <a:off x="9188767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88767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022E1-5A19-8748-8180-279AACB6BB6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5194D818-D8E8-5342-BDE8-319BC1FCE4A9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CB65038-8636-4945-8B6F-709A62BEACF1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625D97-D89C-574F-8C1D-AA1E4D4B3FA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572655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C256F8-EAA0-F045-A569-920F86A13F1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168D6DA-542B-6F48-A3F4-9AAC02852C7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212C7E-F059-4B46-B4D7-79D6BA8599B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89E013-6DD8-C341-9F6F-8AA53BE6CA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93537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hidden">
          <a:xfrm>
            <a:off x="0" y="2103438"/>
            <a:ext cx="3971925" cy="406876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0370" y="2377440"/>
            <a:ext cx="3611880" cy="1737360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3600" b="1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%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3931920"/>
            <a:ext cx="3328986" cy="20617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 marL="18288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91440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109728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28016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46304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327525" y="2095500"/>
            <a:ext cx="7421563" cy="4076699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6E2E86-965C-BE4A-BDD2-8C3B0C7986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4EA5A5-893B-6B4B-80D2-49FFC81C88C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4F96C2-47B6-4747-B231-79A630D24A9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828616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00%</a:t>
            </a:r>
            <a:endParaRPr lang="en-GB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327524" y="2095500"/>
            <a:ext cx="3533775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%</a:t>
            </a:r>
            <a:endParaRPr lang="en-GB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222571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C21E25-BA96-8149-8793-205BDC2635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27525" y="3599542"/>
            <a:ext cx="3533775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222571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F3B578-7307-3B4F-9573-5B25CD8634E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D65346-FB7D-7243-B361-2D5958F844E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280776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534FC478-2103-444D-A788-6C385FEAD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0208723-B803-0D42-8863-6E0ACA5FA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9D3C748-DE6A-F649-888F-43A3773D1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49930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0EE541-D951-5343-8A19-5BC13B8C966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4A7C0D-ED32-3C4A-A6FA-92C1A14555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C2BE143-A791-F940-BA69-8C99703B699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5391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442913" y="2103438"/>
            <a:ext cx="11306175" cy="4068762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8A692-B2AF-6448-8025-A2D10476E9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6BD465-CD15-EC45-83F1-C724AC166A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8247A16-A0E7-4A40-BC88-A10C50CA51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36009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143000"/>
            <a:ext cx="4572000" cy="4572000"/>
          </a:xfrm>
          <a:solidFill>
            <a:srgbClr val="E0301E"/>
          </a:solidFill>
        </p:spPr>
        <p:txBody>
          <a:bodyPr lIns="438912" tIns="1440000" rIns="252000" bIns="180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442913" y="1623703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1D36D47-D12A-3142-B681-815978E85E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042CAE4-1315-134B-A97D-6331422E40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51649C-08F4-D84A-9E3B-1FCB427D60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92268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ACB6F4-A2A7-6E4D-A8EB-50B5B35AAD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FC6095-B1C7-6143-B9FD-C545A6D035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F7A802-0AAE-FA43-8858-03590E76403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67919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618CEB-562C-EF47-A905-BA1BD3BB0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BEC181-486E-E441-8900-B8446C2DF2C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1E6323-CD0D-424F-880F-55737281900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7579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Lines 2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12192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BDC28A-6CCA-D946-B517-6BB4EEB49B0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Freeform: Shape 7">
              <a:extLst>
                <a:ext uri="{FF2B5EF4-FFF2-40B4-BE49-F238E27FC236}">
                  <a16:creationId xmlns:a16="http://schemas.microsoft.com/office/drawing/2014/main" id="{88987A12-2FCD-A24E-A035-A87DB2CE21C2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3309692 h 6858000"/>
                <a:gd name="connsiteX3" fmla="*/ 12192000 w 12192000"/>
                <a:gd name="connsiteY3" fmla="*/ 3309692 h 6858000"/>
                <a:gd name="connsiteX4" fmla="*/ 12192000 w 12192000"/>
                <a:gd name="connsiteY4" fmla="*/ 3615692 h 6858000"/>
                <a:gd name="connsiteX5" fmla="*/ 9450000 w 12192000"/>
                <a:gd name="connsiteY5" fmla="*/ 3615692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  <a:gd name="connsiteX16" fmla="*/ 9144000 w 12192000"/>
                <a:gd name="connsiteY16" fmla="*/ 3615692 h 6858000"/>
                <a:gd name="connsiteX17" fmla="*/ 0 w 12192000"/>
                <a:gd name="connsiteY17" fmla="*/ 3615692 h 6858000"/>
                <a:gd name="connsiteX18" fmla="*/ 0 w 12192000"/>
                <a:gd name="connsiteY18" fmla="*/ 3309692 h 6858000"/>
                <a:gd name="connsiteX19" fmla="*/ 9144000 w 12192000"/>
                <a:gd name="connsiteY19" fmla="*/ 330969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3309692"/>
                  </a:lnTo>
                  <a:lnTo>
                    <a:pt x="12192000" y="3309692"/>
                  </a:lnTo>
                  <a:lnTo>
                    <a:pt x="12192000" y="3615692"/>
                  </a:lnTo>
                  <a:lnTo>
                    <a:pt x="9450000" y="3615692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lnTo>
                    <a:pt x="9144000" y="3615692"/>
                  </a:lnTo>
                  <a:lnTo>
                    <a:pt x="0" y="3615692"/>
                  </a:lnTo>
                  <a:lnTo>
                    <a:pt x="0" y="3309692"/>
                  </a:lnTo>
                  <a:lnTo>
                    <a:pt x="9144000" y="3309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BFFF2DD-324A-4741-B09D-D8BFF0170B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85139" y="5330952"/>
              <a:ext cx="1636776" cy="1351185"/>
            </a:xfrm>
            <a:prstGeom prst="rect">
              <a:avLst/>
            </a:prstGeom>
          </p:spPr>
        </p:pic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id="{B2285DDC-FA1B-F84F-B44E-C04413327EF5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713607"/>
            <a:ext cx="5473700" cy="594221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r>
              <a:rPr lang="en-US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4"/>
            <a:ext cx="7418387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7408613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5DC986-4502-464F-A426-50A70EA2E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17195B-4456-9145-8D6E-97A5EBDF8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67263F-492F-7F4E-9E89-2A38E1B27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31571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F95925A0-A65A-B94F-AD42-4A17D5E9B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01CB2D71-BA29-2E4C-A7F8-AB7C48FCE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E0FBAD1-BD7F-C249-B609-9F42DAA28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78023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5944E79-860F-9542-986D-3F487E112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03EA61-A2A9-8D46-A8C8-F5D81CC93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4410A1E-B181-CB46-A25E-398B598C5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39515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DF2FE2-E936-7745-91D2-A6D8CA7F5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FEE05-057D-214D-903C-F8FD6A36D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DD12AF3-FC08-E446-85E1-796189A84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20552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B60EFE-B508-D848-9B02-A73119F18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B4447-C39F-954F-B842-43560F6E9D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9D7BB50-999D-5745-BB53-011066651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6547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119638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414719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6D911B5-C441-B44D-9980-56426B1A19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39615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F941B13-F925-1C4F-8990-F4149ED1B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7112483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3074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etter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port Date">
            <a:extLst>
              <a:ext uri="{FF2B5EF4-FFF2-40B4-BE49-F238E27FC236}">
                <a16:creationId xmlns:a16="http://schemas.microsoft.com/office/drawing/2014/main" id="{53D1EBEC-E8DA-41B3-AC08-642CC2A584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latin typeface="+mn-lt"/>
              </a:rPr>
              <a:t>1 April 2019</a:t>
            </a:r>
          </a:p>
        </p:txBody>
      </p:sp>
      <p:sp>
        <p:nvSpPr>
          <p:cNvPr id="19" name="Draft stamp">
            <a:extLst>
              <a:ext uri="{FF2B5EF4-FFF2-40B4-BE49-F238E27FC236}">
                <a16:creationId xmlns:a16="http://schemas.microsoft.com/office/drawing/2014/main" id="{AF78C4E9-5EC7-47A9-8CD3-A576720D21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21430" y="6317429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0E7DDA1-E9E0-4BD2-9F18-4D73A5A3E3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09305" y="1282424"/>
            <a:ext cx="3904775" cy="4611356"/>
          </a:xfrm>
        </p:spPr>
        <p:txBody>
          <a:bodyPr/>
          <a:lstStyle>
            <a:lvl1pPr>
              <a:defRPr sz="794"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A63B2BC-C1AA-475D-80E8-6103AE0017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44375" y="1282424"/>
            <a:ext cx="3904775" cy="4611356"/>
          </a:xfrm>
        </p:spPr>
        <p:txBody>
          <a:bodyPr/>
          <a:lstStyle>
            <a:lvl1pPr>
              <a:defRPr sz="794"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772873F-F098-49A1-B629-C8530BE60C1A}"/>
              </a:ext>
            </a:extLst>
          </p:cNvPr>
          <p:cNvSpPr/>
          <p:nvPr/>
        </p:nvSpPr>
        <p:spPr>
          <a:xfrm>
            <a:off x="1" y="0"/>
            <a:ext cx="3150086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235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318A1954-C595-46AF-9BD0-C51B68380FC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5" t="30898" r="32576" b="30525"/>
          <a:stretch/>
        </p:blipFill>
        <p:spPr>
          <a:xfrm>
            <a:off x="543224" y="941294"/>
            <a:ext cx="1175030" cy="669407"/>
          </a:xfrm>
          <a:prstGeom prst="rect">
            <a:avLst/>
          </a:prstGeom>
        </p:spPr>
      </p:pic>
      <p:sp>
        <p:nvSpPr>
          <p:cNvPr id="34" name="Presentation Disclaimer">
            <a:extLst>
              <a:ext uri="{FF2B5EF4-FFF2-40B4-BE49-F238E27FC236}">
                <a16:creationId xmlns:a16="http://schemas.microsoft.com/office/drawing/2014/main" id="{04DDCE90-61F5-41F7-BCB5-5378C4B9A37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48283" y="6087752"/>
            <a:ext cx="2376566" cy="10861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r>
              <a:rPr lang="en-GB" sz="706" noProof="1">
                <a:solidFill>
                  <a:schemeClr val="bg2"/>
                </a:solidFill>
              </a:rPr>
              <a:t>Strictly private and confidential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011B331F-A998-4B93-9E0F-EFB8090DC5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3225" y="1815353"/>
            <a:ext cx="2376566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012E331A-BF46-4F6E-9356-402F5B3A21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225" y="5230180"/>
            <a:ext cx="2376566" cy="149362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ress Placeholder </a:t>
            </a:r>
          </a:p>
        </p:txBody>
      </p:sp>
      <p:sp>
        <p:nvSpPr>
          <p:cNvPr id="41" name="Page Number">
            <a:extLst>
              <a:ext uri="{FF2B5EF4-FFF2-40B4-BE49-F238E27FC236}">
                <a16:creationId xmlns:a16="http://schemas.microsoft.com/office/drawing/2014/main" id="{F36165EE-352C-4AC1-98EF-60E59C280DC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42" name="Section Footer">
            <a:extLst>
              <a:ext uri="{FF2B5EF4-FFF2-40B4-BE49-F238E27FC236}">
                <a16:creationId xmlns:a16="http://schemas.microsoft.com/office/drawing/2014/main" id="{DFD9E5A5-EA34-4218-A4A4-FD56114AF05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31830" y="6468674"/>
            <a:ext cx="278118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8601950-F3C4-4D1E-A940-993B2DC79208}"/>
              </a:ext>
            </a:extLst>
          </p:cNvPr>
          <p:cNvSpPr txBox="1"/>
          <p:nvPr/>
        </p:nvSpPr>
        <p:spPr>
          <a:xfrm>
            <a:off x="543224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D043B99-C2CB-4B03-BAF5-2B73C672E9E7}"/>
              </a:ext>
            </a:extLst>
          </p:cNvPr>
          <p:cNvCxnSpPr>
            <a:cxnSpLocks/>
          </p:cNvCxnSpPr>
          <p:nvPr/>
        </p:nvCxnSpPr>
        <p:spPr>
          <a:xfrm>
            <a:off x="869680" y="6478603"/>
            <a:ext cx="0" cy="8875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raft stamp">
            <a:extLst>
              <a:ext uri="{FF2B5EF4-FFF2-40B4-BE49-F238E27FC236}">
                <a16:creationId xmlns:a16="http://schemas.microsoft.com/office/drawing/2014/main" id="{0C7A3222-0907-4B8B-931D-CDF391F1375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  <p:sp>
        <p:nvSpPr>
          <p:cNvPr id="17" name="HeaderTOCPlaceholder"/>
          <p:cNvSpPr txBox="1"/>
          <p:nvPr>
            <p:custDataLst>
              <p:tags r:id="rId7"/>
            </p:custDataLst>
          </p:nvPr>
        </p:nvSpPr>
        <p:spPr>
          <a:xfrm>
            <a:off x="3378647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HeaderTOCPlaceholder"/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62082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88362"/>
            <a:ext cx="11306175" cy="113235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0" name="Presentation Footer">
            <a:extLst>
              <a:ext uri="{FF2B5EF4-FFF2-40B4-BE49-F238E27FC236}">
                <a16:creationId xmlns:a16="http://schemas.microsoft.com/office/drawing/2014/main" id="{9853FC5B-A1A5-4F7F-A104-DF817D18524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83AEF06C-AE3F-4BB4-AD32-87AFCA4C342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24280CD-7F82-4378-B4EB-A953855D63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52B9439B-9CC6-46B2-8873-574555C017AE}"/>
              </a:ext>
            </a:extLst>
          </p:cNvPr>
          <p:cNvSpPr/>
          <p:nvPr userDrawn="1"/>
        </p:nvSpPr>
        <p:spPr>
          <a:xfrm>
            <a:off x="271182" y="1455934"/>
            <a:ext cx="11658600" cy="45720"/>
          </a:xfrm>
          <a:custGeom>
            <a:avLst/>
            <a:gdLst/>
            <a:ahLst/>
            <a:cxnLst/>
            <a:rect l="l" t="t" r="r" b="b"/>
            <a:pathLst>
              <a:path w="4889500" h="127000">
                <a:moveTo>
                  <a:pt x="0" y="127000"/>
                </a:moveTo>
                <a:lnTo>
                  <a:pt x="4889500" y="127000"/>
                </a:lnTo>
                <a:lnTo>
                  <a:pt x="4889500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2052"/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680CC5B8-E865-44C5-BBFA-0120CE7CD46C}"/>
              </a:ext>
            </a:extLst>
          </p:cNvPr>
          <p:cNvSpPr/>
          <p:nvPr userDrawn="1"/>
        </p:nvSpPr>
        <p:spPr>
          <a:xfrm>
            <a:off x="266978" y="-56087"/>
            <a:ext cx="45720" cy="1554480"/>
          </a:xfrm>
          <a:custGeom>
            <a:avLst/>
            <a:gdLst/>
            <a:ahLst/>
            <a:cxnLst/>
            <a:rect l="l" t="t" r="r" b="b"/>
            <a:pathLst>
              <a:path w="127000" h="6341109">
                <a:moveTo>
                  <a:pt x="127000" y="6340800"/>
                </a:moveTo>
                <a:lnTo>
                  <a:pt x="127000" y="0"/>
                </a:lnTo>
                <a:lnTo>
                  <a:pt x="0" y="0"/>
                </a:lnTo>
                <a:lnTo>
                  <a:pt x="0" y="6340800"/>
                </a:lnTo>
                <a:lnTo>
                  <a:pt x="127000" y="63408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2052"/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AB4DA012-88D4-432C-A287-0FCCC669D5D9}"/>
              </a:ext>
            </a:extLst>
          </p:cNvPr>
          <p:cNvSpPr/>
          <p:nvPr userDrawn="1"/>
        </p:nvSpPr>
        <p:spPr>
          <a:xfrm>
            <a:off x="2407" y="305482"/>
            <a:ext cx="11932920" cy="45720"/>
          </a:xfrm>
          <a:custGeom>
            <a:avLst/>
            <a:gdLst/>
            <a:ahLst/>
            <a:cxnLst/>
            <a:rect l="l" t="t" r="r" b="b"/>
            <a:pathLst>
              <a:path w="4889500" h="127000">
                <a:moveTo>
                  <a:pt x="0" y="127000"/>
                </a:moveTo>
                <a:lnTo>
                  <a:pt x="4889500" y="127000"/>
                </a:lnTo>
                <a:lnTo>
                  <a:pt x="4889500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2052"/>
          </a:p>
        </p:txBody>
      </p:sp>
      <p:sp>
        <p:nvSpPr>
          <p:cNvPr id="13" name="object 5">
            <a:extLst>
              <a:ext uri="{FF2B5EF4-FFF2-40B4-BE49-F238E27FC236}">
                <a16:creationId xmlns:a16="http://schemas.microsoft.com/office/drawing/2014/main" id="{42612913-42F5-4FA8-BCC1-E78D5568E363}"/>
              </a:ext>
            </a:extLst>
          </p:cNvPr>
          <p:cNvSpPr/>
          <p:nvPr userDrawn="1"/>
        </p:nvSpPr>
        <p:spPr>
          <a:xfrm>
            <a:off x="11890326" y="305571"/>
            <a:ext cx="45720" cy="1188720"/>
          </a:xfrm>
          <a:custGeom>
            <a:avLst/>
            <a:gdLst/>
            <a:ahLst/>
            <a:cxnLst/>
            <a:rect l="l" t="t" r="r" b="b"/>
            <a:pathLst>
              <a:path w="127000" h="6341109">
                <a:moveTo>
                  <a:pt x="127000" y="6340800"/>
                </a:moveTo>
                <a:lnTo>
                  <a:pt x="127000" y="0"/>
                </a:lnTo>
                <a:lnTo>
                  <a:pt x="0" y="0"/>
                </a:lnTo>
                <a:lnTo>
                  <a:pt x="0" y="6340800"/>
                </a:lnTo>
                <a:lnTo>
                  <a:pt x="127000" y="63408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2052"/>
          </a:p>
        </p:txBody>
      </p:sp>
    </p:spTree>
    <p:extLst>
      <p:ext uri="{BB962C8B-B14F-4D97-AF65-F5344CB8AC3E}">
        <p14:creationId xmlns:p14="http://schemas.microsoft.com/office/powerpoint/2010/main" val="1412469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 animBg="1"/>
      <p:bldP spid="8" grpId="0" animBg="1"/>
      <p:bldP spid="9" grpId="0" animBg="1"/>
      <p:bldP spid="13" grpId="0" animBg="1"/>
    </p:bld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9277042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1610561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0687221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ADAC9E-8878-DA41-A1D3-2D5C54FB456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9088E2-6117-534E-A3B5-65400594E30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26110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59B7FC3-54D3-A044-9662-AED001F4D97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092CA8-9C8A-8146-8F00-4833507614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5899188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5473699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  <a:endParaRPr lang="en-GB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A53FBC-337E-0D4B-8811-6E0EEC0A9293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 err="1">
                <a:solidFill>
                  <a:schemeClr val="bg1"/>
                </a:solidFill>
              </a:rPr>
              <a:t>pwc.com</a:t>
            </a: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0608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5473699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</a:t>
            </a:r>
            <a:endParaRPr lang="en-GB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 err="1">
                <a:solidFill>
                  <a:schemeClr val="tx1"/>
                </a:solidFill>
              </a:rPr>
              <a:t>pwc.com</a:t>
            </a:r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7313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obj">
  <p:cSld name="1_Blank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63CFC11-A17C-4B81-BFF7-63C8941533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90421B-6F40-4AA3-9855-BC1B78E1CE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702A02-1C99-4CB5-B7DE-D7BDC3481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5423115C-8B1C-4897-85B4-7DEB303E63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2544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2103438"/>
            <a:ext cx="11306175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C0A96048-10F2-4224-818D-5BECEE16847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C1F41BA3-BD4F-444B-8A48-A3CC74630D9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E362C54E-6F95-4E35-B11E-0FA6890BB9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7924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Presentation Footer">
            <a:extLst>
              <a:ext uri="{FF2B5EF4-FFF2-40B4-BE49-F238E27FC236}">
                <a16:creationId xmlns:a16="http://schemas.microsoft.com/office/drawing/2014/main" id="{7B52BB9D-0714-41EB-A065-3C9301AC9AF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4CDD38BF-B105-49DA-8707-FF2BB7A24DF7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6F070B6-A4B1-450C-9787-CEE408FDB2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6141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758DF0-2055-C446-AF59-8BED8AF86DA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AD04E10A-3CEF-447C-885A-911D225054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26D0D962-572E-435C-BDA7-54D718BEA5C1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6DA80911-AAEC-40A3-90D1-AF7AD8369F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6071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id="{E542CCAF-6994-4C2E-A29F-F9E9E6F7953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8B579EE4-B6F2-46DD-AB07-6E80B1CEEAE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C500E16-A5D2-464A-BABA-F48C4283BA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0549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473700" cy="40687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388" y="2103438"/>
            <a:ext cx="54737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Presentation Footer">
            <a:extLst>
              <a:ext uri="{FF2B5EF4-FFF2-40B4-BE49-F238E27FC236}">
                <a16:creationId xmlns:a16="http://schemas.microsoft.com/office/drawing/2014/main" id="{E7ED5D26-0F4E-4435-AE02-4BF45040082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25C81924-25E8-4886-B2A4-3E64CBC6F55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1D092D2-EB9A-42A2-9448-EC3149819A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0249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47370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388" y="2103437"/>
            <a:ext cx="5473699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id="{067D2AEA-341E-4BEC-9DE2-87F1D311F51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FFDA629C-04CF-4329-A513-8273BEBC5E4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C3EEAEFD-4D96-414E-BFBD-5330580641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584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531780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317807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ED7AA0-17C2-48FB-ABC4-C692036AAF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resentation Footer">
            <a:extLst>
              <a:ext uri="{FF2B5EF4-FFF2-40B4-BE49-F238E27FC236}">
                <a16:creationId xmlns:a16="http://schemas.microsoft.com/office/drawing/2014/main" id="{13CA01EC-74E7-46D6-B9C3-3BF3818DA2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1E65F41B-A18F-4D3E-915F-1F329317406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ep 23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C98D8-5B98-41C4-AEFF-4A77CD0676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5759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430514"/>
            <a:ext cx="5317806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531780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31780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D7C5ACFB-61B7-4A08-AE8A-3A80BEC2E2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02BAA9CC-763F-4505-97C9-24D4ABD8DD6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ep 23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10E761E0-3587-4A31-997F-CE8E3A358C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3874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32288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half" idx="13"/>
          </p:nvPr>
        </p:nvSpPr>
        <p:spPr>
          <a:xfrm>
            <a:off x="8220076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id="{6C53AB53-6653-42B1-B9D6-EB2EFF4B49D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76E638A8-EB6B-4563-B520-8A8A6A3E664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6013A4E0-8BC8-43BD-AE29-7D448DF33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5184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2549562"/>
            <a:ext cx="10906298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F64073-2668-46FE-AD35-445DFFB448D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6"/>
            </p:custDataLst>
          </p:nvPr>
        </p:nvSpPr>
        <p:spPr>
          <a:xfrm>
            <a:off x="642851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Subject matter -- Insert text here 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EC542A2-EEE2-4DCF-B881-FD6F8C730597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7"/>
            </p:custDataLst>
          </p:nvPr>
        </p:nvSpPr>
        <p:spPr>
          <a:xfrm>
            <a:off x="6184669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-- Insert text here </a:t>
            </a:r>
          </a:p>
        </p:txBody>
      </p:sp>
      <p:sp>
        <p:nvSpPr>
          <p:cNvPr id="42" name="Section Header">
            <a:extLst>
              <a:ext uri="{FF2B5EF4-FFF2-40B4-BE49-F238E27FC236}">
                <a16:creationId xmlns:a16="http://schemas.microsoft.com/office/drawing/2014/main" id="{42230C15-E0EF-475B-8C56-8180ED2FC02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9" name="Report Date">
            <a:extLst>
              <a:ext uri="{FF2B5EF4-FFF2-40B4-BE49-F238E27FC236}">
                <a16:creationId xmlns:a16="http://schemas.microsoft.com/office/drawing/2014/main" id="{B66C8374-F5C4-4996-A017-C80027E874A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40" name="Page Number">
            <a:extLst>
              <a:ext uri="{FF2B5EF4-FFF2-40B4-BE49-F238E27FC236}">
                <a16:creationId xmlns:a16="http://schemas.microsoft.com/office/drawing/2014/main" id="{00FF76E0-A4C6-4C27-96DB-D6E6C03A892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41" name="Presentation Disclaimer">
            <a:extLst>
              <a:ext uri="{FF2B5EF4-FFF2-40B4-BE49-F238E27FC236}">
                <a16:creationId xmlns:a16="http://schemas.microsoft.com/office/drawing/2014/main" id="{08D357CF-2BDC-45D2-B8A1-33CD43A8FB0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43" name="Section Footer">
            <a:extLst>
              <a:ext uri="{FF2B5EF4-FFF2-40B4-BE49-F238E27FC236}">
                <a16:creationId xmlns:a16="http://schemas.microsoft.com/office/drawing/2014/main" id="{98D7C6BC-F4A4-4F9C-A8BF-E320D746F02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93993BF-D529-458F-A6DB-FF58DC66AF25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69A4775-51B2-49AF-BE77-A2DD117CCF43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raft stamp">
            <a:extLst>
              <a:ext uri="{FF2B5EF4-FFF2-40B4-BE49-F238E27FC236}">
                <a16:creationId xmlns:a16="http://schemas.microsoft.com/office/drawing/2014/main" id="{17968DA8-EB16-47EE-839F-ED9A501B8C2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2162306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56B3548-5EB8-714F-93B3-BD8CE8C6C99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32288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half" idx="13"/>
          </p:nvPr>
        </p:nvSpPr>
        <p:spPr>
          <a:xfrm>
            <a:off x="8220076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255A06FB-EE8B-4642-9C1A-40B8F0083D8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CB39C188-B397-483D-80EC-B5D9D1384E65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5CA8159A-8660-4BB5-BFF5-FCB30C41DA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6910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EC1E7080-72F9-4244-AFA9-CEE3373F1B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9C15D536-803A-4FDA-96C2-0DD6A243A97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766AC7EC-26A9-4359-B160-8DCDEB14FC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8953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2F08066-BCE7-3945-BE4E-1DEA43569B7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5" name="Presentation Footer">
            <a:extLst>
              <a:ext uri="{FF2B5EF4-FFF2-40B4-BE49-F238E27FC236}">
                <a16:creationId xmlns:a16="http://schemas.microsoft.com/office/drawing/2014/main" id="{7A38251C-F0F6-4C4E-90EA-046EBE3900D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D1CEFF90-96A0-43B5-A905-C1B1E995A88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9026E04C-2403-4D04-9506-C1AEDD8BEC5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2086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resentation Footer">
            <a:extLst>
              <a:ext uri="{FF2B5EF4-FFF2-40B4-BE49-F238E27FC236}">
                <a16:creationId xmlns:a16="http://schemas.microsoft.com/office/drawing/2014/main" id="{2361EBB0-BC2B-4110-AFF0-9612E9BCBE6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B2E9937C-7E30-4F8A-B2DC-3CABA59F5C8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5289CCE2-B31E-4A52-83B1-71AE544EE2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682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CBFC701-7287-1F4F-B6FA-1BECCBF324C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Presentation Footer">
            <a:extLst>
              <a:ext uri="{FF2B5EF4-FFF2-40B4-BE49-F238E27FC236}">
                <a16:creationId xmlns:a16="http://schemas.microsoft.com/office/drawing/2014/main" id="{EBE12295-1610-4511-8950-3D9E038E4C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7" name="Date">
            <a:extLst>
              <a:ext uri="{FF2B5EF4-FFF2-40B4-BE49-F238E27FC236}">
                <a16:creationId xmlns:a16="http://schemas.microsoft.com/office/drawing/2014/main" id="{6226A18B-2E48-47C8-8231-AE2C5DF4E67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9652FBC2-942D-468E-8FFB-4961241D5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6927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F36C29E-E542-4CF8-8350-7B2993AB9F1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E49564D-E876-4F96-AA36-94443DF6A6B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D1C35B22-67CB-4342-8F23-814ABE95E98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Presentation Footer">
            <a:extLst>
              <a:ext uri="{FF2B5EF4-FFF2-40B4-BE49-F238E27FC236}">
                <a16:creationId xmlns:a16="http://schemas.microsoft.com/office/drawing/2014/main" id="{143150FA-7ADA-4D3B-8D83-185C5B9627F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21" name="Date">
            <a:extLst>
              <a:ext uri="{FF2B5EF4-FFF2-40B4-BE49-F238E27FC236}">
                <a16:creationId xmlns:a16="http://schemas.microsoft.com/office/drawing/2014/main" id="{654B51D6-1525-4D38-B225-69AC562201D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22" name="Slide Number">
            <a:extLst>
              <a:ext uri="{FF2B5EF4-FFF2-40B4-BE49-F238E27FC236}">
                <a16:creationId xmlns:a16="http://schemas.microsoft.com/office/drawing/2014/main" id="{9CE3AF0A-026B-4716-8B65-D5F631540C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5315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CE153FD-285A-D647-ADE4-833E86A9CF52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DF41A2FF-FB3D-4971-8B6D-3BD731DE505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7662A741-222C-4F6F-9366-53AED64CAC1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2C7502DD-886C-4B7F-ACDF-7765ADE3972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Presentation Footer">
            <a:extLst>
              <a:ext uri="{FF2B5EF4-FFF2-40B4-BE49-F238E27FC236}">
                <a16:creationId xmlns:a16="http://schemas.microsoft.com/office/drawing/2014/main" id="{E528D06F-5262-4849-B168-CAB133AE792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8844EFB6-E1C5-4C39-8ECF-FB91260B5DA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238FF94D-6991-41E6-8DF6-656C300803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2351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5647D158-444C-4C82-ACB0-9AB0A3521F0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723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09E9185D-B5E2-42D8-B0BB-64A2406425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4EDDB54A-2316-4869-8165-5986C6003418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3" name="Content Placeholder 5">
            <a:extLst>
              <a:ext uri="{FF2B5EF4-FFF2-40B4-BE49-F238E27FC236}">
                <a16:creationId xmlns:a16="http://schemas.microsoft.com/office/drawing/2014/main" id="{C944BFAA-989E-4744-AC4B-DF3B93FF7EF7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B9DDE53E-9EDD-4F33-A597-8A2E4C6CBC9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1C6AF745-C28E-4CFB-995D-464989BC2E6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E93105BA-6858-4899-BF66-66DC46BAE1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5972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A3591F7-EFF5-C649-BCF8-906639EFF4C9}"/>
              </a:ext>
            </a:extLst>
          </p:cNvPr>
          <p:cNvSpPr>
            <a:spLocks noGrp="1"/>
          </p:cNvSpPr>
          <p:nvPr>
            <p:ph type="subTitle" idx="23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4F44128-4414-43CF-8270-05DD5E55901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723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550B7EC-9A89-4137-AC2C-8E055967FFC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CAE92F97-7ADC-46A9-8EB2-EF00E7B8C3B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5" name="Content Placeholder 5">
            <a:extLst>
              <a:ext uri="{FF2B5EF4-FFF2-40B4-BE49-F238E27FC236}">
                <a16:creationId xmlns:a16="http://schemas.microsoft.com/office/drawing/2014/main" id="{F0AE013A-6661-47CF-A7AF-4541D1BE18D6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8" name="Presentation Footer">
            <a:extLst>
              <a:ext uri="{FF2B5EF4-FFF2-40B4-BE49-F238E27FC236}">
                <a16:creationId xmlns:a16="http://schemas.microsoft.com/office/drawing/2014/main" id="{476632F6-66EA-4654-B66C-2F08C8E1CEB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8B148D9B-4228-4F7F-B491-CFE84F85C04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309E4F0E-DE98-4D2A-9BFB-DA7217D327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0556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4"/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5"/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7BDE18C-B6F5-4F07-92F2-88EB0F06DA8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723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EAB83E31-ADC6-4472-8BCC-A5123751071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2C9889D5-4B26-4E63-BD3D-E58AF8BFA96E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7636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3" name="Content Placeholder 5">
            <a:extLst>
              <a:ext uri="{FF2B5EF4-FFF2-40B4-BE49-F238E27FC236}">
                <a16:creationId xmlns:a16="http://schemas.microsoft.com/office/drawing/2014/main" id="{D4154D0B-36B2-465C-8CF8-5F641F04607D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3" name="Presentation Footer">
            <a:extLst>
              <a:ext uri="{FF2B5EF4-FFF2-40B4-BE49-F238E27FC236}">
                <a16:creationId xmlns:a16="http://schemas.microsoft.com/office/drawing/2014/main" id="{8DCF3834-7D5F-40E8-8AF6-4F88731AE16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24" name="Date">
            <a:extLst>
              <a:ext uri="{FF2B5EF4-FFF2-40B4-BE49-F238E27FC236}">
                <a16:creationId xmlns:a16="http://schemas.microsoft.com/office/drawing/2014/main" id="{29A7CEAD-580B-4DE6-A2E0-E3DAE79DE6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9F5E421A-2098-44B9-874B-993CE3B5FA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8399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2549562"/>
            <a:ext cx="5364480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2549562"/>
            <a:ext cx="5364480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 hidden="1"/>
          <p:cNvSpPr txBox="1"/>
          <p:nvPr>
            <p:custDataLst>
              <p:tags r:id="rId4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F64073-2668-46FE-AD35-445DFFB448D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7"/>
            </p:custDataLst>
          </p:nvPr>
        </p:nvSpPr>
        <p:spPr>
          <a:xfrm>
            <a:off x="642851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Subject matter -- Insert text here 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EC542A2-EEE2-4DCF-B881-FD6F8C730597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8"/>
            </p:custDataLst>
          </p:nvPr>
        </p:nvSpPr>
        <p:spPr>
          <a:xfrm>
            <a:off x="6184669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-- Insert text here </a:t>
            </a:r>
          </a:p>
        </p:txBody>
      </p:sp>
      <p:sp>
        <p:nvSpPr>
          <p:cNvPr id="43" name="Section Header">
            <a:extLst>
              <a:ext uri="{FF2B5EF4-FFF2-40B4-BE49-F238E27FC236}">
                <a16:creationId xmlns:a16="http://schemas.microsoft.com/office/drawing/2014/main" id="{7F444856-1130-46B5-A045-52E1A79FBBD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Report Date">
            <a:extLst>
              <a:ext uri="{FF2B5EF4-FFF2-40B4-BE49-F238E27FC236}">
                <a16:creationId xmlns:a16="http://schemas.microsoft.com/office/drawing/2014/main" id="{B4D96363-5048-42D4-A625-7660951202C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6" name="Page Number">
            <a:extLst>
              <a:ext uri="{FF2B5EF4-FFF2-40B4-BE49-F238E27FC236}">
                <a16:creationId xmlns:a16="http://schemas.microsoft.com/office/drawing/2014/main" id="{59EA6C49-2D7E-4FCB-8DA7-C1A79DF7B9B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2072BD5A-7576-4E0D-976F-209E7B832A2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0698F7A3-ECB8-4459-B242-13A3C3A4C41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0767C8B-73EA-42B7-9AA5-AE3E0CFA7F2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E701F06-0467-480F-B3C7-DDF18CF6675F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Draft stamp">
            <a:extLst>
              <a:ext uri="{FF2B5EF4-FFF2-40B4-BE49-F238E27FC236}">
                <a16:creationId xmlns:a16="http://schemas.microsoft.com/office/drawing/2014/main" id="{76E39CD5-987F-43AE-B084-849EE59B5399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146971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5194D818-D8E8-5342-BDE8-319BC1FCE4A9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136A12B2-03B5-4BC2-942B-CDF222899B39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19698F39-9E08-4628-9EAA-9DFB91AB41F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19DD7D57-3E24-4739-9180-648AACAD80C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C238DBFC-D359-4AE7-953F-513D1249339E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F75EAC27-A3D9-42D2-B8B6-307439DE0C9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723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8B897F92-3121-4E86-B159-DB3A78790D25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91ECA7E9-EB6F-4C5F-9E75-057DD0429E4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7636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5" name="Content Placeholder 5">
            <a:extLst>
              <a:ext uri="{FF2B5EF4-FFF2-40B4-BE49-F238E27FC236}">
                <a16:creationId xmlns:a16="http://schemas.microsoft.com/office/drawing/2014/main" id="{364D15F8-8EEC-45CD-98E7-4DEE5949D11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5" name="Presentation Footer">
            <a:extLst>
              <a:ext uri="{FF2B5EF4-FFF2-40B4-BE49-F238E27FC236}">
                <a16:creationId xmlns:a16="http://schemas.microsoft.com/office/drawing/2014/main" id="{292FBB13-99BA-4730-97DD-6B927BAB2B93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26" name="Date">
            <a:extLst>
              <a:ext uri="{FF2B5EF4-FFF2-40B4-BE49-F238E27FC236}">
                <a16:creationId xmlns:a16="http://schemas.microsoft.com/office/drawing/2014/main" id="{2CE8D507-C7DC-4A8C-AC5D-5AA897162AE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C5452FF6-710C-4162-87A0-D32E3D9ED2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1139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B3707D2C-7DF3-4EFE-9DD4-E8C7AA8B545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83D88E3C-7EF7-4B3C-9713-6E89C69AC6B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0842AC8-8412-4D65-BC9D-953648FAE4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7386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168D6DA-542B-6F48-A3F4-9AAC02852C7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8D9C67B1-50E6-4DEF-9BFF-7719E52635D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FCC2D15B-C84F-4D88-A2DE-44282445E10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34B491E1-3607-4463-BA21-5BF30F9657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36767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8" name="Presentation Footer">
            <a:extLst>
              <a:ext uri="{FF2B5EF4-FFF2-40B4-BE49-F238E27FC236}">
                <a16:creationId xmlns:a16="http://schemas.microsoft.com/office/drawing/2014/main" id="{A2808A79-2905-41A1-B99C-1D393D6CBBB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6423CBA3-567A-4416-8DCF-ACBDBFE4FA84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B4165E1-39E1-4A48-8ED6-9C3A963577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8472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8" name="Rectangle 7"/>
          <p:cNvSpPr/>
          <p:nvPr/>
        </p:nvSpPr>
        <p:spPr bwMode="hidden">
          <a:xfrm>
            <a:off x="0" y="2103438"/>
            <a:ext cx="3971925" cy="406876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0370" y="2377440"/>
            <a:ext cx="3611880" cy="1737360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3600" b="1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3931920"/>
            <a:ext cx="3328986" cy="20617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 marL="18288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91440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109728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28016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46304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327525" y="2095500"/>
            <a:ext cx="7421563" cy="4076699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22E99923-0EF3-4147-8318-0DCE770AA4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E63AAD15-CC4C-4F4E-A7D4-8BDF4A9C465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F704AF40-9537-48E1-AA82-98F733AB70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82095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327524" y="2095500"/>
            <a:ext cx="3533775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22571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4327525" y="3599542"/>
            <a:ext cx="3533775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222571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Presentation Footer">
            <a:extLst>
              <a:ext uri="{FF2B5EF4-FFF2-40B4-BE49-F238E27FC236}">
                <a16:creationId xmlns:a16="http://schemas.microsoft.com/office/drawing/2014/main" id="{488ECE07-0F56-4D42-88E7-9EE4A6875A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92A20B44-BAC5-421A-834E-C0336D10C99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33099B9F-B5BB-4BD7-90DF-E6FE03CA95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81647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8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442913" y="2103438"/>
            <a:ext cx="11306175" cy="4068762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C65B6F41-E802-4CF5-8B9F-07044F8CB1E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3213A3B9-A059-4CBD-8F51-BA0FDCD9A0F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D55E6CB-0F32-42F1-A94F-C799A281C5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287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5473699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>
                <a:solidFill>
                  <a:schemeClr val="tx1"/>
                </a:solidFill>
              </a:rPr>
              <a:t>pwc.com</a:t>
            </a:r>
          </a:p>
        </p:txBody>
      </p:sp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659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61250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1350677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1090629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/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/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/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9" name="Report Date">
            <a:extLst>
              <a:ext uri="{FF2B5EF4-FFF2-40B4-BE49-F238E27FC236}">
                <a16:creationId xmlns:a16="http://schemas.microsoft.com/office/drawing/2014/main" id="{64581E60-A0D4-4BC1-823A-2B418E8F212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30" name="Page Number">
            <a:extLst>
              <a:ext uri="{FF2B5EF4-FFF2-40B4-BE49-F238E27FC236}">
                <a16:creationId xmlns:a16="http://schemas.microsoft.com/office/drawing/2014/main" id="{41779BE8-A4CC-4DAD-B153-54092D7A99B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1" name="Presentation Disclaimer">
            <a:extLst>
              <a:ext uri="{FF2B5EF4-FFF2-40B4-BE49-F238E27FC236}">
                <a16:creationId xmlns:a16="http://schemas.microsoft.com/office/drawing/2014/main" id="{3C2E928F-BA23-4F06-9CC3-E08864FB846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2" name="Section Footer">
            <a:extLst>
              <a:ext uri="{FF2B5EF4-FFF2-40B4-BE49-F238E27FC236}">
                <a16:creationId xmlns:a16="http://schemas.microsoft.com/office/drawing/2014/main" id="{8D2C9B10-5BE7-4AF8-BFF8-A3046EC4F94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87D8D29-B820-4A31-8280-EFE6F9FA98F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B44D133-2D16-42A3-A3AD-A385F9C01A0E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78302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6D911B5-C441-B44D-9980-56426B1A19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21887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F941B13-F925-1C4F-8990-F4149ED1B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7520168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9202158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7495008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41637622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8615313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43000"/>
            <a:ext cx="4572000" cy="4572000"/>
          </a:xfrm>
          <a:solidFill>
            <a:srgbClr val="E0301E"/>
          </a:solidFill>
        </p:spPr>
        <p:txBody>
          <a:bodyPr lIns="438912" tIns="1440000" rIns="252000" bIns="180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442913" y="1623703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1D36D47-D12A-3142-B681-815978E85E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042CAE4-1315-134B-A97D-6331422E40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51649C-08F4-D84A-9E3B-1FCB427D60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3461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ACB6F4-A2A7-6E4D-A8EB-50B5B35AAD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FC6095-B1C7-6143-B9FD-C545A6D035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F7A802-0AAE-FA43-8858-03590E76403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9517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618CEB-562C-EF47-A905-BA1BD3BB0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BEC181-486E-E441-8900-B8446C2DF2C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1E6323-CD0D-424F-880F-55737281900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65387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5DC986-4502-464F-A426-50A70EA2E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17195B-4456-9145-8D6E-97A5EBDF8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67263F-492F-7F4E-9E89-2A38E1B27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3456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4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:a16="http://schemas.microsoft.com/office/drawing/2014/main" id="{A8AA2BC8-1024-45CC-9E76-6C0E7A21F6C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A89B890D-CBFA-4D2C-BB10-C27690A9929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57CE9966-8074-4152-9D34-F90B6B3C28D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FC58C329-4792-4816-A60A-3D2DCE9CA03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AFC1A6-EFD9-4BBD-86EB-FA5F92D972EA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5CE69C-839D-427C-8F86-57156ADECE5D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306360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F95925A0-A65A-B94F-AD42-4A17D5E9B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01CB2D71-BA29-2E4C-A7F8-AB7C48FCE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E0FBAD1-BD7F-C249-B609-9F42DAA28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225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5944E79-860F-9542-986D-3F487E112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03EA61-A2A9-8D46-A8C8-F5D81CC93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4410A1E-B181-CB46-A25E-398B598C5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6786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DF2FE2-E936-7745-91D2-A6D8CA7F5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FEE05-057D-214D-903C-F8FD6A36D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DD12AF3-FC08-E446-85E1-796189A84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908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B60EFE-B508-D848-9B02-A73119F18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Sep 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B4447-C39F-954F-B842-43560F6E9D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9D7BB50-999D-5745-BB53-011066651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3293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6697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ection Footer"/>
          <p:cNvSpPr txBox="1"/>
          <p:nvPr userDrawn="1">
            <p:custDataLst>
              <p:tags r:id="rId1"/>
            </p:custDataLst>
          </p:nvPr>
        </p:nvSpPr>
        <p:spPr>
          <a:xfrm>
            <a:off x="644821" y="6259472"/>
            <a:ext cx="65" cy="1494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 algn="l">
              <a:spcAft>
                <a:spcPts val="885"/>
              </a:spcAft>
            </a:pPr>
            <a:endParaRPr lang="en-GB" sz="971" noProof="1">
              <a:latin typeface="+mn-lt"/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2"/>
            </p:custDataLst>
          </p:nvPr>
        </p:nvSpPr>
        <p:spPr>
          <a:xfrm>
            <a:off x="6184669" y="6407292"/>
            <a:ext cx="3657600" cy="1494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endParaRPr lang="en-GB" sz="971" noProof="1"/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644821" y="6113049"/>
            <a:ext cx="10769600" cy="1494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971" noProof="1"/>
          </a:p>
        </p:txBody>
      </p:sp>
      <p:sp>
        <p:nvSpPr>
          <p:cNvPr id="17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6637822" y="467958"/>
            <a:ext cx="4903585" cy="1357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r>
              <a:rPr lang="en-GB" sz="882" noProof="1">
                <a:latin typeface="+mn-lt"/>
              </a:rPr>
              <a:t>21/07/2017 C:\Users\panktib211\Desktop\AutomotiveSector_ForensicServices_Draft_170717.pptx</a:t>
            </a:r>
          </a:p>
        </p:txBody>
      </p:sp>
    </p:spTree>
    <p:extLst>
      <p:ext uri="{BB962C8B-B14F-4D97-AF65-F5344CB8AC3E}">
        <p14:creationId xmlns:p14="http://schemas.microsoft.com/office/powerpoint/2010/main" val="334478118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1B0421D-0F2C-4D5C-8C6A-4F33BBA87B51}"/>
              </a:ext>
            </a:extLst>
          </p:cNvPr>
          <p:cNvGrpSpPr/>
          <p:nvPr/>
        </p:nvGrpSpPr>
        <p:grpSpPr>
          <a:xfrm>
            <a:off x="1" y="1192"/>
            <a:ext cx="12191999" cy="4534816"/>
            <a:chOff x="0" y="-1850"/>
            <a:chExt cx="10058399" cy="513945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AC2468B-7B7C-4C8C-B055-6EEB0FDFB458}"/>
                </a:ext>
              </a:extLst>
            </p:cNvPr>
            <p:cNvSpPr/>
            <p:nvPr/>
          </p:nvSpPr>
          <p:spPr bwMode="hidden">
            <a:xfrm>
              <a:off x="0" y="-1850"/>
              <a:ext cx="6738778" cy="3854593"/>
            </a:xfrm>
            <a:prstGeom prst="rect">
              <a:avLst/>
            </a:pr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BBA73F9-E23B-456D-80BC-9D102C6807BF}"/>
                </a:ext>
              </a:extLst>
            </p:cNvPr>
            <p:cNvSpPr/>
            <p:nvPr/>
          </p:nvSpPr>
          <p:spPr bwMode="hidden">
            <a:xfrm>
              <a:off x="0" y="3852743"/>
              <a:ext cx="6738778" cy="1284865"/>
            </a:xfrm>
            <a:prstGeom prst="rect">
              <a:avLst/>
            </a:pr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BE32A15-DC57-4998-AEBF-FEB28AD4F1C7}"/>
                </a:ext>
              </a:extLst>
            </p:cNvPr>
            <p:cNvSpPr/>
            <p:nvPr/>
          </p:nvSpPr>
          <p:spPr bwMode="hidden">
            <a:xfrm>
              <a:off x="6738779" y="-1850"/>
              <a:ext cx="3319620" cy="3854593"/>
            </a:xfrm>
            <a:prstGeom prst="rect">
              <a:avLst/>
            </a:prstGeom>
            <a:solidFill>
              <a:srgbClr val="EB8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/>
            </a:p>
          </p:txBody>
        </p: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ADEBCFBD-4064-4013-BFAD-CD6A74630F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gray">
          <a:xfrm>
            <a:off x="345196" y="5410798"/>
            <a:ext cx="2182367" cy="1311444"/>
          </a:xfrm>
          <a:prstGeom prst="rect">
            <a:avLst/>
          </a:prstGeom>
        </p:spPr>
      </p:pic>
      <p:sp>
        <p:nvSpPr>
          <p:cNvPr id="12" name="Report Title">
            <a:extLst>
              <a:ext uri="{FF2B5EF4-FFF2-40B4-BE49-F238E27FC236}">
                <a16:creationId xmlns:a16="http://schemas.microsoft.com/office/drawing/2014/main" id="{33E879B0-433D-44B8-A45C-4AA9431195B4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7362768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D138D7C5-AFED-488C-9EB0-31F9B7E94C5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3475573"/>
            <a:ext cx="7362768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B4906E0-DCF0-4572-8EB8-2DD2439A515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02834" y="4338549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4D76D332-7278-485D-8CDF-6978AE979BD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02834" y="4153041"/>
            <a:ext cx="2669925" cy="1747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E3D03A1-F1AB-4918-AAE4-A674AC23F6D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3701056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7008349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E44432-2DD3-429B-9192-CDE2430039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5" y="1401"/>
          <a:ext cx="1925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3" imgH="424" progId="TCLayout.ActiveDocument.1">
                  <p:embed/>
                </p:oleObj>
              </mc:Choice>
              <mc:Fallback>
                <p:oleObj name="think-cell Slide" r:id="rId10" imgW="423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E44432-2DD3-429B-9192-CDE2430039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25" y="1401"/>
                        <a:ext cx="1925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04E73762-5B0C-4A73-AAD9-B6C6DB42A1C9}"/>
              </a:ext>
            </a:extLst>
          </p:cNvPr>
          <p:cNvSpPr/>
          <p:nvPr/>
        </p:nvSpPr>
        <p:spPr>
          <a:xfrm>
            <a:off x="0" y="0"/>
            <a:ext cx="3147753" cy="685800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235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21C81E0-A595-44BD-A048-8DF8E985F86C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5" t="30898" r="32576" b="30525"/>
          <a:stretch/>
        </p:blipFill>
        <p:spPr>
          <a:xfrm>
            <a:off x="543224" y="941294"/>
            <a:ext cx="1175030" cy="669407"/>
          </a:xfrm>
          <a:prstGeom prst="rect">
            <a:avLst/>
          </a:prstGeom>
        </p:spPr>
      </p:pic>
      <p:sp>
        <p:nvSpPr>
          <p:cNvPr id="19" name="Draft stamp">
            <a:extLst>
              <a:ext uri="{FF2B5EF4-FFF2-40B4-BE49-F238E27FC236}">
                <a16:creationId xmlns:a16="http://schemas.microsoft.com/office/drawing/2014/main" id="{AF78C4E9-5EC7-47A9-8CD3-A576720D21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888DD68-89F1-4B99-A070-7459C90282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3225" y="1815353"/>
            <a:ext cx="2409846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EBB040F-A728-48CD-A5B9-F69EC5296F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225" y="5356604"/>
            <a:ext cx="2409846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ress Placeholder </a:t>
            </a:r>
          </a:p>
        </p:txBody>
      </p:sp>
      <p:cxnSp>
        <p:nvCxnSpPr>
          <p:cNvPr id="22" name="Frame Line">
            <a:extLst>
              <a:ext uri="{FF2B5EF4-FFF2-40B4-BE49-F238E27FC236}">
                <a16:creationId xmlns:a16="http://schemas.microsoft.com/office/drawing/2014/main" id="{F7BAF0B3-E029-470C-87E4-46D3229C1448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3585682" y="1748118"/>
            <a:ext cx="796913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33075B3C-DA49-4F57-9409-515CA5F8C1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5683" y="941295"/>
            <a:ext cx="3213601" cy="149362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1A63BB9A-729A-4857-BE09-F8368F34E8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5683" y="1815353"/>
            <a:ext cx="7963465" cy="36186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6" name="Report Date">
            <a:extLst>
              <a:ext uri="{FF2B5EF4-FFF2-40B4-BE49-F238E27FC236}">
                <a16:creationId xmlns:a16="http://schemas.microsoft.com/office/drawing/2014/main" id="{EE19D4BC-B65F-4593-B6DA-6CEA94B7B65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latin typeface="+mn-lt"/>
              </a:rPr>
              <a:t>1 April 2019</a:t>
            </a: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DBA60797-0C6B-4279-88BD-0214B400B51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48283" y="6317437"/>
            <a:ext cx="3037401" cy="10861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Strictly private and confidential</a:t>
            </a:r>
          </a:p>
        </p:txBody>
      </p:sp>
      <p:sp>
        <p:nvSpPr>
          <p:cNvPr id="28" name="Page Number">
            <a:extLst>
              <a:ext uri="{FF2B5EF4-FFF2-40B4-BE49-F238E27FC236}">
                <a16:creationId xmlns:a16="http://schemas.microsoft.com/office/drawing/2014/main" id="{0AC58CDE-7BF7-4E9A-86DE-005A8226C2D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7BC2F3DA-F5E4-44B0-8190-5C4510FA91E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31830" y="6468674"/>
            <a:ext cx="278118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A4FBAFA-F1A1-40A6-9134-3230D2D92D31}"/>
              </a:ext>
            </a:extLst>
          </p:cNvPr>
          <p:cNvSpPr txBox="1"/>
          <p:nvPr/>
        </p:nvSpPr>
        <p:spPr>
          <a:xfrm>
            <a:off x="543224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0810281-0E5A-4B69-940A-B5D1F833254D}"/>
              </a:ext>
            </a:extLst>
          </p:cNvPr>
          <p:cNvCxnSpPr>
            <a:cxnSpLocks/>
          </p:cNvCxnSpPr>
          <p:nvPr/>
        </p:nvCxnSpPr>
        <p:spPr>
          <a:xfrm>
            <a:off x="869680" y="6478603"/>
            <a:ext cx="0" cy="8875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HeaderTOCPlaceholder"/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93240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etter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port Date">
            <a:extLst>
              <a:ext uri="{FF2B5EF4-FFF2-40B4-BE49-F238E27FC236}">
                <a16:creationId xmlns:a16="http://schemas.microsoft.com/office/drawing/2014/main" id="{53D1EBEC-E8DA-41B3-AC08-642CC2A5848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latin typeface="+mn-lt"/>
              </a:rPr>
              <a:t>1 April 2019</a:t>
            </a:r>
          </a:p>
        </p:txBody>
      </p:sp>
      <p:sp>
        <p:nvSpPr>
          <p:cNvPr id="19" name="Draft stamp">
            <a:extLst>
              <a:ext uri="{FF2B5EF4-FFF2-40B4-BE49-F238E27FC236}">
                <a16:creationId xmlns:a16="http://schemas.microsoft.com/office/drawing/2014/main" id="{AF78C4E9-5EC7-47A9-8CD3-A576720D210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21430" y="6317429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0E7DDA1-E9E0-4BD2-9F18-4D73A5A3E3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09305" y="1282424"/>
            <a:ext cx="3904775" cy="4611356"/>
          </a:xfrm>
        </p:spPr>
        <p:txBody>
          <a:bodyPr/>
          <a:lstStyle>
            <a:lvl1pPr>
              <a:defRPr sz="794"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A63B2BC-C1AA-475D-80E8-6103AE0017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44375" y="1282424"/>
            <a:ext cx="3904775" cy="4611356"/>
          </a:xfrm>
        </p:spPr>
        <p:txBody>
          <a:bodyPr/>
          <a:lstStyle>
            <a:lvl1pPr>
              <a:defRPr sz="794"/>
            </a:lvl1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772873F-F098-49A1-B629-C8530BE60C1A}"/>
              </a:ext>
            </a:extLst>
          </p:cNvPr>
          <p:cNvSpPr/>
          <p:nvPr/>
        </p:nvSpPr>
        <p:spPr>
          <a:xfrm>
            <a:off x="1" y="0"/>
            <a:ext cx="3150086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235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318A1954-C595-46AF-9BD0-C51B68380FC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5" t="30898" r="32576" b="30525"/>
          <a:stretch/>
        </p:blipFill>
        <p:spPr>
          <a:xfrm>
            <a:off x="543224" y="941294"/>
            <a:ext cx="1175030" cy="669407"/>
          </a:xfrm>
          <a:prstGeom prst="rect">
            <a:avLst/>
          </a:prstGeom>
        </p:spPr>
      </p:pic>
      <p:sp>
        <p:nvSpPr>
          <p:cNvPr id="34" name="Presentation Disclaimer">
            <a:extLst>
              <a:ext uri="{FF2B5EF4-FFF2-40B4-BE49-F238E27FC236}">
                <a16:creationId xmlns:a16="http://schemas.microsoft.com/office/drawing/2014/main" id="{04DDCE90-61F5-41F7-BCB5-5378C4B9A37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48283" y="6087752"/>
            <a:ext cx="2376566" cy="10861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r>
              <a:rPr lang="en-GB" sz="706" noProof="1">
                <a:solidFill>
                  <a:schemeClr val="bg2"/>
                </a:solidFill>
              </a:rPr>
              <a:t>Strictly private and confidential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011B331F-A998-4B93-9E0F-EFB8090DC5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3225" y="1815353"/>
            <a:ext cx="2376566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Insert text here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012E331A-BF46-4F6E-9356-402F5B3A21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225" y="5230180"/>
            <a:ext cx="2376566" cy="149362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ress Placeholder </a:t>
            </a:r>
          </a:p>
        </p:txBody>
      </p:sp>
      <p:sp>
        <p:nvSpPr>
          <p:cNvPr id="41" name="Page Number">
            <a:extLst>
              <a:ext uri="{FF2B5EF4-FFF2-40B4-BE49-F238E27FC236}">
                <a16:creationId xmlns:a16="http://schemas.microsoft.com/office/drawing/2014/main" id="{F36165EE-352C-4AC1-98EF-60E59C280DC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42" name="Section Footer">
            <a:extLst>
              <a:ext uri="{FF2B5EF4-FFF2-40B4-BE49-F238E27FC236}">
                <a16:creationId xmlns:a16="http://schemas.microsoft.com/office/drawing/2014/main" id="{DFD9E5A5-EA34-4218-A4A4-FD56114AF05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31830" y="6468674"/>
            <a:ext cx="278118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8601950-F3C4-4D1E-A940-993B2DC79208}"/>
              </a:ext>
            </a:extLst>
          </p:cNvPr>
          <p:cNvSpPr txBox="1"/>
          <p:nvPr/>
        </p:nvSpPr>
        <p:spPr>
          <a:xfrm>
            <a:off x="543224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D043B99-C2CB-4B03-BAF5-2B73C672E9E7}"/>
              </a:ext>
            </a:extLst>
          </p:cNvPr>
          <p:cNvCxnSpPr>
            <a:cxnSpLocks/>
          </p:cNvCxnSpPr>
          <p:nvPr/>
        </p:nvCxnSpPr>
        <p:spPr>
          <a:xfrm>
            <a:off x="869680" y="6478603"/>
            <a:ext cx="0" cy="8875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raft stamp">
            <a:extLst>
              <a:ext uri="{FF2B5EF4-FFF2-40B4-BE49-F238E27FC236}">
                <a16:creationId xmlns:a16="http://schemas.microsoft.com/office/drawing/2014/main" id="{0C7A3222-0907-4B8B-931D-CDF391F1375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  <p:sp>
        <p:nvSpPr>
          <p:cNvPr id="17" name="HeaderTOCPlaceholder"/>
          <p:cNvSpPr txBox="1"/>
          <p:nvPr>
            <p:custDataLst>
              <p:tags r:id="rId7"/>
            </p:custDataLst>
          </p:nvPr>
        </p:nvSpPr>
        <p:spPr>
          <a:xfrm>
            <a:off x="3378647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HeaderTOCPlaceholder"/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765193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2549562"/>
            <a:ext cx="10906298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F64073-2668-46FE-AD35-445DFFB448D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6"/>
            </p:custDataLst>
          </p:nvPr>
        </p:nvSpPr>
        <p:spPr>
          <a:xfrm>
            <a:off x="642851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Subject matter -- Insert text here 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EC542A2-EEE2-4DCF-B881-FD6F8C730597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7"/>
            </p:custDataLst>
          </p:nvPr>
        </p:nvSpPr>
        <p:spPr>
          <a:xfrm>
            <a:off x="6184669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-- Insert text here </a:t>
            </a:r>
          </a:p>
        </p:txBody>
      </p:sp>
      <p:sp>
        <p:nvSpPr>
          <p:cNvPr id="42" name="Section Header">
            <a:extLst>
              <a:ext uri="{FF2B5EF4-FFF2-40B4-BE49-F238E27FC236}">
                <a16:creationId xmlns:a16="http://schemas.microsoft.com/office/drawing/2014/main" id="{42230C15-E0EF-475B-8C56-8180ED2FC02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9" name="Report Date">
            <a:extLst>
              <a:ext uri="{FF2B5EF4-FFF2-40B4-BE49-F238E27FC236}">
                <a16:creationId xmlns:a16="http://schemas.microsoft.com/office/drawing/2014/main" id="{B66C8374-F5C4-4996-A017-C80027E874A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40" name="Page Number">
            <a:extLst>
              <a:ext uri="{FF2B5EF4-FFF2-40B4-BE49-F238E27FC236}">
                <a16:creationId xmlns:a16="http://schemas.microsoft.com/office/drawing/2014/main" id="{00FF76E0-A4C6-4C27-96DB-D6E6C03A892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41" name="Presentation Disclaimer">
            <a:extLst>
              <a:ext uri="{FF2B5EF4-FFF2-40B4-BE49-F238E27FC236}">
                <a16:creationId xmlns:a16="http://schemas.microsoft.com/office/drawing/2014/main" id="{08D357CF-2BDC-45D2-B8A1-33CD43A8FB0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43" name="Section Footer">
            <a:extLst>
              <a:ext uri="{FF2B5EF4-FFF2-40B4-BE49-F238E27FC236}">
                <a16:creationId xmlns:a16="http://schemas.microsoft.com/office/drawing/2014/main" id="{98D7C6BC-F4A4-4F9C-A8BF-E320D746F02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93993BF-D529-458F-A6DB-FF58DC66AF25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69A4775-51B2-49AF-BE77-A2DD117CCF43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raft stamp">
            <a:extLst>
              <a:ext uri="{FF2B5EF4-FFF2-40B4-BE49-F238E27FC236}">
                <a16:creationId xmlns:a16="http://schemas.microsoft.com/office/drawing/2014/main" id="{17968DA8-EB16-47EE-839F-ED9A501B8C2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0263840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721975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8035637" y="1815353"/>
            <a:ext cx="3506124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4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176703B5-D291-496D-B26E-525DA3A3675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:a16="http://schemas.microsoft.com/office/drawing/2014/main" id="{53D88DCA-117D-416D-82D2-2367ED968B2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D7336B48-3136-4E82-8B16-FBC22E8CAE0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90BED7C2-73F9-48D2-A750-793071C5693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951C7BF0-CFC4-4094-AA1F-87A845BB89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2F61651-EB89-48D4-A6DE-27384110A6BB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3DD7B9E-30C4-4159-BFEE-77F215166572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018647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2549562"/>
            <a:ext cx="5364480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2549562"/>
            <a:ext cx="5364480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 hidden="1"/>
          <p:cNvSpPr txBox="1"/>
          <p:nvPr>
            <p:custDataLst>
              <p:tags r:id="rId4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F64073-2668-46FE-AD35-445DFFB448D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7"/>
            </p:custDataLst>
          </p:nvPr>
        </p:nvSpPr>
        <p:spPr>
          <a:xfrm>
            <a:off x="642851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Subject matter -- Insert text here 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EC542A2-EEE2-4DCF-B881-FD6F8C730597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8"/>
            </p:custDataLst>
          </p:nvPr>
        </p:nvSpPr>
        <p:spPr>
          <a:xfrm>
            <a:off x="6184669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-- Insert text here </a:t>
            </a:r>
          </a:p>
        </p:txBody>
      </p:sp>
      <p:sp>
        <p:nvSpPr>
          <p:cNvPr id="43" name="Section Header">
            <a:extLst>
              <a:ext uri="{FF2B5EF4-FFF2-40B4-BE49-F238E27FC236}">
                <a16:creationId xmlns:a16="http://schemas.microsoft.com/office/drawing/2014/main" id="{7F444856-1130-46B5-A045-52E1A79FBBD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Report Date">
            <a:extLst>
              <a:ext uri="{FF2B5EF4-FFF2-40B4-BE49-F238E27FC236}">
                <a16:creationId xmlns:a16="http://schemas.microsoft.com/office/drawing/2014/main" id="{B4D96363-5048-42D4-A625-7660951202C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6" name="Page Number">
            <a:extLst>
              <a:ext uri="{FF2B5EF4-FFF2-40B4-BE49-F238E27FC236}">
                <a16:creationId xmlns:a16="http://schemas.microsoft.com/office/drawing/2014/main" id="{59EA6C49-2D7E-4FCB-8DA7-C1A79DF7B9B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2072BD5A-7576-4E0D-976F-209E7B832A29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0698F7A3-ECB8-4459-B242-13A3C3A4C41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0767C8B-73EA-42B7-9AA5-AE3E0CFA7F2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E701F06-0467-480F-B3C7-DDF18CF6675F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Draft stamp">
            <a:extLst>
              <a:ext uri="{FF2B5EF4-FFF2-40B4-BE49-F238E27FC236}">
                <a16:creationId xmlns:a16="http://schemas.microsoft.com/office/drawing/2014/main" id="{76E39CD5-987F-43AE-B084-849EE59B5399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/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30087507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1090629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/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/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/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9" name="Report Date">
            <a:extLst>
              <a:ext uri="{FF2B5EF4-FFF2-40B4-BE49-F238E27FC236}">
                <a16:creationId xmlns:a16="http://schemas.microsoft.com/office/drawing/2014/main" id="{64581E60-A0D4-4BC1-823A-2B418E8F212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30" name="Page Number">
            <a:extLst>
              <a:ext uri="{FF2B5EF4-FFF2-40B4-BE49-F238E27FC236}">
                <a16:creationId xmlns:a16="http://schemas.microsoft.com/office/drawing/2014/main" id="{41779BE8-A4CC-4DAD-B153-54092D7A99B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1" name="Presentation Disclaimer">
            <a:extLst>
              <a:ext uri="{FF2B5EF4-FFF2-40B4-BE49-F238E27FC236}">
                <a16:creationId xmlns:a16="http://schemas.microsoft.com/office/drawing/2014/main" id="{3C2E928F-BA23-4F06-9CC3-E08864FB846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2" name="Section Footer">
            <a:extLst>
              <a:ext uri="{FF2B5EF4-FFF2-40B4-BE49-F238E27FC236}">
                <a16:creationId xmlns:a16="http://schemas.microsoft.com/office/drawing/2014/main" id="{8D2C9B10-5BE7-4AF8-BFF8-A3046EC4F94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87D8D29-B820-4A31-8280-EFE6F9FA98F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B44D133-2D16-42A3-A3AD-A385F9C01A0E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076420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4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:a16="http://schemas.microsoft.com/office/drawing/2014/main" id="{A8AA2BC8-1024-45CC-9E76-6C0E7A21F6C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A89B890D-CBFA-4D2C-BB10-C27690A9929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57CE9966-8074-4152-9D34-F90B6B3C28D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FC58C329-4792-4816-A60A-3D2DCE9CA03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AFC1A6-EFD9-4BBD-86EB-FA5F92D972EA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5CE69C-839D-427C-8F86-57156ADECE5D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201656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721975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8035637" y="1815353"/>
            <a:ext cx="3506124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4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176703B5-D291-496D-B26E-525DA3A3675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:a16="http://schemas.microsoft.com/office/drawing/2014/main" id="{53D88DCA-117D-416D-82D2-2367ED968B2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D7336B48-3136-4E82-8B16-FBC22E8CAE0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90BED7C2-73F9-48D2-A750-793071C5693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951C7BF0-CFC4-4094-AA1F-87A845BB89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2F61651-EB89-48D4-A6DE-27384110A6BB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3DD7B9E-30C4-4159-BFEE-77F215166572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11785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0" y="1815353"/>
            <a:ext cx="5360787" cy="208429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42850" y="4042186"/>
            <a:ext cx="5360787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188364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4" name="HeaderTOCPlaceholder"/>
          <p:cNvSpPr txBox="1"/>
          <p:nvPr>
            <p:custDataLst>
              <p:tags r:id="rId4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5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Date/Filepath" hidden="1"/>
          <p:cNvSpPr txBox="1"/>
          <p:nvPr>
            <p:custDataLst>
              <p:tags r:id="rId6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20" name="Slide Tags" hidden="1"/>
          <p:cNvSpPr txBox="1"/>
          <p:nvPr>
            <p:custDataLst>
              <p:tags r:id="rId7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4" name="Draft stamp">
            <a:extLst>
              <a:ext uri="{FF2B5EF4-FFF2-40B4-BE49-F238E27FC236}">
                <a16:creationId xmlns:a16="http://schemas.microsoft.com/office/drawing/2014/main" id="{98F467DD-E508-4793-B8C1-41188C0178B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19" name="Report Date">
            <a:extLst>
              <a:ext uri="{FF2B5EF4-FFF2-40B4-BE49-F238E27FC236}">
                <a16:creationId xmlns:a16="http://schemas.microsoft.com/office/drawing/2014/main" id="{BDC234B1-84B0-44C3-BE38-95CEC0CA133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1" name="Page Number">
            <a:extLst>
              <a:ext uri="{FF2B5EF4-FFF2-40B4-BE49-F238E27FC236}">
                <a16:creationId xmlns:a16="http://schemas.microsoft.com/office/drawing/2014/main" id="{B4A20242-E44A-4263-95BA-D1D5664EE2C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3" name="Presentation Disclaimer">
            <a:extLst>
              <a:ext uri="{FF2B5EF4-FFF2-40B4-BE49-F238E27FC236}">
                <a16:creationId xmlns:a16="http://schemas.microsoft.com/office/drawing/2014/main" id="{885D6D75-46D2-4F31-9186-3D5BFAC2EBA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880E68C9-26BA-4DB5-861B-DC433ABD5EC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B6D62A-63C1-496F-864F-F8EA90700F13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FA8B007-F8F4-4D8B-B7BA-C35A62369B11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15287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to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46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Section Header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2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21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0"/>
            <p:custDataLst>
              <p:tags r:id="rId5"/>
            </p:custDataLst>
          </p:nvPr>
        </p:nvSpPr>
        <p:spPr>
          <a:xfrm>
            <a:off x="642851" y="1815353"/>
            <a:ext cx="5364480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11"/>
            <p:custDataLst>
              <p:tags r:id="rId6"/>
            </p:custDataLst>
          </p:nvPr>
        </p:nvSpPr>
        <p:spPr>
          <a:xfrm>
            <a:off x="6184669" y="1815353"/>
            <a:ext cx="5364480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4"/>
          <p:cNvSpPr>
            <a:spLocks noGrp="1"/>
          </p:cNvSpPr>
          <p:nvPr>
            <p:ph sz="quarter" idx="12"/>
            <p:custDataLst>
              <p:tags r:id="rId7"/>
            </p:custDataLst>
          </p:nvPr>
        </p:nvSpPr>
        <p:spPr>
          <a:xfrm>
            <a:off x="642851" y="4043202"/>
            <a:ext cx="10906298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Draft stamp">
            <a:extLst>
              <a:ext uri="{FF2B5EF4-FFF2-40B4-BE49-F238E27FC236}">
                <a16:creationId xmlns:a16="http://schemas.microsoft.com/office/drawing/2014/main" id="{E4D3AC3D-FB5C-4056-B3CE-C6F20174717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:a16="http://schemas.microsoft.com/office/drawing/2014/main" id="{D8BE6AE2-E4FA-4A4C-9F4A-0801F27EF15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7" name="Page Number">
            <a:extLst>
              <a:ext uri="{FF2B5EF4-FFF2-40B4-BE49-F238E27FC236}">
                <a16:creationId xmlns:a16="http://schemas.microsoft.com/office/drawing/2014/main" id="{B132AC77-15B7-427D-9EDA-27E044A04CD8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9" name="Presentation Disclaimer">
            <a:extLst>
              <a:ext uri="{FF2B5EF4-FFF2-40B4-BE49-F238E27FC236}">
                <a16:creationId xmlns:a16="http://schemas.microsoft.com/office/drawing/2014/main" id="{C1ACCB47-82D5-446E-80FB-2690A95152B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0" name="Section Footer">
            <a:extLst>
              <a:ext uri="{FF2B5EF4-FFF2-40B4-BE49-F238E27FC236}">
                <a16:creationId xmlns:a16="http://schemas.microsoft.com/office/drawing/2014/main" id="{9A254952-4576-4CFE-B61C-9E618027811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DDE2759-0B78-4BAC-9091-A3898FCC7E2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D178E40-037A-4FB9-9A78-25D7EB7BC066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21228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 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6"/>
            </p:custDataLst>
          </p:nvPr>
        </p:nvSpPr>
        <p:spPr>
          <a:xfrm>
            <a:off x="4339244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7"/>
            </p:custDataLst>
          </p:nvPr>
        </p:nvSpPr>
        <p:spPr>
          <a:xfrm>
            <a:off x="8035636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Report Date">
            <a:extLst>
              <a:ext uri="{FF2B5EF4-FFF2-40B4-BE49-F238E27FC236}">
                <a16:creationId xmlns:a16="http://schemas.microsoft.com/office/drawing/2014/main" id="{71242622-92E5-4577-9939-C23982B6F01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5" name="Page Number">
            <a:extLst>
              <a:ext uri="{FF2B5EF4-FFF2-40B4-BE49-F238E27FC236}">
                <a16:creationId xmlns:a16="http://schemas.microsoft.com/office/drawing/2014/main" id="{7253FE5D-87D6-4F45-BF52-14884C4140B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6" name="Presentation Disclaimer">
            <a:extLst>
              <a:ext uri="{FF2B5EF4-FFF2-40B4-BE49-F238E27FC236}">
                <a16:creationId xmlns:a16="http://schemas.microsoft.com/office/drawing/2014/main" id="{2DE48912-752E-4B28-992E-A8018FA045F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7" name="Section Footer">
            <a:extLst>
              <a:ext uri="{FF2B5EF4-FFF2-40B4-BE49-F238E27FC236}">
                <a16:creationId xmlns:a16="http://schemas.microsoft.com/office/drawing/2014/main" id="{24E13DC1-0CD8-4F00-BEB6-8ED480D1657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7E1B077-C346-4667-9422-134889A69A8E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30B69CA-5FCE-4A4A-B144-701CC8BBBE64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raft stamp">
            <a:extLst>
              <a:ext uri="{FF2B5EF4-FFF2-40B4-BE49-F238E27FC236}">
                <a16:creationId xmlns:a16="http://schemas.microsoft.com/office/drawing/2014/main" id="{8BA4733D-DD24-4E66-AB15-27D0B8AA9EB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1762821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642851" y="1815353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6184669" y="1815353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42851" y="4042186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184669" y="4042186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1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Section Header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21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:a16="http://schemas.microsoft.com/office/drawing/2014/main" id="{C9AC37EA-A51B-4D19-8AFD-D5550BB1DBD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2" name="Page Number">
            <a:extLst>
              <a:ext uri="{FF2B5EF4-FFF2-40B4-BE49-F238E27FC236}">
                <a16:creationId xmlns:a16="http://schemas.microsoft.com/office/drawing/2014/main" id="{D5E4965D-0DB2-40AB-8C54-A02F73111BD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5D5F1A31-F3C3-4E8D-8EE5-5D802CF63C9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8" name="Section Footer">
            <a:extLst>
              <a:ext uri="{FF2B5EF4-FFF2-40B4-BE49-F238E27FC236}">
                <a16:creationId xmlns:a16="http://schemas.microsoft.com/office/drawing/2014/main" id="{386FB611-2223-4501-B9AF-3FF47256085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337E43E-8B9E-4332-A613-62823857903C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42FC379-8CCB-4D1B-B59F-CD6E374799E5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raft stamp">
            <a:extLst>
              <a:ext uri="{FF2B5EF4-FFF2-40B4-BE49-F238E27FC236}">
                <a16:creationId xmlns:a16="http://schemas.microsoft.com/office/drawing/2014/main" id="{2F22AEF7-CCE6-447D-A2ED-AE17E661B93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5601409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>
            <p:custDataLst>
              <p:tags r:id="rId1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5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365901029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12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8180128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Insert banner statement here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0" y="1815353"/>
            <a:ext cx="5360787" cy="208429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42850" y="4042186"/>
            <a:ext cx="5360787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188364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4" name="HeaderTOCPlaceholder"/>
          <p:cNvSpPr txBox="1"/>
          <p:nvPr>
            <p:custDataLst>
              <p:tags r:id="rId4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5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5" name="Date/Filepath" hidden="1"/>
          <p:cNvSpPr txBox="1"/>
          <p:nvPr>
            <p:custDataLst>
              <p:tags r:id="rId6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20" name="Slide Tags" hidden="1"/>
          <p:cNvSpPr txBox="1"/>
          <p:nvPr>
            <p:custDataLst>
              <p:tags r:id="rId7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4" name="Draft stamp">
            <a:extLst>
              <a:ext uri="{FF2B5EF4-FFF2-40B4-BE49-F238E27FC236}">
                <a16:creationId xmlns:a16="http://schemas.microsoft.com/office/drawing/2014/main" id="{98F467DD-E508-4793-B8C1-41188C0178B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19" name="Report Date">
            <a:extLst>
              <a:ext uri="{FF2B5EF4-FFF2-40B4-BE49-F238E27FC236}">
                <a16:creationId xmlns:a16="http://schemas.microsoft.com/office/drawing/2014/main" id="{BDC234B1-84B0-44C3-BE38-95CEC0CA133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1" name="Page Number">
            <a:extLst>
              <a:ext uri="{FF2B5EF4-FFF2-40B4-BE49-F238E27FC236}">
                <a16:creationId xmlns:a16="http://schemas.microsoft.com/office/drawing/2014/main" id="{B4A20242-E44A-4263-95BA-D1D5664EE2C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3" name="Presentation Disclaimer">
            <a:extLst>
              <a:ext uri="{FF2B5EF4-FFF2-40B4-BE49-F238E27FC236}">
                <a16:creationId xmlns:a16="http://schemas.microsoft.com/office/drawing/2014/main" id="{885D6D75-46D2-4F31-9186-3D5BFAC2EBA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880E68C9-26BA-4DB5-861B-DC433ABD5EC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B6D62A-63C1-496F-864F-F8EA90700F13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FA8B007-F8F4-4D8B-B7BA-C35A62369B11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5369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/>
          </a:p>
        </p:txBody>
      </p:sp>
      <p:sp>
        <p:nvSpPr>
          <p:cNvPr id="6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7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878B0EBC-141B-4C4F-A362-F528990FC2B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15" name="Page Number">
            <a:extLst>
              <a:ext uri="{FF2B5EF4-FFF2-40B4-BE49-F238E27FC236}">
                <a16:creationId xmlns:a16="http://schemas.microsoft.com/office/drawing/2014/main" id="{C9163938-2785-4D1F-BF6D-38BF33DF9B9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16" name="Presentation Disclaimer">
            <a:extLst>
              <a:ext uri="{FF2B5EF4-FFF2-40B4-BE49-F238E27FC236}">
                <a16:creationId xmlns:a16="http://schemas.microsoft.com/office/drawing/2014/main" id="{C7F05687-DF8A-4343-AC91-BC2675AFB87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3" name="Section Footer">
            <a:extLst>
              <a:ext uri="{FF2B5EF4-FFF2-40B4-BE49-F238E27FC236}">
                <a16:creationId xmlns:a16="http://schemas.microsoft.com/office/drawing/2014/main" id="{DED794C3-4383-43AC-902C-5A450186D19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4F52D2-7367-4B0E-9D2D-29AFCA9CD2CD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F7E5360-4F8D-4FCD-B7AC-F798EC35A7AE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raft stamp">
            <a:extLst>
              <a:ext uri="{FF2B5EF4-FFF2-40B4-BE49-F238E27FC236}">
                <a16:creationId xmlns:a16="http://schemas.microsoft.com/office/drawing/2014/main" id="{1DF6D7B6-5867-4B92-8FBA-C62AA2356B0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02221203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7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EA7A290B-C63D-405E-8ACC-CE7A7042C43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18" name="Page Number">
            <a:extLst>
              <a:ext uri="{FF2B5EF4-FFF2-40B4-BE49-F238E27FC236}">
                <a16:creationId xmlns:a16="http://schemas.microsoft.com/office/drawing/2014/main" id="{A58703A6-1313-434F-9F41-5C0717B2C4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19" name="Presentation Disclaimer">
            <a:extLst>
              <a:ext uri="{FF2B5EF4-FFF2-40B4-BE49-F238E27FC236}">
                <a16:creationId xmlns:a16="http://schemas.microsoft.com/office/drawing/2014/main" id="{FEED1EAE-54DA-4BFE-B8AA-01FAFBE1AB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1" name="Section Footer">
            <a:extLst>
              <a:ext uri="{FF2B5EF4-FFF2-40B4-BE49-F238E27FC236}">
                <a16:creationId xmlns:a16="http://schemas.microsoft.com/office/drawing/2014/main" id="{F1847CC5-B1D1-4474-9C3E-39FBF238FC9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891E66-7DDE-4707-BC15-833A2E60B93F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939BE09-0D2C-4954-8138-608BE1226ADD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raft stamp">
            <a:extLst>
              <a:ext uri="{FF2B5EF4-FFF2-40B4-BE49-F238E27FC236}">
                <a16:creationId xmlns:a16="http://schemas.microsoft.com/office/drawing/2014/main" id="{6C4C93B2-A619-441E-B329-F1D1D1339EB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76215900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 a Glanc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3513513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At a glance 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6"/>
            </p:custDataLst>
          </p:nvPr>
        </p:nvSpPr>
        <p:spPr>
          <a:xfrm>
            <a:off x="4339244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7"/>
            </p:custDataLst>
          </p:nvPr>
        </p:nvSpPr>
        <p:spPr>
          <a:xfrm>
            <a:off x="8035636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3EFFD349-10E5-48CF-8A59-EF1555B521B2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8"/>
            </p:custDataLst>
          </p:nvPr>
        </p:nvSpPr>
        <p:spPr>
          <a:xfrm>
            <a:off x="4339244" y="949817"/>
            <a:ext cx="7209905" cy="742278"/>
          </a:xfrm>
        </p:spPr>
        <p:txBody>
          <a:bodyPr tIns="0" bIns="0"/>
          <a:lstStyle>
            <a:lvl1pPr>
              <a:defRPr sz="882" b="1" i="0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/>
              <a:t>PwC view – Insert text here </a:t>
            </a:r>
          </a:p>
        </p:txBody>
      </p:sp>
      <p:sp>
        <p:nvSpPr>
          <p:cNvPr id="25" name="Report Date">
            <a:extLst>
              <a:ext uri="{FF2B5EF4-FFF2-40B4-BE49-F238E27FC236}">
                <a16:creationId xmlns:a16="http://schemas.microsoft.com/office/drawing/2014/main" id="{0665A064-6277-415D-A60B-2C406E27F0A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6" name="Page Number">
            <a:extLst>
              <a:ext uri="{FF2B5EF4-FFF2-40B4-BE49-F238E27FC236}">
                <a16:creationId xmlns:a16="http://schemas.microsoft.com/office/drawing/2014/main" id="{3E3BCC40-17E6-40CE-86FB-031964A7D93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>
            <a:extLst>
              <a:ext uri="{FF2B5EF4-FFF2-40B4-BE49-F238E27FC236}">
                <a16:creationId xmlns:a16="http://schemas.microsoft.com/office/drawing/2014/main" id="{E93B3E1C-A734-4BF7-8D8A-7ABE20B0541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9" name="Section Footer">
            <a:extLst>
              <a:ext uri="{FF2B5EF4-FFF2-40B4-BE49-F238E27FC236}">
                <a16:creationId xmlns:a16="http://schemas.microsoft.com/office/drawing/2014/main" id="{EAB395CC-B6E8-411B-AD9B-E9D9855FB07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4D888D0-1439-411F-967C-CAA5F572B50E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D75FF6B-0198-42AD-B231-B2AA3F0AE8FC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raft stamp">
            <a:extLst>
              <a:ext uri="{FF2B5EF4-FFF2-40B4-BE49-F238E27FC236}">
                <a16:creationId xmlns:a16="http://schemas.microsoft.com/office/drawing/2014/main" id="{E209326F-C152-4F60-A83B-88FAC2D99544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64293811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loss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Glossary</a:t>
            </a:r>
            <a:endParaRPr lang="en-GB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1090629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BCDE7FFC-7693-4723-B753-B6E41BB1B5E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tx1"/>
                </a:solidFill>
                <a:latin typeface="+mn-lt"/>
              </a:rPr>
              <a:t>1 April 2019</a:t>
            </a:r>
          </a:p>
        </p:txBody>
      </p:sp>
      <p:sp>
        <p:nvSpPr>
          <p:cNvPr id="23" name="Page Number">
            <a:extLst>
              <a:ext uri="{FF2B5EF4-FFF2-40B4-BE49-F238E27FC236}">
                <a16:creationId xmlns:a16="http://schemas.microsoft.com/office/drawing/2014/main" id="{48686681-E6DE-42F4-A1DD-218D21E6C1A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4" name="Presentation Disclaimer">
            <a:extLst>
              <a:ext uri="{FF2B5EF4-FFF2-40B4-BE49-F238E27FC236}">
                <a16:creationId xmlns:a16="http://schemas.microsoft.com/office/drawing/2014/main" id="{3DD43CF5-DB97-4C55-B532-40D00A448FD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42851" y="6317429"/>
            <a:ext cx="1227900" cy="10861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5" name="Section Footer">
            <a:extLst>
              <a:ext uri="{FF2B5EF4-FFF2-40B4-BE49-F238E27FC236}">
                <a16:creationId xmlns:a16="http://schemas.microsoft.com/office/drawing/2014/main" id="{21726509-E513-4245-AE69-0956E3B4711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31457" y="6468674"/>
            <a:ext cx="2967768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74265E-D6B4-4307-BBAE-41A376249A96}"/>
              </a:ext>
            </a:extLst>
          </p:cNvPr>
          <p:cNvSpPr txBox="1"/>
          <p:nvPr/>
        </p:nvSpPr>
        <p:spPr>
          <a:xfrm>
            <a:off x="642851" y="6468674"/>
            <a:ext cx="282781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706" noProof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2174D3C-422F-4C24-91E7-4C14614D41BB}"/>
              </a:ext>
            </a:extLst>
          </p:cNvPr>
          <p:cNvCxnSpPr>
            <a:cxnSpLocks/>
          </p:cNvCxnSpPr>
          <p:nvPr/>
        </p:nvCxnSpPr>
        <p:spPr>
          <a:xfrm>
            <a:off x="969307" y="6478603"/>
            <a:ext cx="0" cy="8875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raft stamp">
            <a:extLst>
              <a:ext uri="{FF2B5EF4-FFF2-40B4-BE49-F238E27FC236}">
                <a16:creationId xmlns:a16="http://schemas.microsoft.com/office/drawing/2014/main" id="{B9EC7613-0765-4C3E-A317-ECEF6A7225C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57161528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5609"/>
            <a:ext cx="7891549" cy="665349"/>
          </a:xfrm>
          <a:solidFill>
            <a:schemeClr val="accent6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353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4FBEF6FA-A0C7-46EC-AFF5-9AFA4782851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B864BC2B-A74D-467D-99EB-1EE062BBD3C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65455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5609"/>
            <a:ext cx="7891549" cy="665349"/>
          </a:xfrm>
          <a:solidFill>
            <a:schemeClr val="accent1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353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0E108681-ED46-4FCD-AF9B-B0F12DB8236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9FB0E485-E0C8-4B7D-BB20-D326D12F239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58746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1294"/>
            <a:ext cx="7892524" cy="669664"/>
          </a:xfrm>
          <a:solidFill>
            <a:schemeClr val="accent6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3530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784D724-50E8-40C9-83D5-3D08BB1550D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DB77E1-10C5-41A7-B534-2D41309DC8D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52210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1294"/>
            <a:ext cx="7892524" cy="669664"/>
          </a:xfrm>
          <a:solidFill>
            <a:schemeClr val="accent4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3530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4/1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1066646" y="6317429"/>
            <a:ext cx="482503" cy="1086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r>
              <a:rPr lang="en-GB" sz="706" noProof="1">
                <a:solidFill>
                  <a:schemeClr val="bg1"/>
                </a:solidFill>
                <a:latin typeface="+mn-lt"/>
              </a:rPr>
              <a:t>1 April 2019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1161222" y="6453410"/>
            <a:ext cx="387927" cy="123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06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344786" y="6468666"/>
            <a:ext cx="2582487" cy="1086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6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2C19DD9-BA46-4527-91D3-9377718D0CB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1998C4-AD53-42B5-93F1-BC4AA20A524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139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5309062" cy="2517289"/>
          </a:xfrm>
        </p:spPr>
        <p:txBody>
          <a:bodyPr vert="horz" lIns="0" tIns="0" rIns="0" bIns="0" rtlCol="0" anchor="b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4236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/>
              <a:t>Thank you</a:t>
            </a:r>
            <a:endParaRPr lang="en-GB"/>
          </a:p>
        </p:txBody>
      </p:sp>
      <p:sp>
        <p:nvSpPr>
          <p:cNvPr id="8" name="Slide Tags" hidden="1"/>
          <p:cNvSpPr txBox="1"/>
          <p:nvPr>
            <p:custDataLst>
              <p:tags r:id="rId1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AF4687C-57A8-453A-A049-0D4DDFEA3263}"/>
              </a:ext>
            </a:extLst>
          </p:cNvPr>
          <p:cNvSpPr/>
          <p:nvPr/>
        </p:nvSpPr>
        <p:spPr bwMode="hidden">
          <a:xfrm>
            <a:off x="0" y="4940855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1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C2BBAF-6A4B-47CB-BD75-5168D1A27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5212080"/>
            <a:ext cx="10906298" cy="137160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[Legal]</a:t>
            </a:r>
          </a:p>
        </p:txBody>
      </p:sp>
    </p:spTree>
    <p:extLst>
      <p:ext uri="{BB962C8B-B14F-4D97-AF65-F5344CB8AC3E}">
        <p14:creationId xmlns:p14="http://schemas.microsoft.com/office/powerpoint/2010/main" val="120422863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9">
            <a:extLst>
              <a:ext uri="{FF2B5EF4-FFF2-40B4-BE49-F238E27FC236}">
                <a16:creationId xmlns:a16="http://schemas.microsoft.com/office/drawing/2014/main" id="{88EEE73C-8877-43D1-86A9-69E953630E6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709" r="24167"/>
          <a:stretch/>
        </p:blipFill>
        <p:spPr>
          <a:xfrm>
            <a:off x="2493818" y="3"/>
            <a:ext cx="9698182" cy="6868345"/>
          </a:xfrm>
          <a:prstGeom prst="rect">
            <a:avLst/>
          </a:pr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2869856-6182-4B8D-938C-EBFCD02C87F2}"/>
              </a:ext>
            </a:extLst>
          </p:cNvPr>
          <p:cNvSpPr>
            <a:spLocks noChangeAspect="1"/>
          </p:cNvSpPr>
          <p:nvPr/>
        </p:nvSpPr>
        <p:spPr bwMode="white">
          <a:xfrm>
            <a:off x="2" y="1"/>
            <a:ext cx="8367536" cy="68580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068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254741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tags" Target="../tags/tag3.xml"/><Relationship Id="rId8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slideLayout" Target="../slideLayouts/slideLayout101.xml"/><Relationship Id="rId39" Type="http://schemas.openxmlformats.org/officeDocument/2006/relationships/tags" Target="../tags/tag246.xml"/><Relationship Id="rId21" Type="http://schemas.openxmlformats.org/officeDocument/2006/relationships/slideLayout" Target="../slideLayouts/slideLayout96.xml"/><Relationship Id="rId34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slideLayout" Target="../slideLayouts/slideLayout10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32" Type="http://schemas.openxmlformats.org/officeDocument/2006/relationships/slideLayout" Target="../slideLayouts/slideLayout107.xml"/><Relationship Id="rId37" Type="http://schemas.openxmlformats.org/officeDocument/2006/relationships/tags" Target="../tags/tag244.xml"/><Relationship Id="rId40" Type="http://schemas.openxmlformats.org/officeDocument/2006/relationships/oleObject" Target="../embeddings/oleObject3.bin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Relationship Id="rId30" Type="http://schemas.openxmlformats.org/officeDocument/2006/relationships/slideLayout" Target="../slideLayouts/slideLayout105.xml"/><Relationship Id="rId35" Type="http://schemas.openxmlformats.org/officeDocument/2006/relationships/slideLayout" Target="../slideLayouts/slideLayout110.xml"/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33" Type="http://schemas.openxmlformats.org/officeDocument/2006/relationships/slideLayout" Target="../slideLayouts/slideLayout108.xml"/><Relationship Id="rId38" Type="http://schemas.openxmlformats.org/officeDocument/2006/relationships/tags" Target="../tags/tag24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26" Type="http://schemas.openxmlformats.org/officeDocument/2006/relationships/slideLayout" Target="../slideLayouts/slideLayout136.xml"/><Relationship Id="rId39" Type="http://schemas.openxmlformats.org/officeDocument/2006/relationships/oleObject" Target="../embeddings/oleObject8.bin"/><Relationship Id="rId21" Type="http://schemas.openxmlformats.org/officeDocument/2006/relationships/slideLayout" Target="../slideLayouts/slideLayout131.xml"/><Relationship Id="rId34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5" Type="http://schemas.openxmlformats.org/officeDocument/2006/relationships/slideLayout" Target="../slideLayouts/slideLayout135.xml"/><Relationship Id="rId33" Type="http://schemas.openxmlformats.org/officeDocument/2006/relationships/slideLayout" Target="../slideLayouts/slideLayout143.xml"/><Relationship Id="rId38" Type="http://schemas.openxmlformats.org/officeDocument/2006/relationships/tags" Target="../tags/tag487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0" Type="http://schemas.openxmlformats.org/officeDocument/2006/relationships/slideLayout" Target="../slideLayouts/slideLayout130.xml"/><Relationship Id="rId29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24" Type="http://schemas.openxmlformats.org/officeDocument/2006/relationships/slideLayout" Target="../slideLayouts/slideLayout134.xml"/><Relationship Id="rId32" Type="http://schemas.openxmlformats.org/officeDocument/2006/relationships/slideLayout" Target="../slideLayouts/slideLayout142.xml"/><Relationship Id="rId37" Type="http://schemas.openxmlformats.org/officeDocument/2006/relationships/tags" Target="../tags/tag486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5.xml"/><Relationship Id="rId23" Type="http://schemas.openxmlformats.org/officeDocument/2006/relationships/slideLayout" Target="../slideLayouts/slideLayout133.xml"/><Relationship Id="rId28" Type="http://schemas.openxmlformats.org/officeDocument/2006/relationships/slideLayout" Target="../slideLayouts/slideLayout138.xml"/><Relationship Id="rId36" Type="http://schemas.openxmlformats.org/officeDocument/2006/relationships/tags" Target="../tags/tag485.xml"/><Relationship Id="rId10" Type="http://schemas.openxmlformats.org/officeDocument/2006/relationships/slideLayout" Target="../slideLayouts/slideLayout120.xml"/><Relationship Id="rId19" Type="http://schemas.openxmlformats.org/officeDocument/2006/relationships/slideLayout" Target="../slideLayouts/slideLayout129.xml"/><Relationship Id="rId31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Relationship Id="rId22" Type="http://schemas.openxmlformats.org/officeDocument/2006/relationships/slideLayout" Target="../slideLayouts/slideLayout132.xml"/><Relationship Id="rId27" Type="http://schemas.openxmlformats.org/officeDocument/2006/relationships/slideLayout" Target="../slideLayouts/slideLayout137.xml"/><Relationship Id="rId30" Type="http://schemas.openxmlformats.org/officeDocument/2006/relationships/slideLayout" Target="../slideLayouts/slideLayout140.xml"/><Relationship Id="rId35" Type="http://schemas.openxmlformats.org/officeDocument/2006/relationships/theme" Target="../theme/theme3.xml"/><Relationship Id="rId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1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7.xml"/><Relationship Id="rId18" Type="http://schemas.openxmlformats.org/officeDocument/2006/relationships/slideLayout" Target="../slideLayouts/slideLayout162.xml"/><Relationship Id="rId26" Type="http://schemas.openxmlformats.org/officeDocument/2006/relationships/slideLayout" Target="../slideLayouts/slideLayout170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165.xml"/><Relationship Id="rId34" Type="http://schemas.openxmlformats.org/officeDocument/2006/relationships/theme" Target="../theme/theme4.xml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17" Type="http://schemas.openxmlformats.org/officeDocument/2006/relationships/slideLayout" Target="../slideLayouts/slideLayout161.xml"/><Relationship Id="rId25" Type="http://schemas.openxmlformats.org/officeDocument/2006/relationships/slideLayout" Target="../slideLayouts/slideLayout169.xml"/><Relationship Id="rId33" Type="http://schemas.openxmlformats.org/officeDocument/2006/relationships/slideLayout" Target="../slideLayouts/slideLayout177.xml"/><Relationship Id="rId38" Type="http://schemas.openxmlformats.org/officeDocument/2006/relationships/oleObject" Target="../embeddings/oleObject13.bin"/><Relationship Id="rId2" Type="http://schemas.openxmlformats.org/officeDocument/2006/relationships/slideLayout" Target="../slideLayouts/slideLayout146.xml"/><Relationship Id="rId16" Type="http://schemas.openxmlformats.org/officeDocument/2006/relationships/slideLayout" Target="../slideLayouts/slideLayout160.xml"/><Relationship Id="rId20" Type="http://schemas.openxmlformats.org/officeDocument/2006/relationships/slideLayout" Target="../slideLayouts/slideLayout164.xml"/><Relationship Id="rId29" Type="http://schemas.openxmlformats.org/officeDocument/2006/relationships/slideLayout" Target="../slideLayouts/slideLayout173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24" Type="http://schemas.openxmlformats.org/officeDocument/2006/relationships/slideLayout" Target="../slideLayouts/slideLayout168.xml"/><Relationship Id="rId32" Type="http://schemas.openxmlformats.org/officeDocument/2006/relationships/slideLayout" Target="../slideLayouts/slideLayout176.xml"/><Relationship Id="rId37" Type="http://schemas.openxmlformats.org/officeDocument/2006/relationships/tags" Target="../tags/tag728.xml"/><Relationship Id="rId5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9.xml"/><Relationship Id="rId23" Type="http://schemas.openxmlformats.org/officeDocument/2006/relationships/slideLayout" Target="../slideLayouts/slideLayout167.xml"/><Relationship Id="rId28" Type="http://schemas.openxmlformats.org/officeDocument/2006/relationships/slideLayout" Target="../slideLayouts/slideLayout172.xml"/><Relationship Id="rId36" Type="http://schemas.openxmlformats.org/officeDocument/2006/relationships/tags" Target="../tags/tag727.xml"/><Relationship Id="rId10" Type="http://schemas.openxmlformats.org/officeDocument/2006/relationships/slideLayout" Target="../slideLayouts/slideLayout154.xml"/><Relationship Id="rId19" Type="http://schemas.openxmlformats.org/officeDocument/2006/relationships/slideLayout" Target="../slideLayouts/slideLayout163.xml"/><Relationship Id="rId31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Relationship Id="rId22" Type="http://schemas.openxmlformats.org/officeDocument/2006/relationships/slideLayout" Target="../slideLayouts/slideLayout166.xml"/><Relationship Id="rId27" Type="http://schemas.openxmlformats.org/officeDocument/2006/relationships/slideLayout" Target="../slideLayouts/slideLayout171.xml"/><Relationship Id="rId30" Type="http://schemas.openxmlformats.org/officeDocument/2006/relationships/slideLayout" Target="../slideLayouts/slideLayout174.xml"/><Relationship Id="rId35" Type="http://schemas.openxmlformats.org/officeDocument/2006/relationships/tags" Target="../tags/tag726.xml"/><Relationship Id="rId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slideLayout" Target="../slideLayouts/slideLayout190.xml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slideLayout" Target="../slideLayouts/slideLayout189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179.xml"/><Relationship Id="rId16" Type="http://schemas.openxmlformats.org/officeDocument/2006/relationships/oleObject" Target="../embeddings/oleObject18.bin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tags" Target="../tags/tag967.xml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3.xml"/><Relationship Id="rId18" Type="http://schemas.openxmlformats.org/officeDocument/2006/relationships/slideLayout" Target="../slideLayouts/slideLayout208.xml"/><Relationship Id="rId26" Type="http://schemas.openxmlformats.org/officeDocument/2006/relationships/slideLayout" Target="../slideLayouts/slideLayout216.xml"/><Relationship Id="rId39" Type="http://schemas.openxmlformats.org/officeDocument/2006/relationships/slideLayout" Target="../slideLayouts/slideLayout229.xml"/><Relationship Id="rId21" Type="http://schemas.openxmlformats.org/officeDocument/2006/relationships/slideLayout" Target="../slideLayouts/slideLayout211.xml"/><Relationship Id="rId34" Type="http://schemas.openxmlformats.org/officeDocument/2006/relationships/slideLayout" Target="../slideLayouts/slideLayout224.xml"/><Relationship Id="rId42" Type="http://schemas.openxmlformats.org/officeDocument/2006/relationships/slideLayout" Target="../slideLayouts/slideLayout232.xml"/><Relationship Id="rId47" Type="http://schemas.openxmlformats.org/officeDocument/2006/relationships/slideLayout" Target="../slideLayouts/slideLayout237.xml"/><Relationship Id="rId50" Type="http://schemas.openxmlformats.org/officeDocument/2006/relationships/slideLayout" Target="../slideLayouts/slideLayout240.xml"/><Relationship Id="rId7" Type="http://schemas.openxmlformats.org/officeDocument/2006/relationships/slideLayout" Target="../slideLayouts/slideLayout197.xml"/><Relationship Id="rId2" Type="http://schemas.openxmlformats.org/officeDocument/2006/relationships/slideLayout" Target="../slideLayouts/slideLayout192.xml"/><Relationship Id="rId16" Type="http://schemas.openxmlformats.org/officeDocument/2006/relationships/slideLayout" Target="../slideLayouts/slideLayout206.xml"/><Relationship Id="rId29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01.xml"/><Relationship Id="rId24" Type="http://schemas.openxmlformats.org/officeDocument/2006/relationships/slideLayout" Target="../slideLayouts/slideLayout214.xml"/><Relationship Id="rId32" Type="http://schemas.openxmlformats.org/officeDocument/2006/relationships/slideLayout" Target="../slideLayouts/slideLayout222.xml"/><Relationship Id="rId37" Type="http://schemas.openxmlformats.org/officeDocument/2006/relationships/slideLayout" Target="../slideLayouts/slideLayout227.xml"/><Relationship Id="rId40" Type="http://schemas.openxmlformats.org/officeDocument/2006/relationships/slideLayout" Target="../slideLayouts/slideLayout230.xml"/><Relationship Id="rId45" Type="http://schemas.openxmlformats.org/officeDocument/2006/relationships/slideLayout" Target="../slideLayouts/slideLayout235.xml"/><Relationship Id="rId53" Type="http://schemas.openxmlformats.org/officeDocument/2006/relationships/oleObject" Target="../embeddings/oleObject19.bin"/><Relationship Id="rId5" Type="http://schemas.openxmlformats.org/officeDocument/2006/relationships/slideLayout" Target="../slideLayouts/slideLayout195.xml"/><Relationship Id="rId10" Type="http://schemas.openxmlformats.org/officeDocument/2006/relationships/slideLayout" Target="../slideLayouts/slideLayout200.xml"/><Relationship Id="rId19" Type="http://schemas.openxmlformats.org/officeDocument/2006/relationships/slideLayout" Target="../slideLayouts/slideLayout209.xml"/><Relationship Id="rId31" Type="http://schemas.openxmlformats.org/officeDocument/2006/relationships/slideLayout" Target="../slideLayouts/slideLayout221.xml"/><Relationship Id="rId44" Type="http://schemas.openxmlformats.org/officeDocument/2006/relationships/slideLayout" Target="../slideLayouts/slideLayout234.xml"/><Relationship Id="rId52" Type="http://schemas.openxmlformats.org/officeDocument/2006/relationships/tags" Target="../tags/tag968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slideLayout" Target="../slideLayouts/slideLayout204.xml"/><Relationship Id="rId22" Type="http://schemas.openxmlformats.org/officeDocument/2006/relationships/slideLayout" Target="../slideLayouts/slideLayout212.xml"/><Relationship Id="rId27" Type="http://schemas.openxmlformats.org/officeDocument/2006/relationships/slideLayout" Target="../slideLayouts/slideLayout217.xml"/><Relationship Id="rId30" Type="http://schemas.openxmlformats.org/officeDocument/2006/relationships/slideLayout" Target="../slideLayouts/slideLayout220.xml"/><Relationship Id="rId35" Type="http://schemas.openxmlformats.org/officeDocument/2006/relationships/slideLayout" Target="../slideLayouts/slideLayout225.xml"/><Relationship Id="rId43" Type="http://schemas.openxmlformats.org/officeDocument/2006/relationships/slideLayout" Target="../slideLayouts/slideLayout233.xml"/><Relationship Id="rId48" Type="http://schemas.openxmlformats.org/officeDocument/2006/relationships/slideLayout" Target="../slideLayouts/slideLayout238.xml"/><Relationship Id="rId8" Type="http://schemas.openxmlformats.org/officeDocument/2006/relationships/slideLayout" Target="../slideLayouts/slideLayout198.xml"/><Relationship Id="rId51" Type="http://schemas.openxmlformats.org/officeDocument/2006/relationships/theme" Target="../theme/theme6.xml"/><Relationship Id="rId3" Type="http://schemas.openxmlformats.org/officeDocument/2006/relationships/slideLayout" Target="../slideLayouts/slideLayout193.xml"/><Relationship Id="rId12" Type="http://schemas.openxmlformats.org/officeDocument/2006/relationships/slideLayout" Target="../slideLayouts/slideLayout202.xml"/><Relationship Id="rId17" Type="http://schemas.openxmlformats.org/officeDocument/2006/relationships/slideLayout" Target="../slideLayouts/slideLayout207.xml"/><Relationship Id="rId25" Type="http://schemas.openxmlformats.org/officeDocument/2006/relationships/slideLayout" Target="../slideLayouts/slideLayout215.xml"/><Relationship Id="rId33" Type="http://schemas.openxmlformats.org/officeDocument/2006/relationships/slideLayout" Target="../slideLayouts/slideLayout223.xml"/><Relationship Id="rId38" Type="http://schemas.openxmlformats.org/officeDocument/2006/relationships/slideLayout" Target="../slideLayouts/slideLayout228.xml"/><Relationship Id="rId46" Type="http://schemas.openxmlformats.org/officeDocument/2006/relationships/slideLayout" Target="../slideLayouts/slideLayout236.xml"/><Relationship Id="rId20" Type="http://schemas.openxmlformats.org/officeDocument/2006/relationships/slideLayout" Target="../slideLayouts/slideLayout210.xml"/><Relationship Id="rId41" Type="http://schemas.openxmlformats.org/officeDocument/2006/relationships/slideLayout" Target="../slideLayouts/slideLayout231.xml"/><Relationship Id="rId54" Type="http://schemas.openxmlformats.org/officeDocument/2006/relationships/image" Target="../media/image10.emf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5" Type="http://schemas.openxmlformats.org/officeDocument/2006/relationships/slideLayout" Target="../slideLayouts/slideLayout205.xml"/><Relationship Id="rId23" Type="http://schemas.openxmlformats.org/officeDocument/2006/relationships/slideLayout" Target="../slideLayouts/slideLayout213.xml"/><Relationship Id="rId28" Type="http://schemas.openxmlformats.org/officeDocument/2006/relationships/slideLayout" Target="../slideLayouts/slideLayout218.xml"/><Relationship Id="rId36" Type="http://schemas.openxmlformats.org/officeDocument/2006/relationships/slideLayout" Target="../slideLayouts/slideLayout226.xml"/><Relationship Id="rId49" Type="http://schemas.openxmlformats.org/officeDocument/2006/relationships/slideLayout" Target="../slideLayouts/slideLayout239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6.xml"/><Relationship Id="rId21" Type="http://schemas.openxmlformats.org/officeDocument/2006/relationships/slideLayout" Target="../slideLayouts/slideLayout261.xml"/><Relationship Id="rId42" Type="http://schemas.openxmlformats.org/officeDocument/2006/relationships/slideLayout" Target="../slideLayouts/slideLayout282.xml"/><Relationship Id="rId47" Type="http://schemas.openxmlformats.org/officeDocument/2006/relationships/slideLayout" Target="../slideLayouts/slideLayout287.xml"/><Relationship Id="rId63" Type="http://schemas.openxmlformats.org/officeDocument/2006/relationships/slideLayout" Target="../slideLayouts/slideLayout303.xml"/><Relationship Id="rId68" Type="http://schemas.openxmlformats.org/officeDocument/2006/relationships/theme" Target="../theme/theme7.xml"/><Relationship Id="rId7" Type="http://schemas.openxmlformats.org/officeDocument/2006/relationships/slideLayout" Target="../slideLayouts/slideLayout247.xml"/><Relationship Id="rId71" Type="http://schemas.openxmlformats.org/officeDocument/2006/relationships/image" Target="../media/image9.emf"/><Relationship Id="rId2" Type="http://schemas.openxmlformats.org/officeDocument/2006/relationships/slideLayout" Target="../slideLayouts/slideLayout242.xml"/><Relationship Id="rId16" Type="http://schemas.openxmlformats.org/officeDocument/2006/relationships/slideLayout" Target="../slideLayouts/slideLayout256.xml"/><Relationship Id="rId29" Type="http://schemas.openxmlformats.org/officeDocument/2006/relationships/slideLayout" Target="../slideLayouts/slideLayout269.xml"/><Relationship Id="rId11" Type="http://schemas.openxmlformats.org/officeDocument/2006/relationships/slideLayout" Target="../slideLayouts/slideLayout251.xml"/><Relationship Id="rId24" Type="http://schemas.openxmlformats.org/officeDocument/2006/relationships/slideLayout" Target="../slideLayouts/slideLayout264.xml"/><Relationship Id="rId32" Type="http://schemas.openxmlformats.org/officeDocument/2006/relationships/slideLayout" Target="../slideLayouts/slideLayout272.xml"/><Relationship Id="rId37" Type="http://schemas.openxmlformats.org/officeDocument/2006/relationships/slideLayout" Target="../slideLayouts/slideLayout277.xml"/><Relationship Id="rId40" Type="http://schemas.openxmlformats.org/officeDocument/2006/relationships/slideLayout" Target="../slideLayouts/slideLayout280.xml"/><Relationship Id="rId45" Type="http://schemas.openxmlformats.org/officeDocument/2006/relationships/slideLayout" Target="../slideLayouts/slideLayout285.xml"/><Relationship Id="rId53" Type="http://schemas.openxmlformats.org/officeDocument/2006/relationships/slideLayout" Target="../slideLayouts/slideLayout293.xml"/><Relationship Id="rId58" Type="http://schemas.openxmlformats.org/officeDocument/2006/relationships/slideLayout" Target="../slideLayouts/slideLayout298.xml"/><Relationship Id="rId66" Type="http://schemas.openxmlformats.org/officeDocument/2006/relationships/slideLayout" Target="../slideLayouts/slideLayout306.xml"/><Relationship Id="rId5" Type="http://schemas.openxmlformats.org/officeDocument/2006/relationships/slideLayout" Target="../slideLayouts/slideLayout245.xml"/><Relationship Id="rId61" Type="http://schemas.openxmlformats.org/officeDocument/2006/relationships/slideLayout" Target="../slideLayouts/slideLayout301.xml"/><Relationship Id="rId19" Type="http://schemas.openxmlformats.org/officeDocument/2006/relationships/slideLayout" Target="../slideLayouts/slideLayout259.xml"/><Relationship Id="rId14" Type="http://schemas.openxmlformats.org/officeDocument/2006/relationships/slideLayout" Target="../slideLayouts/slideLayout254.xml"/><Relationship Id="rId22" Type="http://schemas.openxmlformats.org/officeDocument/2006/relationships/slideLayout" Target="../slideLayouts/slideLayout262.xml"/><Relationship Id="rId27" Type="http://schemas.openxmlformats.org/officeDocument/2006/relationships/slideLayout" Target="../slideLayouts/slideLayout267.xml"/><Relationship Id="rId30" Type="http://schemas.openxmlformats.org/officeDocument/2006/relationships/slideLayout" Target="../slideLayouts/slideLayout270.xml"/><Relationship Id="rId35" Type="http://schemas.openxmlformats.org/officeDocument/2006/relationships/slideLayout" Target="../slideLayouts/slideLayout275.xml"/><Relationship Id="rId43" Type="http://schemas.openxmlformats.org/officeDocument/2006/relationships/slideLayout" Target="../slideLayouts/slideLayout283.xml"/><Relationship Id="rId48" Type="http://schemas.openxmlformats.org/officeDocument/2006/relationships/slideLayout" Target="../slideLayouts/slideLayout288.xml"/><Relationship Id="rId56" Type="http://schemas.openxmlformats.org/officeDocument/2006/relationships/slideLayout" Target="../slideLayouts/slideLayout296.xml"/><Relationship Id="rId64" Type="http://schemas.openxmlformats.org/officeDocument/2006/relationships/slideLayout" Target="../slideLayouts/slideLayout304.xml"/><Relationship Id="rId69" Type="http://schemas.openxmlformats.org/officeDocument/2006/relationships/tags" Target="../tags/tag969.xml"/><Relationship Id="rId8" Type="http://schemas.openxmlformats.org/officeDocument/2006/relationships/slideLayout" Target="../slideLayouts/slideLayout248.xml"/><Relationship Id="rId51" Type="http://schemas.openxmlformats.org/officeDocument/2006/relationships/slideLayout" Target="../slideLayouts/slideLayout291.xml"/><Relationship Id="rId3" Type="http://schemas.openxmlformats.org/officeDocument/2006/relationships/slideLayout" Target="../slideLayouts/slideLayout243.xml"/><Relationship Id="rId12" Type="http://schemas.openxmlformats.org/officeDocument/2006/relationships/slideLayout" Target="../slideLayouts/slideLayout252.xml"/><Relationship Id="rId17" Type="http://schemas.openxmlformats.org/officeDocument/2006/relationships/slideLayout" Target="../slideLayouts/slideLayout257.xml"/><Relationship Id="rId25" Type="http://schemas.openxmlformats.org/officeDocument/2006/relationships/slideLayout" Target="../slideLayouts/slideLayout265.xml"/><Relationship Id="rId33" Type="http://schemas.openxmlformats.org/officeDocument/2006/relationships/slideLayout" Target="../slideLayouts/slideLayout273.xml"/><Relationship Id="rId38" Type="http://schemas.openxmlformats.org/officeDocument/2006/relationships/slideLayout" Target="../slideLayouts/slideLayout278.xml"/><Relationship Id="rId46" Type="http://schemas.openxmlformats.org/officeDocument/2006/relationships/slideLayout" Target="../slideLayouts/slideLayout286.xml"/><Relationship Id="rId59" Type="http://schemas.openxmlformats.org/officeDocument/2006/relationships/slideLayout" Target="../slideLayouts/slideLayout299.xml"/><Relationship Id="rId67" Type="http://schemas.openxmlformats.org/officeDocument/2006/relationships/slideLayout" Target="../slideLayouts/slideLayout307.xml"/><Relationship Id="rId20" Type="http://schemas.openxmlformats.org/officeDocument/2006/relationships/slideLayout" Target="../slideLayouts/slideLayout260.xml"/><Relationship Id="rId41" Type="http://schemas.openxmlformats.org/officeDocument/2006/relationships/slideLayout" Target="../slideLayouts/slideLayout281.xml"/><Relationship Id="rId54" Type="http://schemas.openxmlformats.org/officeDocument/2006/relationships/slideLayout" Target="../slideLayouts/slideLayout294.xml"/><Relationship Id="rId62" Type="http://schemas.openxmlformats.org/officeDocument/2006/relationships/slideLayout" Target="../slideLayouts/slideLayout302.xml"/><Relationship Id="rId70" Type="http://schemas.openxmlformats.org/officeDocument/2006/relationships/oleObject" Target="../embeddings/oleObject20.bin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5" Type="http://schemas.openxmlformats.org/officeDocument/2006/relationships/slideLayout" Target="../slideLayouts/slideLayout255.xml"/><Relationship Id="rId23" Type="http://schemas.openxmlformats.org/officeDocument/2006/relationships/slideLayout" Target="../slideLayouts/slideLayout263.xml"/><Relationship Id="rId28" Type="http://schemas.openxmlformats.org/officeDocument/2006/relationships/slideLayout" Target="../slideLayouts/slideLayout268.xml"/><Relationship Id="rId36" Type="http://schemas.openxmlformats.org/officeDocument/2006/relationships/slideLayout" Target="../slideLayouts/slideLayout276.xml"/><Relationship Id="rId49" Type="http://schemas.openxmlformats.org/officeDocument/2006/relationships/slideLayout" Target="../slideLayouts/slideLayout289.xml"/><Relationship Id="rId57" Type="http://schemas.openxmlformats.org/officeDocument/2006/relationships/slideLayout" Target="../slideLayouts/slideLayout297.xml"/><Relationship Id="rId10" Type="http://schemas.openxmlformats.org/officeDocument/2006/relationships/slideLayout" Target="../slideLayouts/slideLayout250.xml"/><Relationship Id="rId31" Type="http://schemas.openxmlformats.org/officeDocument/2006/relationships/slideLayout" Target="../slideLayouts/slideLayout271.xml"/><Relationship Id="rId44" Type="http://schemas.openxmlformats.org/officeDocument/2006/relationships/slideLayout" Target="../slideLayouts/slideLayout284.xml"/><Relationship Id="rId52" Type="http://schemas.openxmlformats.org/officeDocument/2006/relationships/slideLayout" Target="../slideLayouts/slideLayout292.xml"/><Relationship Id="rId60" Type="http://schemas.openxmlformats.org/officeDocument/2006/relationships/slideLayout" Target="../slideLayouts/slideLayout300.xml"/><Relationship Id="rId65" Type="http://schemas.openxmlformats.org/officeDocument/2006/relationships/slideLayout" Target="../slideLayouts/slideLayout305.xml"/><Relationship Id="rId4" Type="http://schemas.openxmlformats.org/officeDocument/2006/relationships/slideLayout" Target="../slideLayouts/slideLayout244.xml"/><Relationship Id="rId9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253.xml"/><Relationship Id="rId18" Type="http://schemas.openxmlformats.org/officeDocument/2006/relationships/slideLayout" Target="../slideLayouts/slideLayout258.xml"/><Relationship Id="rId39" Type="http://schemas.openxmlformats.org/officeDocument/2006/relationships/slideLayout" Target="../slideLayouts/slideLayout279.xml"/><Relationship Id="rId34" Type="http://schemas.openxmlformats.org/officeDocument/2006/relationships/slideLayout" Target="../slideLayouts/slideLayout274.xml"/><Relationship Id="rId50" Type="http://schemas.openxmlformats.org/officeDocument/2006/relationships/slideLayout" Target="../slideLayouts/slideLayout290.xml"/><Relationship Id="rId55" Type="http://schemas.openxmlformats.org/officeDocument/2006/relationships/slideLayout" Target="../slideLayouts/slideLayout2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7"/>
            </p:custDataLst>
            <p:extLst>
              <p:ext uri="{D42A27DB-BD31-4B8C-83A1-F6EECF244321}">
                <p14:modId xmlns:p14="http://schemas.microsoft.com/office/powerpoint/2010/main" val="1929318432"/>
              </p:ext>
            </p:extLst>
          </p:nvPr>
        </p:nvGraphicFramePr>
        <p:xfrm>
          <a:off x="1925" y="1401"/>
          <a:ext cx="1925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0" imgW="415" imgH="416" progId="TCLayout.ActiveDocument.1">
                  <p:embed/>
                </p:oleObj>
              </mc:Choice>
              <mc:Fallback>
                <p:oleObj name="think-cell Slide" r:id="rId80" imgW="415" imgH="4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925" y="1401"/>
                        <a:ext cx="1925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78"/>
            </p:custDataLst>
          </p:nvPr>
        </p:nvSpPr>
        <p:spPr>
          <a:xfrm>
            <a:off x="0" y="0"/>
            <a:ext cx="192424" cy="140074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GB" sz="2471" b="1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10" name="Grid" hidden="1"/>
          <p:cNvGrpSpPr/>
          <p:nvPr>
            <p:custDataLst>
              <p:tags r:id="rId79"/>
            </p:custDataLst>
          </p:nvPr>
        </p:nvGrpSpPr>
        <p:grpSpPr>
          <a:xfrm>
            <a:off x="642851" y="540572"/>
            <a:ext cx="10906298" cy="6043108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7" name="Group 106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5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4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3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1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2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2851" y="943983"/>
            <a:ext cx="10906298" cy="742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2851" y="1815353"/>
            <a:ext cx="10906298" cy="43072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509760" y="625288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2851" y="6252882"/>
            <a:ext cx="7004858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09760" y="639004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E5DE389-0731-4629-82FF-0C9E450FC1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850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700" r:id="rId27"/>
    <p:sldLayoutId id="2147483701" r:id="rId28"/>
    <p:sldLayoutId id="2147483702" r:id="rId29"/>
    <p:sldLayoutId id="2147483824" r:id="rId30"/>
    <p:sldLayoutId id="2147483825" r:id="rId31"/>
    <p:sldLayoutId id="2147483826" r:id="rId32"/>
    <p:sldLayoutId id="2147483827" r:id="rId33"/>
    <p:sldLayoutId id="2147483828" r:id="rId34"/>
    <p:sldLayoutId id="2147483829" r:id="rId35"/>
    <p:sldLayoutId id="2147483830" r:id="rId36"/>
    <p:sldLayoutId id="2147483831" r:id="rId37"/>
    <p:sldLayoutId id="2147483832" r:id="rId38"/>
    <p:sldLayoutId id="2147483833" r:id="rId39"/>
    <p:sldLayoutId id="2147483834" r:id="rId40"/>
    <p:sldLayoutId id="2147483835" r:id="rId41"/>
    <p:sldLayoutId id="2147483836" r:id="rId42"/>
    <p:sldLayoutId id="2147483837" r:id="rId43"/>
    <p:sldLayoutId id="2147483838" r:id="rId44"/>
    <p:sldLayoutId id="2147483839" r:id="rId45"/>
    <p:sldLayoutId id="2147483840" r:id="rId46"/>
    <p:sldLayoutId id="2147483841" r:id="rId47"/>
    <p:sldLayoutId id="2147483842" r:id="rId48"/>
    <p:sldLayoutId id="2147483843" r:id="rId49"/>
    <p:sldLayoutId id="2147483844" r:id="rId50"/>
    <p:sldLayoutId id="2147483845" r:id="rId51"/>
    <p:sldLayoutId id="2147483846" r:id="rId52"/>
    <p:sldLayoutId id="2147483847" r:id="rId53"/>
    <p:sldLayoutId id="2147483851" r:id="rId54"/>
    <p:sldLayoutId id="2147483852" r:id="rId55"/>
    <p:sldLayoutId id="2147483853" r:id="rId56"/>
    <p:sldLayoutId id="2147483854" r:id="rId57"/>
    <p:sldLayoutId id="2147483855" r:id="rId58"/>
    <p:sldLayoutId id="2147483856" r:id="rId59"/>
    <p:sldLayoutId id="2147483857" r:id="rId60"/>
    <p:sldLayoutId id="2147483858" r:id="rId61"/>
    <p:sldLayoutId id="2147483859" r:id="rId62"/>
    <p:sldLayoutId id="2147483860" r:id="rId63"/>
    <p:sldLayoutId id="2147483861" r:id="rId64"/>
    <p:sldLayoutId id="2147483862" r:id="rId65"/>
    <p:sldLayoutId id="2147483863" r:id="rId66"/>
    <p:sldLayoutId id="2147483864" r:id="rId67"/>
    <p:sldLayoutId id="2147483865" r:id="rId68"/>
    <p:sldLayoutId id="2147483866" r:id="rId69"/>
    <p:sldLayoutId id="2147483867" r:id="rId70"/>
    <p:sldLayoutId id="2147483868" r:id="rId71"/>
    <p:sldLayoutId id="2147483869" r:id="rId72"/>
    <p:sldLayoutId id="2147483870" r:id="rId73"/>
    <p:sldLayoutId id="2147483871" r:id="rId74"/>
    <p:sldLayoutId id="2147483872" r:id="rId75"/>
  </p:sldLayoutIdLst>
  <p:hf hdr="0"/>
  <p:txStyles>
    <p:titleStyle>
      <a:lvl1pPr algn="l" defTabSz="899010" rtl="0" eaLnBrk="1" latinLnBrk="0" hangingPunct="1">
        <a:spcBef>
          <a:spcPct val="0"/>
        </a:spcBef>
        <a:buNone/>
        <a:defRPr sz="2471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Wingdings" pitchFamily="2" charset="2"/>
        <a:buNone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1pPr>
      <a:lvl2pPr marL="207320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Times New Roman" pitchFamily="18" charset="0"/>
        <a:buChar char="•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2pPr>
      <a:lvl3pPr marL="412963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Arial" pitchFamily="34" charset="0"/>
        <a:buChar char="-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3pPr>
      <a:lvl4pPr marL="613092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◦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4pPr>
      <a:lvl5pPr marL="806867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›"/>
        <a:tabLst/>
        <a:defRPr sz="97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06482" marR="0" indent="-203305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arabicPeriod"/>
        <a:tabLst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412963" marR="0" indent="-201717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alphaLcPeriod"/>
        <a:tabLst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613092" marR="0" indent="-201717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romanLcPeriod"/>
        <a:tabLst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0" marR="0" indent="0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Arial" pitchFamily="34" charset="0"/>
        <a:buNone/>
        <a:tabLst/>
        <a:defRPr lang="en-GB" sz="971" b="1" kern="1200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672454571"/>
              </p:ext>
            </p:extLst>
          </p:nvPr>
        </p:nvGraphicFramePr>
        <p:xfrm>
          <a:off x="1925" y="1401"/>
          <a:ext cx="1925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5" imgH="416" progId="TCLayout.ActiveDocument.1">
                  <p:embed/>
                </p:oleObj>
              </mc:Choice>
              <mc:Fallback>
                <p:oleObj name="think-cell Slide" r:id="rId40" imgW="415" imgH="4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925" y="1401"/>
                        <a:ext cx="1925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8"/>
            </p:custDataLst>
          </p:nvPr>
        </p:nvSpPr>
        <p:spPr>
          <a:xfrm>
            <a:off x="0" y="0"/>
            <a:ext cx="192424" cy="140074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GB" sz="2471" b="1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10" name="Grid" hidden="1"/>
          <p:cNvGrpSpPr/>
          <p:nvPr>
            <p:custDataLst>
              <p:tags r:id="rId39"/>
            </p:custDataLst>
          </p:nvPr>
        </p:nvGrpSpPr>
        <p:grpSpPr>
          <a:xfrm>
            <a:off x="642851" y="540572"/>
            <a:ext cx="10906298" cy="6043108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7" name="Group 106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5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4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3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1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2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2851" y="943983"/>
            <a:ext cx="10906298" cy="742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2851" y="1815353"/>
            <a:ext cx="10906298" cy="43072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509760" y="625288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2851" y="6252882"/>
            <a:ext cx="7004858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09760" y="639004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645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  <p:sldLayoutId id="2147483722" r:id="rId17"/>
    <p:sldLayoutId id="2147483723" r:id="rId18"/>
    <p:sldLayoutId id="2147483724" r:id="rId19"/>
    <p:sldLayoutId id="2147483725" r:id="rId20"/>
    <p:sldLayoutId id="2147483726" r:id="rId21"/>
    <p:sldLayoutId id="2147483727" r:id="rId22"/>
    <p:sldLayoutId id="2147483728" r:id="rId23"/>
    <p:sldLayoutId id="2147483729" r:id="rId24"/>
    <p:sldLayoutId id="2147483730" r:id="rId25"/>
    <p:sldLayoutId id="2147483731" r:id="rId26"/>
    <p:sldLayoutId id="2147483732" r:id="rId27"/>
    <p:sldLayoutId id="2147483733" r:id="rId28"/>
    <p:sldLayoutId id="2147483734" r:id="rId29"/>
    <p:sldLayoutId id="2147483735" r:id="rId30"/>
    <p:sldLayoutId id="2147483736" r:id="rId31"/>
    <p:sldLayoutId id="2147483662" r:id="rId32"/>
    <p:sldLayoutId id="2147483663" r:id="rId33"/>
    <p:sldLayoutId id="2147483669" r:id="rId34"/>
    <p:sldLayoutId id="2147483671" r:id="rId35"/>
  </p:sldLayoutIdLst>
  <p:hf hdr="0"/>
  <p:txStyles>
    <p:titleStyle>
      <a:lvl1pPr algn="l" defTabSz="899010" rtl="0" eaLnBrk="1" latinLnBrk="0" hangingPunct="1">
        <a:spcBef>
          <a:spcPct val="0"/>
        </a:spcBef>
        <a:buNone/>
        <a:defRPr sz="2471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Wingdings" pitchFamily="2" charset="2"/>
        <a:buNone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1pPr>
      <a:lvl2pPr marL="207320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Times New Roman" pitchFamily="18" charset="0"/>
        <a:buChar char="•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2pPr>
      <a:lvl3pPr marL="412963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Arial" pitchFamily="34" charset="0"/>
        <a:buChar char="-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3pPr>
      <a:lvl4pPr marL="613092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◦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4pPr>
      <a:lvl5pPr marL="806867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›"/>
        <a:tabLst/>
        <a:defRPr sz="97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06482" marR="0" indent="-203305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arabicPeriod"/>
        <a:tabLst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412963" marR="0" indent="-201717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alphaLcPeriod"/>
        <a:tabLst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613092" marR="0" indent="-201717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romanLcPeriod"/>
        <a:tabLst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0" marR="0" indent="0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Arial" pitchFamily="34" charset="0"/>
        <a:buNone/>
        <a:tabLst/>
        <a:defRPr lang="en-GB" sz="971" b="1" kern="1200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831603149"/>
              </p:ext>
            </p:extLst>
          </p:nvPr>
        </p:nvGraphicFramePr>
        <p:xfrm>
          <a:off x="1925" y="1401"/>
          <a:ext cx="1925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15" imgH="416" progId="TCLayout.ActiveDocument.1">
                  <p:embed/>
                </p:oleObj>
              </mc:Choice>
              <mc:Fallback>
                <p:oleObj name="think-cell Slide" r:id="rId39" imgW="415" imgH="4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925" y="1401"/>
                        <a:ext cx="1925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7"/>
            </p:custDataLst>
          </p:nvPr>
        </p:nvSpPr>
        <p:spPr>
          <a:xfrm>
            <a:off x="0" y="0"/>
            <a:ext cx="192424" cy="140074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GB" sz="2471" b="1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10" name="Grid" hidden="1"/>
          <p:cNvGrpSpPr/>
          <p:nvPr>
            <p:custDataLst>
              <p:tags r:id="rId38"/>
            </p:custDataLst>
          </p:nvPr>
        </p:nvGrpSpPr>
        <p:grpSpPr>
          <a:xfrm>
            <a:off x="642851" y="540572"/>
            <a:ext cx="10906298" cy="6043108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7" name="Group 106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5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4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3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1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2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2851" y="943983"/>
            <a:ext cx="10906298" cy="742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2851" y="1815353"/>
            <a:ext cx="10906298" cy="43072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509760" y="625288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2851" y="6252882"/>
            <a:ext cx="7004858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09760" y="639004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402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7" r:id="rId20"/>
    <p:sldLayoutId id="2147483758" r:id="rId21"/>
    <p:sldLayoutId id="2147483759" r:id="rId22"/>
    <p:sldLayoutId id="2147483760" r:id="rId23"/>
    <p:sldLayoutId id="2147483761" r:id="rId24"/>
    <p:sldLayoutId id="2147483762" r:id="rId25"/>
    <p:sldLayoutId id="2147483763" r:id="rId26"/>
    <p:sldLayoutId id="2147483764" r:id="rId27"/>
    <p:sldLayoutId id="2147483765" r:id="rId28"/>
    <p:sldLayoutId id="2147483766" r:id="rId29"/>
    <p:sldLayoutId id="2147483767" r:id="rId30"/>
    <p:sldLayoutId id="2147483769" r:id="rId31"/>
    <p:sldLayoutId id="2147483770" r:id="rId32"/>
    <p:sldLayoutId id="2147483771" r:id="rId33"/>
    <p:sldLayoutId id="2147483772" r:id="rId34"/>
  </p:sldLayoutIdLst>
  <p:hf hdr="0"/>
  <p:txStyles>
    <p:titleStyle>
      <a:lvl1pPr algn="l" defTabSz="899010" rtl="0" eaLnBrk="1" latinLnBrk="0" hangingPunct="1">
        <a:spcBef>
          <a:spcPct val="0"/>
        </a:spcBef>
        <a:buNone/>
        <a:defRPr sz="2471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Wingdings" pitchFamily="2" charset="2"/>
        <a:buNone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1pPr>
      <a:lvl2pPr marL="207320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Times New Roman" pitchFamily="18" charset="0"/>
        <a:buChar char="•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2pPr>
      <a:lvl3pPr marL="412963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Arial" pitchFamily="34" charset="0"/>
        <a:buChar char="-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3pPr>
      <a:lvl4pPr marL="613092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◦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4pPr>
      <a:lvl5pPr marL="806867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›"/>
        <a:tabLst/>
        <a:defRPr sz="97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06482" marR="0" indent="-203305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arabicPeriod"/>
        <a:tabLst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412963" marR="0" indent="-201717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alphaLcPeriod"/>
        <a:tabLst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613092" marR="0" indent="-201717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romanLcPeriod"/>
        <a:tabLst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0" marR="0" indent="0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Arial" pitchFamily="34" charset="0"/>
        <a:buNone/>
        <a:tabLst/>
        <a:defRPr lang="en-GB" sz="971" b="1" kern="1200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645476451"/>
              </p:ext>
            </p:extLst>
          </p:nvPr>
        </p:nvGraphicFramePr>
        <p:xfrm>
          <a:off x="1925" y="1401"/>
          <a:ext cx="1925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5" imgH="416" progId="TCLayout.ActiveDocument.1">
                  <p:embed/>
                </p:oleObj>
              </mc:Choice>
              <mc:Fallback>
                <p:oleObj name="think-cell Slide" r:id="rId38" imgW="415" imgH="4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925" y="1401"/>
                        <a:ext cx="1925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6"/>
            </p:custDataLst>
          </p:nvPr>
        </p:nvSpPr>
        <p:spPr>
          <a:xfrm>
            <a:off x="0" y="0"/>
            <a:ext cx="192424" cy="140074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GB" sz="2471" b="1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10" name="Grid" hidden="1"/>
          <p:cNvGrpSpPr/>
          <p:nvPr>
            <p:custDataLst>
              <p:tags r:id="rId37"/>
            </p:custDataLst>
          </p:nvPr>
        </p:nvGrpSpPr>
        <p:grpSpPr>
          <a:xfrm>
            <a:off x="642851" y="540572"/>
            <a:ext cx="10906298" cy="6043108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7" name="Group 106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5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4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3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1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  <p:grpSp>
          <p:nvGrpSpPr>
            <p:cNvPr id="102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2851" y="943983"/>
            <a:ext cx="10906298" cy="742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2851" y="1815353"/>
            <a:ext cx="10906298" cy="43072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509760" y="625288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2851" y="6252882"/>
            <a:ext cx="7004858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09760" y="639004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1102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  <p:sldLayoutId id="2147483791" r:id="rId18"/>
    <p:sldLayoutId id="2147483792" r:id="rId19"/>
    <p:sldLayoutId id="2147483793" r:id="rId20"/>
    <p:sldLayoutId id="2147483794" r:id="rId21"/>
    <p:sldLayoutId id="2147483795" r:id="rId22"/>
    <p:sldLayoutId id="2147483796" r:id="rId23"/>
    <p:sldLayoutId id="2147483797" r:id="rId24"/>
    <p:sldLayoutId id="2147483798" r:id="rId25"/>
    <p:sldLayoutId id="2147483799" r:id="rId26"/>
    <p:sldLayoutId id="2147483800" r:id="rId27"/>
    <p:sldLayoutId id="2147483801" r:id="rId28"/>
    <p:sldLayoutId id="2147483802" r:id="rId29"/>
    <p:sldLayoutId id="2147483803" r:id="rId30"/>
    <p:sldLayoutId id="2147483804" r:id="rId31"/>
    <p:sldLayoutId id="2147483805" r:id="rId32"/>
    <p:sldLayoutId id="2147483806" r:id="rId33"/>
  </p:sldLayoutIdLst>
  <p:hf hdr="0"/>
  <p:txStyles>
    <p:titleStyle>
      <a:lvl1pPr algn="l" defTabSz="899010" rtl="0" eaLnBrk="1" latinLnBrk="0" hangingPunct="1">
        <a:spcBef>
          <a:spcPct val="0"/>
        </a:spcBef>
        <a:buNone/>
        <a:defRPr sz="2471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Wingdings" pitchFamily="2" charset="2"/>
        <a:buNone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1pPr>
      <a:lvl2pPr marL="207320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Times New Roman" pitchFamily="18" charset="0"/>
        <a:buChar char="•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2pPr>
      <a:lvl3pPr marL="412963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Arial" pitchFamily="34" charset="0"/>
        <a:buChar char="-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3pPr>
      <a:lvl4pPr marL="613092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◦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4pPr>
      <a:lvl5pPr marL="806867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›"/>
        <a:tabLst/>
        <a:defRPr sz="97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06482" marR="0" indent="-203305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arabicPeriod"/>
        <a:tabLst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412963" marR="0" indent="-201717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alphaLcPeriod"/>
        <a:tabLst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613092" marR="0" indent="-201717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+mj-lt"/>
        <a:buAutoNum type="romanLcPeriod"/>
        <a:tabLst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0" marR="0" indent="0" algn="l" defTabSz="899010" rtl="0" eaLnBrk="1" fontAlgn="auto" latinLnBrk="0" hangingPunct="1">
        <a:lnSpc>
          <a:spcPct val="100000"/>
        </a:lnSpc>
        <a:spcBef>
          <a:spcPts val="0"/>
        </a:spcBef>
        <a:spcAft>
          <a:spcPts val="529"/>
        </a:spcAft>
        <a:buClrTx/>
        <a:buSzTx/>
        <a:buFont typeface="Arial" pitchFamily="34" charset="0"/>
        <a:buNone/>
        <a:tabLst/>
        <a:defRPr lang="en-GB" sz="971" b="1" kern="1200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D548036-6212-47F3-8604-A2000C53AE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95208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548036-6212-47F3-8604-A2000C53AE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164969-F962-4BE8-8093-9DE8A58176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DCDA16-54B5-412A-B1D7-19974FEFFE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2CA37D-F5FC-4855-882E-9D59A8683E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4F3DDA-F672-4711-A07D-9FF043A197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3F064A-3484-4543-8FAD-ACA0143810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8D16D4-4374-44A1-ACAE-D6690F2E11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422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3BE5C85-52F7-40C3-85A3-2FBD0B7D7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1704085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395" imgH="396" progId="TCLayout.ActiveDocument.1">
                  <p:embed/>
                </p:oleObj>
              </mc:Choice>
              <mc:Fallback>
                <p:oleObj name="think-cell Slide" r:id="rId53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BE5C85-52F7-40C3-85A3-2FBD0B7D7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2001"/>
            <a:ext cx="11306175" cy="138727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[Slide title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2103438"/>
            <a:ext cx="11306175" cy="4068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resentation Footer">
            <a:extLst>
              <a:ext uri="{FF2B5EF4-FFF2-40B4-BE49-F238E27FC236}">
                <a16:creationId xmlns:a16="http://schemas.microsoft.com/office/drawing/2014/main" id="{BE929DBE-EF12-9845-B0FD-DF795B823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 sz="750" smtClean="0"/>
            </a:lvl1pPr>
          </a:lstStyle>
          <a:p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CAC161DD-0A25-2B4E-956E-04296B5905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750" smtClean="0"/>
            </a:lvl1pPr>
          </a:lstStyle>
          <a:p>
            <a:r>
              <a:rPr lang="en-US"/>
              <a:t>Sep 23</a:t>
            </a:r>
          </a:p>
        </p:txBody>
      </p:sp>
      <p:sp>
        <p:nvSpPr>
          <p:cNvPr id="8" name="PwCFirm"/>
          <p:cNvSpPr txBox="1"/>
          <p:nvPr/>
        </p:nvSpPr>
        <p:spPr>
          <a:xfrm>
            <a:off x="442913" y="6492240"/>
            <a:ext cx="54737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750" b="0"/>
            </a:lvl1pPr>
          </a:lstStyle>
          <a:p>
            <a:pPr lvl="0" algn="l"/>
            <a:r>
              <a:rPr lang="en-US"/>
              <a:t>PwC</a:t>
            </a: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750" smtClean="0"/>
            </a:lvl1pPr>
          </a:lstStyle>
          <a:p>
            <a:fld id="{ACBD2930-EFD4-4280-8F4E-B2EEA6131EE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341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  <p:sldLayoutId id="2147483886" r:id="rId13"/>
    <p:sldLayoutId id="2147483887" r:id="rId14"/>
    <p:sldLayoutId id="2147483888" r:id="rId15"/>
    <p:sldLayoutId id="2147483889" r:id="rId16"/>
    <p:sldLayoutId id="2147483890" r:id="rId17"/>
    <p:sldLayoutId id="2147483891" r:id="rId18"/>
    <p:sldLayoutId id="2147483892" r:id="rId19"/>
    <p:sldLayoutId id="2147483893" r:id="rId20"/>
    <p:sldLayoutId id="2147483894" r:id="rId21"/>
    <p:sldLayoutId id="2147483895" r:id="rId22"/>
    <p:sldLayoutId id="2147483896" r:id="rId23"/>
    <p:sldLayoutId id="2147483897" r:id="rId24"/>
    <p:sldLayoutId id="2147483898" r:id="rId25"/>
    <p:sldLayoutId id="2147483899" r:id="rId26"/>
    <p:sldLayoutId id="2147483900" r:id="rId27"/>
    <p:sldLayoutId id="2147483901" r:id="rId28"/>
    <p:sldLayoutId id="2147483902" r:id="rId29"/>
    <p:sldLayoutId id="2147483903" r:id="rId30"/>
    <p:sldLayoutId id="2147483904" r:id="rId31"/>
    <p:sldLayoutId id="2147483905" r:id="rId32"/>
    <p:sldLayoutId id="2147483906" r:id="rId33"/>
    <p:sldLayoutId id="2147483907" r:id="rId34"/>
    <p:sldLayoutId id="2147483908" r:id="rId35"/>
    <p:sldLayoutId id="2147483909" r:id="rId36"/>
    <p:sldLayoutId id="2147483910" r:id="rId37"/>
    <p:sldLayoutId id="2147483911" r:id="rId38"/>
    <p:sldLayoutId id="2147483912" r:id="rId39"/>
    <p:sldLayoutId id="2147483913" r:id="rId40"/>
    <p:sldLayoutId id="2147483914" r:id="rId41"/>
    <p:sldLayoutId id="2147483915" r:id="rId42"/>
    <p:sldLayoutId id="2147483916" r:id="rId43"/>
    <p:sldLayoutId id="2147483917" r:id="rId44"/>
    <p:sldLayoutId id="2147483918" r:id="rId45"/>
    <p:sldLayoutId id="2147483919" r:id="rId46"/>
    <p:sldLayoutId id="2147483920" r:id="rId47"/>
    <p:sldLayoutId id="2147483921" r:id="rId48"/>
    <p:sldLayoutId id="2147483922" r:id="rId49"/>
    <p:sldLayoutId id="2147483923" r:id="rId50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pos="279">
          <p15:clr>
            <a:srgbClr val="F26B43"/>
          </p15:clr>
        </p15:guide>
        <p15:guide id="2" pos="7401">
          <p15:clr>
            <a:srgbClr val="F26B43"/>
          </p15:clr>
        </p15:guide>
        <p15:guide id="3" pos="3953">
          <p15:clr>
            <a:srgbClr val="F26B43"/>
          </p15:clr>
        </p15:guide>
        <p15:guide id="4" pos="3727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pos="2726">
          <p15:clr>
            <a:srgbClr val="F26B43"/>
          </p15:clr>
        </p15:guide>
        <p15:guide id="7" pos="2502">
          <p15:clr>
            <a:srgbClr val="F26B43"/>
          </p15:clr>
        </p15:guide>
        <p15:guide id="8" pos="4952">
          <p15:clr>
            <a:srgbClr val="F26B43"/>
          </p15:clr>
        </p15:guide>
        <p15:guide id="9" pos="5177">
          <p15:clr>
            <a:srgbClr val="F26B43"/>
          </p15:clr>
        </p15:guide>
        <p15:guide id="10" orient="horz" pos="2160">
          <p15:clr>
            <a:srgbClr val="F26B43"/>
          </p15:clr>
        </p15:guide>
        <p15:guide id="11" orient="horz" pos="1325">
          <p15:clr>
            <a:srgbClr val="F26B43"/>
          </p15:clr>
        </p15:guide>
        <p15:guide id="12" orient="horz" pos="1146">
          <p15:clr>
            <a:srgbClr val="F26B43"/>
          </p15:clr>
        </p15:guide>
        <p15:guide id="13" orient="horz" pos="27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01C5C8D-E61D-459A-8046-1374E2D0A3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705931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473" imgH="473" progId="TCLayout.ActiveDocument.1">
                  <p:embed/>
                </p:oleObj>
              </mc:Choice>
              <mc:Fallback>
                <p:oleObj name="think-cell Slide" r:id="rId70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1C5C8D-E61D-459A-8046-1374E2D0A3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2001"/>
            <a:ext cx="11306175" cy="138727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[Slide title]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2103438"/>
            <a:ext cx="11306175" cy="4068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Box 7"/>
          <p:cNvSpPr txBox="1"/>
          <p:nvPr/>
        </p:nvSpPr>
        <p:spPr>
          <a:xfrm>
            <a:off x="442913" y="6492240"/>
            <a:ext cx="54737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50" b="0">
                <a:solidFill>
                  <a:schemeClr val="tx1"/>
                </a:solidFill>
              </a:rPr>
              <a:t>Pw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C161DD-0A25-2B4E-956E-04296B5905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ep 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929DBE-EF12-9845-B0FD-DF795B823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75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dirty="0"/>
              <a:t>Prefeasibility study for establishment of </a:t>
            </a:r>
            <a:r>
              <a:rPr lang="ru-RU" dirty="0"/>
              <a:t>МЦПК</a:t>
            </a:r>
            <a:r>
              <a:rPr lang="en-US" dirty="0"/>
              <a:t> </a:t>
            </a:r>
            <a:r>
              <a:rPr lang="en-US"/>
              <a:t>under STKE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845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  <p:sldLayoutId id="2147483938" r:id="rId14"/>
    <p:sldLayoutId id="2147483939" r:id="rId15"/>
    <p:sldLayoutId id="2147483940" r:id="rId16"/>
    <p:sldLayoutId id="2147483941" r:id="rId17"/>
    <p:sldLayoutId id="2147483942" r:id="rId18"/>
    <p:sldLayoutId id="2147483943" r:id="rId19"/>
    <p:sldLayoutId id="2147483944" r:id="rId20"/>
    <p:sldLayoutId id="2147483945" r:id="rId21"/>
    <p:sldLayoutId id="2147483946" r:id="rId22"/>
    <p:sldLayoutId id="2147483947" r:id="rId23"/>
    <p:sldLayoutId id="2147483948" r:id="rId24"/>
    <p:sldLayoutId id="2147483949" r:id="rId25"/>
    <p:sldLayoutId id="2147483950" r:id="rId26"/>
    <p:sldLayoutId id="2147483951" r:id="rId27"/>
    <p:sldLayoutId id="2147483952" r:id="rId28"/>
    <p:sldLayoutId id="2147483953" r:id="rId29"/>
    <p:sldLayoutId id="2147483954" r:id="rId30"/>
    <p:sldLayoutId id="2147483955" r:id="rId31"/>
    <p:sldLayoutId id="2147483956" r:id="rId32"/>
    <p:sldLayoutId id="2147483957" r:id="rId33"/>
    <p:sldLayoutId id="2147483958" r:id="rId34"/>
    <p:sldLayoutId id="2147483959" r:id="rId35"/>
    <p:sldLayoutId id="2147483960" r:id="rId36"/>
    <p:sldLayoutId id="2147483961" r:id="rId37"/>
    <p:sldLayoutId id="2147483962" r:id="rId38"/>
    <p:sldLayoutId id="2147483963" r:id="rId39"/>
    <p:sldLayoutId id="2147483964" r:id="rId40"/>
    <p:sldLayoutId id="2147483965" r:id="rId41"/>
    <p:sldLayoutId id="2147483966" r:id="rId42"/>
    <p:sldLayoutId id="2147483967" r:id="rId43"/>
    <p:sldLayoutId id="2147483968" r:id="rId44"/>
    <p:sldLayoutId id="2147483969" r:id="rId45"/>
    <p:sldLayoutId id="2147483970" r:id="rId46"/>
    <p:sldLayoutId id="2147483971" r:id="rId47"/>
    <p:sldLayoutId id="2147483972" r:id="rId48"/>
    <p:sldLayoutId id="2147483973" r:id="rId49"/>
    <p:sldLayoutId id="2147483974" r:id="rId50"/>
    <p:sldLayoutId id="2147483975" r:id="rId51"/>
    <p:sldLayoutId id="2147483976" r:id="rId52"/>
    <p:sldLayoutId id="2147483977" r:id="rId53"/>
    <p:sldLayoutId id="2147483978" r:id="rId54"/>
    <p:sldLayoutId id="2147483979" r:id="rId55"/>
    <p:sldLayoutId id="2147483980" r:id="rId56"/>
    <p:sldLayoutId id="2147483981" r:id="rId57"/>
    <p:sldLayoutId id="2147483982" r:id="rId58"/>
    <p:sldLayoutId id="2147483983" r:id="rId59"/>
    <p:sldLayoutId id="2147483984" r:id="rId60"/>
    <p:sldLayoutId id="2147483985" r:id="rId61"/>
    <p:sldLayoutId id="2147483986" r:id="rId62"/>
    <p:sldLayoutId id="2147483987" r:id="rId63"/>
    <p:sldLayoutId id="2147483988" r:id="rId64"/>
    <p:sldLayoutId id="2147483989" r:id="rId65"/>
    <p:sldLayoutId id="2147483990" r:id="rId66"/>
    <p:sldLayoutId id="2147483991" r:id="rId67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pos="279">
          <p15:clr>
            <a:srgbClr val="F26B43"/>
          </p15:clr>
        </p15:guide>
        <p15:guide id="2" pos="7401">
          <p15:clr>
            <a:srgbClr val="F26B43"/>
          </p15:clr>
        </p15:guide>
        <p15:guide id="3" pos="3953">
          <p15:clr>
            <a:srgbClr val="F26B43"/>
          </p15:clr>
        </p15:guide>
        <p15:guide id="4" pos="3727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pos="2726">
          <p15:clr>
            <a:srgbClr val="F26B43"/>
          </p15:clr>
        </p15:guide>
        <p15:guide id="7" pos="2502">
          <p15:clr>
            <a:srgbClr val="F26B43"/>
          </p15:clr>
        </p15:guide>
        <p15:guide id="8" pos="4952">
          <p15:clr>
            <a:srgbClr val="F26B43"/>
          </p15:clr>
        </p15:guide>
        <p15:guide id="9" pos="5177">
          <p15:clr>
            <a:srgbClr val="F26B43"/>
          </p15:clr>
        </p15:guide>
        <p15:guide id="10" orient="horz" pos="2160">
          <p15:clr>
            <a:srgbClr val="F26B43"/>
          </p15:clr>
        </p15:guide>
        <p15:guide id="11" orient="horz" pos="1325">
          <p15:clr>
            <a:srgbClr val="F26B43"/>
          </p15:clr>
        </p15:guide>
        <p15:guide id="12" orient="horz" pos="1146">
          <p15:clr>
            <a:srgbClr val="F26B43"/>
          </p15:clr>
        </p15:guide>
        <p15:guide id="13" orient="horz" pos="2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39.xml"/><Relationship Id="rId7" Type="http://schemas.openxmlformats.org/officeDocument/2006/relationships/image" Target="../media/image11.jpeg"/><Relationship Id="rId2" Type="http://schemas.openxmlformats.org/officeDocument/2006/relationships/tags" Target="../tags/tag970.xml"/><Relationship Id="rId1" Type="http://schemas.openxmlformats.org/officeDocument/2006/relationships/customXml" Target="../../customXml/item15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slideLayout" Target="../slideLayouts/slideLayout140.xml"/><Relationship Id="rId7" Type="http://schemas.openxmlformats.org/officeDocument/2006/relationships/image" Target="../media/image27.png"/><Relationship Id="rId12" Type="http://schemas.openxmlformats.org/officeDocument/2006/relationships/image" Target="../media/image32.svg"/><Relationship Id="rId2" Type="http://schemas.openxmlformats.org/officeDocument/2006/relationships/tags" Target="../tags/tag989.xml"/><Relationship Id="rId1" Type="http://schemas.openxmlformats.org/officeDocument/2006/relationships/customXml" Target="../../customXml/item37.xml"/><Relationship Id="rId6" Type="http://schemas.openxmlformats.org/officeDocument/2006/relationships/image" Target="../media/image8.emf"/><Relationship Id="rId11" Type="http://schemas.openxmlformats.org/officeDocument/2006/relationships/image" Target="../media/image31.png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30.sv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Layout" Target="../slideLayouts/slideLayout13.xml"/><Relationship Id="rId1" Type="http://schemas.openxmlformats.org/officeDocument/2006/relationships/customXml" Target="../../customXml/item9.xml"/><Relationship Id="rId4" Type="http://schemas.openxmlformats.org/officeDocument/2006/relationships/hyperlink" Target="https://www.flickr.com/photos/peigov/15898994173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3.xml"/><Relationship Id="rId2" Type="http://schemas.openxmlformats.org/officeDocument/2006/relationships/tags" Target="../tags/tag990.xml"/><Relationship Id="rId1" Type="http://schemas.openxmlformats.org/officeDocument/2006/relationships/customXml" Target="../../customXml/item23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image" Target="../media/image34.svg"/><Relationship Id="rId18" Type="http://schemas.openxmlformats.org/officeDocument/2006/relationships/image" Target="../media/image39.png"/><Relationship Id="rId3" Type="http://schemas.openxmlformats.org/officeDocument/2006/relationships/slideLayout" Target="../slideLayouts/slideLayout173.xml"/><Relationship Id="rId21" Type="http://schemas.openxmlformats.org/officeDocument/2006/relationships/image" Target="../media/image42.png"/><Relationship Id="rId7" Type="http://schemas.openxmlformats.org/officeDocument/2006/relationships/diagramData" Target="../diagrams/data1.xml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tags" Target="../tags/tag991.xml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customXml" Target="../../customXml/item3.xml"/><Relationship Id="rId6" Type="http://schemas.openxmlformats.org/officeDocument/2006/relationships/image" Target="../media/image8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29.bin"/><Relationship Id="rId15" Type="http://schemas.openxmlformats.org/officeDocument/2006/relationships/image" Target="../media/image36.svg"/><Relationship Id="rId10" Type="http://schemas.openxmlformats.org/officeDocument/2006/relationships/diagramColors" Target="../diagrams/colors1.xml"/><Relationship Id="rId19" Type="http://schemas.openxmlformats.org/officeDocument/2006/relationships/image" Target="../media/image40.png"/><Relationship Id="rId4" Type="http://schemas.openxmlformats.org/officeDocument/2006/relationships/notesSlide" Target="../notesSlides/notesSlide10.xml"/><Relationship Id="rId9" Type="http://schemas.openxmlformats.org/officeDocument/2006/relationships/diagramQuickStyle" Target="../diagrams/quickStyle1.xml"/><Relationship Id="rId14" Type="http://schemas.openxmlformats.org/officeDocument/2006/relationships/image" Target="../media/image35.png"/><Relationship Id="rId22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003.xml"/><Relationship Id="rId18" Type="http://schemas.openxmlformats.org/officeDocument/2006/relationships/tags" Target="../tags/tag1008.xml"/><Relationship Id="rId26" Type="http://schemas.openxmlformats.org/officeDocument/2006/relationships/slideLayout" Target="../slideLayouts/slideLayout140.xml"/><Relationship Id="rId39" Type="http://schemas.openxmlformats.org/officeDocument/2006/relationships/diagramData" Target="../diagrams/data2.xml"/><Relationship Id="rId21" Type="http://schemas.openxmlformats.org/officeDocument/2006/relationships/tags" Target="../tags/tag1011.xml"/><Relationship Id="rId34" Type="http://schemas.openxmlformats.org/officeDocument/2006/relationships/image" Target="../media/image47.svg"/><Relationship Id="rId42" Type="http://schemas.openxmlformats.org/officeDocument/2006/relationships/diagramColors" Target="../diagrams/colors2.xml"/><Relationship Id="rId7" Type="http://schemas.openxmlformats.org/officeDocument/2006/relationships/tags" Target="../tags/tag997.xml"/><Relationship Id="rId2" Type="http://schemas.openxmlformats.org/officeDocument/2006/relationships/tags" Target="../tags/tag992.xml"/><Relationship Id="rId16" Type="http://schemas.openxmlformats.org/officeDocument/2006/relationships/tags" Target="../tags/tag1006.xml"/><Relationship Id="rId20" Type="http://schemas.openxmlformats.org/officeDocument/2006/relationships/tags" Target="../tags/tag1010.xml"/><Relationship Id="rId29" Type="http://schemas.openxmlformats.org/officeDocument/2006/relationships/image" Target="../media/image8.emf"/><Relationship Id="rId41" Type="http://schemas.openxmlformats.org/officeDocument/2006/relationships/diagramQuickStyle" Target="../diagrams/quickStyle2.xml"/><Relationship Id="rId1" Type="http://schemas.openxmlformats.org/officeDocument/2006/relationships/customXml" Target="../../customXml/item17.xml"/><Relationship Id="rId6" Type="http://schemas.openxmlformats.org/officeDocument/2006/relationships/tags" Target="../tags/tag996.xml"/><Relationship Id="rId11" Type="http://schemas.openxmlformats.org/officeDocument/2006/relationships/tags" Target="../tags/tag1001.xml"/><Relationship Id="rId24" Type="http://schemas.openxmlformats.org/officeDocument/2006/relationships/tags" Target="../tags/tag1014.xml"/><Relationship Id="rId32" Type="http://schemas.openxmlformats.org/officeDocument/2006/relationships/image" Target="../media/image45.svg"/><Relationship Id="rId37" Type="http://schemas.openxmlformats.org/officeDocument/2006/relationships/image" Target="../media/image50.png"/><Relationship Id="rId40" Type="http://schemas.openxmlformats.org/officeDocument/2006/relationships/diagramLayout" Target="../diagrams/layout2.xml"/><Relationship Id="rId5" Type="http://schemas.openxmlformats.org/officeDocument/2006/relationships/tags" Target="../tags/tag995.xml"/><Relationship Id="rId15" Type="http://schemas.openxmlformats.org/officeDocument/2006/relationships/tags" Target="../tags/tag1005.xml"/><Relationship Id="rId23" Type="http://schemas.openxmlformats.org/officeDocument/2006/relationships/tags" Target="../tags/tag1013.xml"/><Relationship Id="rId28" Type="http://schemas.openxmlformats.org/officeDocument/2006/relationships/oleObject" Target="../embeddings/oleObject30.bin"/><Relationship Id="rId36" Type="http://schemas.openxmlformats.org/officeDocument/2006/relationships/image" Target="../media/image49.svg"/><Relationship Id="rId10" Type="http://schemas.openxmlformats.org/officeDocument/2006/relationships/tags" Target="../tags/tag1000.xml"/><Relationship Id="rId19" Type="http://schemas.openxmlformats.org/officeDocument/2006/relationships/tags" Target="../tags/tag1009.xml"/><Relationship Id="rId31" Type="http://schemas.openxmlformats.org/officeDocument/2006/relationships/image" Target="../media/image44.png"/><Relationship Id="rId4" Type="http://schemas.openxmlformats.org/officeDocument/2006/relationships/tags" Target="../tags/tag994.xml"/><Relationship Id="rId9" Type="http://schemas.openxmlformats.org/officeDocument/2006/relationships/tags" Target="../tags/tag999.xml"/><Relationship Id="rId14" Type="http://schemas.openxmlformats.org/officeDocument/2006/relationships/tags" Target="../tags/tag1004.xml"/><Relationship Id="rId22" Type="http://schemas.openxmlformats.org/officeDocument/2006/relationships/tags" Target="../tags/tag1012.xml"/><Relationship Id="rId27" Type="http://schemas.openxmlformats.org/officeDocument/2006/relationships/notesSlide" Target="../notesSlides/notesSlide11.xml"/><Relationship Id="rId30" Type="http://schemas.openxmlformats.org/officeDocument/2006/relationships/chart" Target="../charts/chart4.xml"/><Relationship Id="rId35" Type="http://schemas.openxmlformats.org/officeDocument/2006/relationships/image" Target="../media/image48.png"/><Relationship Id="rId43" Type="http://schemas.microsoft.com/office/2007/relationships/diagramDrawing" Target="../diagrams/drawing2.xml"/><Relationship Id="rId8" Type="http://schemas.openxmlformats.org/officeDocument/2006/relationships/tags" Target="../tags/tag998.xml"/><Relationship Id="rId3" Type="http://schemas.openxmlformats.org/officeDocument/2006/relationships/tags" Target="../tags/tag993.xml"/><Relationship Id="rId12" Type="http://schemas.openxmlformats.org/officeDocument/2006/relationships/tags" Target="../tags/tag1002.xml"/><Relationship Id="rId17" Type="http://schemas.openxmlformats.org/officeDocument/2006/relationships/tags" Target="../tags/tag1007.xml"/><Relationship Id="rId25" Type="http://schemas.openxmlformats.org/officeDocument/2006/relationships/tags" Target="../tags/tag1015.xml"/><Relationship Id="rId33" Type="http://schemas.openxmlformats.org/officeDocument/2006/relationships/image" Target="../media/image46.png"/><Relationship Id="rId38" Type="http://schemas.openxmlformats.org/officeDocument/2006/relationships/image" Target="../media/image51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slideLayout" Target="../slideLayouts/slideLayout140.xml"/><Relationship Id="rId7" Type="http://schemas.openxmlformats.org/officeDocument/2006/relationships/diagramData" Target="../diagrams/data3.xml"/><Relationship Id="rId2" Type="http://schemas.openxmlformats.org/officeDocument/2006/relationships/tags" Target="../tags/tag1016.xml"/><Relationship Id="rId1" Type="http://schemas.openxmlformats.org/officeDocument/2006/relationships/customXml" Target="../../customXml/item36.xml"/><Relationship Id="rId6" Type="http://schemas.openxmlformats.org/officeDocument/2006/relationships/image" Target="../media/image8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31.bin"/><Relationship Id="rId10" Type="http://schemas.openxmlformats.org/officeDocument/2006/relationships/diagramColors" Target="../diagrams/colors3.xml"/><Relationship Id="rId4" Type="http://schemas.openxmlformats.org/officeDocument/2006/relationships/notesSlide" Target="../notesSlides/notesSlide12.xml"/><Relationship Id="rId9" Type="http://schemas.openxmlformats.org/officeDocument/2006/relationships/diagramQuickStyle" Target="../diagrams/quickStyle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slideLayout" Target="../slideLayouts/slideLayout140.xml"/><Relationship Id="rId7" Type="http://schemas.openxmlformats.org/officeDocument/2006/relationships/diagramData" Target="../diagrams/data4.xml"/><Relationship Id="rId2" Type="http://schemas.openxmlformats.org/officeDocument/2006/relationships/tags" Target="../tags/tag1017.xml"/><Relationship Id="rId1" Type="http://schemas.openxmlformats.org/officeDocument/2006/relationships/customXml" Target="../../customXml/item10.xml"/><Relationship Id="rId6" Type="http://schemas.openxmlformats.org/officeDocument/2006/relationships/image" Target="../media/image8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32.bin"/><Relationship Id="rId10" Type="http://schemas.openxmlformats.org/officeDocument/2006/relationships/diagramColors" Target="../diagrams/colors4.xml"/><Relationship Id="rId4" Type="http://schemas.openxmlformats.org/officeDocument/2006/relationships/notesSlide" Target="../notesSlides/notesSlide13.xml"/><Relationship Id="rId9" Type="http://schemas.openxmlformats.org/officeDocument/2006/relationships/diagramQuickStyle" Target="../diagrams/quickStyle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13" Type="http://schemas.openxmlformats.org/officeDocument/2006/relationships/image" Target="../media/image58.png"/><Relationship Id="rId18" Type="http://schemas.openxmlformats.org/officeDocument/2006/relationships/image" Target="../media/image63.svg"/><Relationship Id="rId26" Type="http://schemas.openxmlformats.org/officeDocument/2006/relationships/diagramColors" Target="../diagrams/colors5.xml"/><Relationship Id="rId3" Type="http://schemas.openxmlformats.org/officeDocument/2006/relationships/slideLayout" Target="../slideLayouts/slideLayout140.xml"/><Relationship Id="rId21" Type="http://schemas.openxmlformats.org/officeDocument/2006/relationships/image" Target="../media/image66.png"/><Relationship Id="rId7" Type="http://schemas.openxmlformats.org/officeDocument/2006/relationships/image" Target="../media/image52.jpeg"/><Relationship Id="rId12" Type="http://schemas.openxmlformats.org/officeDocument/2006/relationships/image" Target="../media/image57.svg"/><Relationship Id="rId17" Type="http://schemas.openxmlformats.org/officeDocument/2006/relationships/image" Target="../media/image62.png"/><Relationship Id="rId25" Type="http://schemas.openxmlformats.org/officeDocument/2006/relationships/diagramQuickStyle" Target="../diagrams/quickStyle5.xml"/><Relationship Id="rId2" Type="http://schemas.openxmlformats.org/officeDocument/2006/relationships/tags" Target="../tags/tag1018.xml"/><Relationship Id="rId16" Type="http://schemas.openxmlformats.org/officeDocument/2006/relationships/image" Target="../media/image61.svg"/><Relationship Id="rId20" Type="http://schemas.openxmlformats.org/officeDocument/2006/relationships/image" Target="../media/image65.svg"/><Relationship Id="rId1" Type="http://schemas.openxmlformats.org/officeDocument/2006/relationships/customXml" Target="../../customXml/item24.xml"/><Relationship Id="rId6" Type="http://schemas.openxmlformats.org/officeDocument/2006/relationships/image" Target="../media/image8.emf"/><Relationship Id="rId11" Type="http://schemas.openxmlformats.org/officeDocument/2006/relationships/image" Target="../media/image56.png"/><Relationship Id="rId24" Type="http://schemas.openxmlformats.org/officeDocument/2006/relationships/diagramLayout" Target="../diagrams/layout5.xml"/><Relationship Id="rId5" Type="http://schemas.openxmlformats.org/officeDocument/2006/relationships/oleObject" Target="../embeddings/oleObject33.bin"/><Relationship Id="rId15" Type="http://schemas.openxmlformats.org/officeDocument/2006/relationships/image" Target="../media/image60.png"/><Relationship Id="rId23" Type="http://schemas.openxmlformats.org/officeDocument/2006/relationships/diagramData" Target="../diagrams/data5.xml"/><Relationship Id="rId10" Type="http://schemas.openxmlformats.org/officeDocument/2006/relationships/image" Target="../media/image55.jpeg"/><Relationship Id="rId19" Type="http://schemas.openxmlformats.org/officeDocument/2006/relationships/image" Target="../media/image64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54.jpeg"/><Relationship Id="rId14" Type="http://schemas.openxmlformats.org/officeDocument/2006/relationships/image" Target="../media/image59.svg"/><Relationship Id="rId22" Type="http://schemas.openxmlformats.org/officeDocument/2006/relationships/image" Target="../media/image67.svg"/><Relationship Id="rId27" Type="http://schemas.microsoft.com/office/2007/relationships/diagramDrawing" Target="../diagrams/drawing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slideLayout" Target="../slideLayouts/slideLayout140.xml"/><Relationship Id="rId7" Type="http://schemas.openxmlformats.org/officeDocument/2006/relationships/diagramData" Target="../diagrams/data6.xml"/><Relationship Id="rId12" Type="http://schemas.openxmlformats.org/officeDocument/2006/relationships/image" Target="../media/image68.jpeg"/><Relationship Id="rId2" Type="http://schemas.openxmlformats.org/officeDocument/2006/relationships/tags" Target="../tags/tag1019.xml"/><Relationship Id="rId1" Type="http://schemas.openxmlformats.org/officeDocument/2006/relationships/customXml" Target="../../customXml/item35.xml"/><Relationship Id="rId6" Type="http://schemas.openxmlformats.org/officeDocument/2006/relationships/image" Target="../media/image8.emf"/><Relationship Id="rId11" Type="http://schemas.microsoft.com/office/2007/relationships/diagramDrawing" Target="../diagrams/drawing6.xml"/><Relationship Id="rId5" Type="http://schemas.openxmlformats.org/officeDocument/2006/relationships/oleObject" Target="../embeddings/oleObject34.bin"/><Relationship Id="rId10" Type="http://schemas.openxmlformats.org/officeDocument/2006/relationships/diagramColors" Target="../diagrams/colors6.xml"/><Relationship Id="rId4" Type="http://schemas.openxmlformats.org/officeDocument/2006/relationships/notesSlide" Target="../notesSlides/notesSlide15.xml"/><Relationship Id="rId9" Type="http://schemas.openxmlformats.org/officeDocument/2006/relationships/diagramQuickStyle" Target="../diagrams/quickStyle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Layout" Target="../slideLayouts/slideLayout13.xml"/><Relationship Id="rId1" Type="http://schemas.openxmlformats.org/officeDocument/2006/relationships/customXml" Target="../../customXml/item11.xml"/><Relationship Id="rId4" Type="http://schemas.openxmlformats.org/officeDocument/2006/relationships/hyperlink" Target="https://www.flickr.com/photos/peigov/15898994173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257.xml"/><Relationship Id="rId7" Type="http://schemas.openxmlformats.org/officeDocument/2006/relationships/image" Target="../media/image13.png"/><Relationship Id="rId2" Type="http://schemas.openxmlformats.org/officeDocument/2006/relationships/tags" Target="../tags/tag971.xml"/><Relationship Id="rId1" Type="http://schemas.openxmlformats.org/officeDocument/2006/relationships/customXml" Target="../../customXml/item30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026.xml"/><Relationship Id="rId13" Type="http://schemas.openxmlformats.org/officeDocument/2006/relationships/tags" Target="../tags/tag1031.xml"/><Relationship Id="rId18" Type="http://schemas.openxmlformats.org/officeDocument/2006/relationships/tags" Target="../tags/tag1036.xml"/><Relationship Id="rId26" Type="http://schemas.openxmlformats.org/officeDocument/2006/relationships/notesSlide" Target="../notesSlides/notesSlide16.xml"/><Relationship Id="rId3" Type="http://schemas.openxmlformats.org/officeDocument/2006/relationships/tags" Target="../tags/tag1021.xml"/><Relationship Id="rId21" Type="http://schemas.openxmlformats.org/officeDocument/2006/relationships/tags" Target="../tags/tag1039.xml"/><Relationship Id="rId7" Type="http://schemas.openxmlformats.org/officeDocument/2006/relationships/tags" Target="../tags/tag1025.xml"/><Relationship Id="rId12" Type="http://schemas.openxmlformats.org/officeDocument/2006/relationships/tags" Target="../tags/tag1030.xml"/><Relationship Id="rId17" Type="http://schemas.openxmlformats.org/officeDocument/2006/relationships/tags" Target="../tags/tag1035.xml"/><Relationship Id="rId25" Type="http://schemas.openxmlformats.org/officeDocument/2006/relationships/slideLayout" Target="../slideLayouts/slideLayout140.xml"/><Relationship Id="rId2" Type="http://schemas.openxmlformats.org/officeDocument/2006/relationships/tags" Target="../tags/tag1020.xml"/><Relationship Id="rId16" Type="http://schemas.openxmlformats.org/officeDocument/2006/relationships/tags" Target="../tags/tag1034.xml"/><Relationship Id="rId20" Type="http://schemas.openxmlformats.org/officeDocument/2006/relationships/tags" Target="../tags/tag1038.xml"/><Relationship Id="rId29" Type="http://schemas.openxmlformats.org/officeDocument/2006/relationships/chart" Target="../charts/chart5.xml"/><Relationship Id="rId1" Type="http://schemas.openxmlformats.org/officeDocument/2006/relationships/customXml" Target="../../customXml/item27.xml"/><Relationship Id="rId6" Type="http://schemas.openxmlformats.org/officeDocument/2006/relationships/tags" Target="../tags/tag1024.xml"/><Relationship Id="rId11" Type="http://schemas.openxmlformats.org/officeDocument/2006/relationships/tags" Target="../tags/tag1029.xml"/><Relationship Id="rId24" Type="http://schemas.openxmlformats.org/officeDocument/2006/relationships/tags" Target="../tags/tag1042.xml"/><Relationship Id="rId5" Type="http://schemas.openxmlformats.org/officeDocument/2006/relationships/tags" Target="../tags/tag1023.xml"/><Relationship Id="rId15" Type="http://schemas.openxmlformats.org/officeDocument/2006/relationships/tags" Target="../tags/tag1033.xml"/><Relationship Id="rId23" Type="http://schemas.openxmlformats.org/officeDocument/2006/relationships/tags" Target="../tags/tag1041.xml"/><Relationship Id="rId28" Type="http://schemas.openxmlformats.org/officeDocument/2006/relationships/image" Target="../media/image8.emf"/><Relationship Id="rId10" Type="http://schemas.openxmlformats.org/officeDocument/2006/relationships/tags" Target="../tags/tag1028.xml"/><Relationship Id="rId19" Type="http://schemas.openxmlformats.org/officeDocument/2006/relationships/tags" Target="../tags/tag1037.xml"/><Relationship Id="rId31" Type="http://schemas.openxmlformats.org/officeDocument/2006/relationships/chart" Target="../charts/chart7.xml"/><Relationship Id="rId4" Type="http://schemas.openxmlformats.org/officeDocument/2006/relationships/tags" Target="../tags/tag1022.xml"/><Relationship Id="rId9" Type="http://schemas.openxmlformats.org/officeDocument/2006/relationships/tags" Target="../tags/tag1027.xml"/><Relationship Id="rId14" Type="http://schemas.openxmlformats.org/officeDocument/2006/relationships/tags" Target="../tags/tag1032.xml"/><Relationship Id="rId22" Type="http://schemas.openxmlformats.org/officeDocument/2006/relationships/tags" Target="../tags/tag1040.xml"/><Relationship Id="rId27" Type="http://schemas.openxmlformats.org/officeDocument/2006/relationships/oleObject" Target="../embeddings/oleObject35.bin"/><Relationship Id="rId30" Type="http://schemas.openxmlformats.org/officeDocument/2006/relationships/chart" Target="../charts/char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Layout" Target="../slideLayouts/slideLayout13.xml"/><Relationship Id="rId1" Type="http://schemas.openxmlformats.org/officeDocument/2006/relationships/customXml" Target="../../customXml/item4.xml"/><Relationship Id="rId4" Type="http://schemas.openxmlformats.org/officeDocument/2006/relationships/hyperlink" Target="https://www.flickr.com/photos/peigov/15898994173" TargetMode="Externa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75.svg"/><Relationship Id="rId3" Type="http://schemas.openxmlformats.org/officeDocument/2006/relationships/slideLayout" Target="../slideLayouts/slideLayout140.xml"/><Relationship Id="rId7" Type="http://schemas.openxmlformats.org/officeDocument/2006/relationships/image" Target="../media/image69.png"/><Relationship Id="rId12" Type="http://schemas.openxmlformats.org/officeDocument/2006/relationships/image" Target="../media/image74.png"/><Relationship Id="rId2" Type="http://schemas.openxmlformats.org/officeDocument/2006/relationships/tags" Target="../tags/tag1043.xml"/><Relationship Id="rId1" Type="http://schemas.openxmlformats.org/officeDocument/2006/relationships/customXml" Target="../../customXml/item18.xml"/><Relationship Id="rId6" Type="http://schemas.openxmlformats.org/officeDocument/2006/relationships/image" Target="../media/image8.emf"/><Relationship Id="rId11" Type="http://schemas.openxmlformats.org/officeDocument/2006/relationships/image" Target="../media/image73.sv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72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71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0.xml"/><Relationship Id="rId2" Type="http://schemas.openxmlformats.org/officeDocument/2006/relationships/tags" Target="../tags/tag1044.xml"/><Relationship Id="rId1" Type="http://schemas.openxmlformats.org/officeDocument/2006/relationships/customXml" Target="../../customXml/item32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Layout" Target="../slideLayouts/slideLayout13.xml"/><Relationship Id="rId1" Type="http://schemas.openxmlformats.org/officeDocument/2006/relationships/customXml" Target="../../customXml/item12.xml"/><Relationship Id="rId4" Type="http://schemas.openxmlformats.org/officeDocument/2006/relationships/hyperlink" Target="https://www.flickr.com/photos/peigov/15898994173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23.xml"/><Relationship Id="rId1" Type="http://schemas.openxmlformats.org/officeDocument/2006/relationships/customXml" Target="../../customXml/item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89.xml"/><Relationship Id="rId1" Type="http://schemas.openxmlformats.org/officeDocument/2006/relationships/customXml" Target="../../customXml/item8.xml"/><Relationship Id="rId4" Type="http://schemas.openxmlformats.org/officeDocument/2006/relationships/image" Target="../media/image1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Layout" Target="../slideLayouts/slideLayout13.xml"/><Relationship Id="rId1" Type="http://schemas.openxmlformats.org/officeDocument/2006/relationships/customXml" Target="../../customXml/item22.xml"/><Relationship Id="rId4" Type="http://schemas.openxmlformats.org/officeDocument/2006/relationships/hyperlink" Target="https://www.flickr.com/photos/peigov/15898994173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0.xml"/><Relationship Id="rId2" Type="http://schemas.openxmlformats.org/officeDocument/2006/relationships/tags" Target="../tags/tag972.xml"/><Relationship Id="rId1" Type="http://schemas.openxmlformats.org/officeDocument/2006/relationships/customXml" Target="../../customXml/item1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4.svg"/><Relationship Id="rId3" Type="http://schemas.openxmlformats.org/officeDocument/2006/relationships/slideLayout" Target="../slideLayouts/slideLayout140.xml"/><Relationship Id="rId7" Type="http://schemas.openxmlformats.org/officeDocument/2006/relationships/image" Target="../media/image19.png"/><Relationship Id="rId12" Type="http://schemas.openxmlformats.org/officeDocument/2006/relationships/image" Target="../media/image23.png"/><Relationship Id="rId2" Type="http://schemas.openxmlformats.org/officeDocument/2006/relationships/tags" Target="../tags/tag973.xml"/><Relationship Id="rId1" Type="http://schemas.openxmlformats.org/officeDocument/2006/relationships/customXml" Target="../../customXml/item16.xml"/><Relationship Id="rId6" Type="http://schemas.openxmlformats.org/officeDocument/2006/relationships/image" Target="../media/image8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24.bin"/><Relationship Id="rId15" Type="http://schemas.openxmlformats.org/officeDocument/2006/relationships/image" Target="../media/image26.svg"/><Relationship Id="rId10" Type="http://schemas.openxmlformats.org/officeDocument/2006/relationships/image" Target="../media/image22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1.png"/><Relationship Id="rId1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Layout" Target="../slideLayouts/slideLayout13.xml"/><Relationship Id="rId1" Type="http://schemas.openxmlformats.org/officeDocument/2006/relationships/customXml" Target="../../customXml/item31.xml"/><Relationship Id="rId4" Type="http://schemas.openxmlformats.org/officeDocument/2006/relationships/hyperlink" Target="https://www.flickr.com/photos/peigov/15898994173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980.xml"/><Relationship Id="rId13" Type="http://schemas.openxmlformats.org/officeDocument/2006/relationships/tags" Target="../tags/tag985.xml"/><Relationship Id="rId18" Type="http://schemas.openxmlformats.org/officeDocument/2006/relationships/oleObject" Target="../embeddings/oleObject25.bin"/><Relationship Id="rId3" Type="http://schemas.openxmlformats.org/officeDocument/2006/relationships/tags" Target="../tags/tag975.xml"/><Relationship Id="rId21" Type="http://schemas.openxmlformats.org/officeDocument/2006/relationships/chart" Target="../charts/chart2.xml"/><Relationship Id="rId7" Type="http://schemas.openxmlformats.org/officeDocument/2006/relationships/tags" Target="../tags/tag979.xml"/><Relationship Id="rId12" Type="http://schemas.openxmlformats.org/officeDocument/2006/relationships/tags" Target="../tags/tag984.xml"/><Relationship Id="rId17" Type="http://schemas.openxmlformats.org/officeDocument/2006/relationships/notesSlide" Target="../notesSlides/notesSlide6.xml"/><Relationship Id="rId2" Type="http://schemas.openxmlformats.org/officeDocument/2006/relationships/tags" Target="../tags/tag974.xml"/><Relationship Id="rId16" Type="http://schemas.openxmlformats.org/officeDocument/2006/relationships/slideLayout" Target="../slideLayouts/slideLayout140.xml"/><Relationship Id="rId20" Type="http://schemas.openxmlformats.org/officeDocument/2006/relationships/chart" Target="../charts/chart1.xml"/><Relationship Id="rId1" Type="http://schemas.openxmlformats.org/officeDocument/2006/relationships/customXml" Target="../../customXml/item7.xml"/><Relationship Id="rId6" Type="http://schemas.openxmlformats.org/officeDocument/2006/relationships/tags" Target="../tags/tag978.xml"/><Relationship Id="rId11" Type="http://schemas.openxmlformats.org/officeDocument/2006/relationships/tags" Target="../tags/tag983.xml"/><Relationship Id="rId5" Type="http://schemas.openxmlformats.org/officeDocument/2006/relationships/tags" Target="../tags/tag977.xml"/><Relationship Id="rId15" Type="http://schemas.openxmlformats.org/officeDocument/2006/relationships/tags" Target="../tags/tag987.xml"/><Relationship Id="rId10" Type="http://schemas.openxmlformats.org/officeDocument/2006/relationships/tags" Target="../tags/tag982.xml"/><Relationship Id="rId19" Type="http://schemas.openxmlformats.org/officeDocument/2006/relationships/image" Target="../media/image8.emf"/><Relationship Id="rId4" Type="http://schemas.openxmlformats.org/officeDocument/2006/relationships/tags" Target="../tags/tag976.xml"/><Relationship Id="rId9" Type="http://schemas.openxmlformats.org/officeDocument/2006/relationships/tags" Target="../tags/tag981.xml"/><Relationship Id="rId14" Type="http://schemas.openxmlformats.org/officeDocument/2006/relationships/tags" Target="../tags/tag986.xml"/><Relationship Id="rId22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0.xml"/><Relationship Id="rId2" Type="http://schemas.openxmlformats.org/officeDocument/2006/relationships/tags" Target="../tags/tag988.xml"/><Relationship Id="rId1" Type="http://schemas.openxmlformats.org/officeDocument/2006/relationships/customXml" Target="../../customXml/item19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D20A3DF-6E5E-477E-981C-7B9C4A6123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2" imgH="532" progId="TCLayout.ActiveDocument.1">
                  <p:embed/>
                </p:oleObj>
              </mc:Choice>
              <mc:Fallback>
                <p:oleObj name="think-cell Slide" r:id="rId5" imgW="532" imgH="53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D20A3DF-6E5E-477E-981C-7B9C4A612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Picture Placeholder 44" descr="A picture containing text&#10;&#10;Description automatically generated">
            <a:extLst>
              <a:ext uri="{FF2B5EF4-FFF2-40B4-BE49-F238E27FC236}">
                <a16:creationId xmlns:a16="http://schemas.microsoft.com/office/drawing/2014/main" id="{743558C7-8073-49AD-B99F-D5F41A557AA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68" b="7868"/>
          <a:stretch/>
        </p:blipFill>
        <p:spPr>
          <a:xfrm>
            <a:off x="0" y="0"/>
            <a:ext cx="12192000" cy="6858000"/>
          </a:xfr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9F5C2403-4C9F-4771-A1BB-905177EB800F}"/>
              </a:ext>
            </a:extLst>
          </p:cNvPr>
          <p:cNvGrpSpPr/>
          <p:nvPr/>
        </p:nvGrpSpPr>
        <p:grpSpPr>
          <a:xfrm>
            <a:off x="462885" y="650804"/>
            <a:ext cx="5823616" cy="6207196"/>
            <a:chOff x="564482" y="650804"/>
            <a:chExt cx="6428718" cy="620719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33DA98E-B872-5144-99B2-AC98AB21DA35}"/>
                </a:ext>
              </a:extLst>
            </p:cNvPr>
            <p:cNvSpPr/>
            <p:nvPr/>
          </p:nvSpPr>
          <p:spPr>
            <a:xfrm>
              <a:off x="615616" y="650804"/>
              <a:ext cx="6377584" cy="4237244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lIns="216000" tIns="144000" bIns="144000">
              <a:no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</a:pPr>
              <a:endParaRPr lang="en-IN" sz="1600">
                <a:cs typeface="Arial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C4A6510-5CE1-6E42-9670-BDE31B77417D}"/>
                </a:ext>
              </a:extLst>
            </p:cNvPr>
            <p:cNvSpPr/>
            <p:nvPr/>
          </p:nvSpPr>
          <p:spPr>
            <a:xfrm>
              <a:off x="564482" y="4888048"/>
              <a:ext cx="6414348" cy="1969952"/>
            </a:xfrm>
            <a:prstGeom prst="rect">
              <a:avLst/>
            </a:prstGeom>
            <a:solidFill>
              <a:schemeClr val="tx1">
                <a:alpha val="85000"/>
              </a:schemeClr>
            </a:solidFill>
          </p:spPr>
          <p:txBody>
            <a:bodyPr wrap="square" lIns="324000" tIns="251999" rIns="0" bIns="2015999">
              <a:noAutofit/>
            </a:bodyPr>
            <a:lstStyle/>
            <a:p>
              <a:pPr marL="12700">
                <a:spcBef>
                  <a:spcPts val="400"/>
                </a:spcBef>
              </a:pPr>
              <a:br>
                <a:rPr lang="en-IN" sz="1400" spc="-10">
                  <a:solidFill>
                    <a:srgbClr val="FFFFFF"/>
                  </a:solidFill>
                  <a:cs typeface="Arial"/>
                </a:rPr>
              </a:br>
              <a:endParaRPr lang="en-IN" sz="1400">
                <a:cs typeface="Arial"/>
              </a:endParaRPr>
            </a:p>
          </p:txBody>
        </p: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E32DBCF-5C67-AD41-8C8C-04F9F3DF8FC3}"/>
              </a:ext>
            </a:extLst>
          </p:cNvPr>
          <p:cNvCxnSpPr>
            <a:cxnSpLocks/>
          </p:cNvCxnSpPr>
          <p:nvPr/>
        </p:nvCxnSpPr>
        <p:spPr>
          <a:xfrm>
            <a:off x="0" y="4889269"/>
            <a:ext cx="12192000" cy="1220"/>
          </a:xfrm>
          <a:prstGeom prst="line">
            <a:avLst/>
          </a:prstGeom>
          <a:ln w="152400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0AAE824-913B-8347-9166-22543BDB5A8D}"/>
              </a:ext>
            </a:extLst>
          </p:cNvPr>
          <p:cNvCxnSpPr>
            <a:cxnSpLocks/>
          </p:cNvCxnSpPr>
          <p:nvPr/>
        </p:nvCxnSpPr>
        <p:spPr>
          <a:xfrm>
            <a:off x="6251160" y="0"/>
            <a:ext cx="0" cy="6776029"/>
          </a:xfrm>
          <a:prstGeom prst="line">
            <a:avLst/>
          </a:prstGeom>
          <a:ln w="152400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3148E66-9009-BB44-85E8-8149B9C93D25}"/>
              </a:ext>
            </a:extLst>
          </p:cNvPr>
          <p:cNvCxnSpPr>
            <a:cxnSpLocks/>
          </p:cNvCxnSpPr>
          <p:nvPr/>
        </p:nvCxnSpPr>
        <p:spPr>
          <a:xfrm>
            <a:off x="425455" y="650804"/>
            <a:ext cx="0" cy="6125225"/>
          </a:xfrm>
          <a:prstGeom prst="line">
            <a:avLst/>
          </a:prstGeom>
          <a:ln w="152400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4F5E5FD1-9618-45C8-9F3C-3D95C943D5BC}"/>
              </a:ext>
            </a:extLst>
          </p:cNvPr>
          <p:cNvSpPr txBox="1">
            <a:spLocks/>
          </p:cNvSpPr>
          <p:nvPr/>
        </p:nvSpPr>
        <p:spPr>
          <a:xfrm>
            <a:off x="690354" y="1269457"/>
            <a:ext cx="5596147" cy="1547941"/>
          </a:xfrm>
          <a:prstGeom prst="rect">
            <a:avLst/>
          </a:prstGeom>
        </p:spPr>
        <p:txBody>
          <a:bodyPr vert="horz" lIns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 sz="260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4" name="Subtitle 5">
            <a:extLst>
              <a:ext uri="{FF2B5EF4-FFF2-40B4-BE49-F238E27FC236}">
                <a16:creationId xmlns:a16="http://schemas.microsoft.com/office/drawing/2014/main" id="{BB65B3AF-9360-4A21-8442-77419874BEB0}"/>
              </a:ext>
            </a:extLst>
          </p:cNvPr>
          <p:cNvSpPr txBox="1">
            <a:spLocks/>
          </p:cNvSpPr>
          <p:nvPr/>
        </p:nvSpPr>
        <p:spPr>
          <a:xfrm>
            <a:off x="690354" y="4293688"/>
            <a:ext cx="5952549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90000" rIns="90000" bIns="900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6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Aft>
                <a:spcPts val="1200"/>
              </a:spcAft>
            </a:pPr>
            <a:r>
              <a:rPr lang="ru" sz="1400" b="1" dirty="0">
                <a:solidFill>
                  <a:schemeClr val="bg1"/>
                </a:solidFill>
              </a:rPr>
              <a:t>Обсуждение проекта заключительного  отчета</a:t>
            </a:r>
          </a:p>
          <a:p>
            <a:pPr>
              <a:spcAft>
                <a:spcPts val="1200"/>
              </a:spcAft>
            </a:pPr>
            <a:r>
              <a:rPr lang="ru" sz="1400" b="1" dirty="0">
                <a:solidFill>
                  <a:schemeClr val="bg1"/>
                </a:solidFill>
              </a:rPr>
              <a:t>сентябрь 2023 г.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5" name="Subtitle 5">
            <a:extLst>
              <a:ext uri="{FF2B5EF4-FFF2-40B4-BE49-F238E27FC236}">
                <a16:creationId xmlns:a16="http://schemas.microsoft.com/office/drawing/2014/main" id="{27C4FECD-BD2F-411A-A938-A28C02AC8906}"/>
              </a:ext>
            </a:extLst>
          </p:cNvPr>
          <p:cNvSpPr txBox="1">
            <a:spLocks/>
          </p:cNvSpPr>
          <p:nvPr/>
        </p:nvSpPr>
        <p:spPr>
          <a:xfrm>
            <a:off x="509206" y="1137113"/>
            <a:ext cx="5622241" cy="255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90000" rIns="90000" bIns="900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6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" sz="2400" b="1" dirty="0">
                <a:solidFill>
                  <a:schemeClr val="bg1"/>
                </a:solidFill>
              </a:rPr>
              <a:t>Предварительное технико-экономическое обоснование создания Международного центра промышленной кооперации (МЦПК) на границе Казахстана и Узбекистана в рамках экономического коридора Шымкент-Ташкент-Худжанд (ЭКШТХ)</a:t>
            </a:r>
          </a:p>
        </p:txBody>
      </p:sp>
      <p:pic>
        <p:nvPicPr>
          <p:cNvPr id="21" name="Google Shape;95;p3">
            <a:extLst>
              <a:ext uri="{FF2B5EF4-FFF2-40B4-BE49-F238E27FC236}">
                <a16:creationId xmlns:a16="http://schemas.microsoft.com/office/drawing/2014/main" id="{0D071196-1C55-4B57-94AD-20682787795A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526494" y="5136387"/>
            <a:ext cx="1636776" cy="135118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55ABF08-A76A-0142-8C07-F994198C1C32}"/>
              </a:ext>
            </a:extLst>
          </p:cNvPr>
          <p:cNvCxnSpPr>
            <a:cxnSpLocks/>
          </p:cNvCxnSpPr>
          <p:nvPr/>
        </p:nvCxnSpPr>
        <p:spPr>
          <a:xfrm>
            <a:off x="476254" y="650804"/>
            <a:ext cx="5774906" cy="0"/>
          </a:xfrm>
          <a:prstGeom prst="line">
            <a:avLst/>
          </a:prstGeom>
          <a:ln w="152400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</p:spTree>
    <p:custDataLst>
      <p:custData r:id="rId1"/>
    </p:custDataLst>
    <p:extLst>
      <p:ext uri="{BB962C8B-B14F-4D97-AF65-F5344CB8AC3E}">
        <p14:creationId xmlns:p14="http://schemas.microsoft.com/office/powerpoint/2010/main" val="14632290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095B41-810A-40B0-8ED6-F81B04F66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609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2" imgH="532" progId="TCLayout.ActiveDocument.1">
                  <p:embed/>
                </p:oleObj>
              </mc:Choice>
              <mc:Fallback>
                <p:oleObj name="think-cell Slide" r:id="rId5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095B41-810A-40B0-8ED6-F81B04F66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2"/>
          <p:cNvSpPr txBox="1">
            <a:spLocks noGrp="1"/>
          </p:cNvSpPr>
          <p:nvPr>
            <p:ph type="title"/>
          </p:nvPr>
        </p:nvSpPr>
        <p:spPr>
          <a:xfrm>
            <a:off x="442914" y="345559"/>
            <a:ext cx="11306175" cy="369332"/>
          </a:xfrm>
        </p:spPr>
        <p:txBody>
          <a:bodyPr anchor="ctr" anchorCtr="0">
            <a:normAutofit/>
          </a:bodyPr>
          <a:lstStyle/>
          <a:p>
            <a:pPr lvl="0"/>
            <a:r>
              <a:rPr lang="ru" sz="2400" b="0" dirty="0">
                <a:latin typeface="Georgia" panose="02040502050405020303" pitchFamily="18" charset="0"/>
              </a:rPr>
              <a:t>Обоснование развития </a:t>
            </a:r>
            <a:r>
              <a:rPr lang="ru-RU" sz="2400" b="0" dirty="0">
                <a:latin typeface="Georgia" panose="02040502050405020303" pitchFamily="18" charset="0"/>
              </a:rPr>
              <a:t>МЦПК</a:t>
            </a:r>
            <a:endParaRPr lang="ru" sz="2400" b="0" dirty="0">
              <a:latin typeface="Georgia" panose="02040502050405020303" pitchFamily="18" charset="0"/>
            </a:endParaRPr>
          </a:p>
        </p:txBody>
      </p:sp>
      <p:sp>
        <p:nvSpPr>
          <p:cNvPr id="7" name="Google Shape;1631;g114e5dc4418_1_0">
            <a:extLst>
              <a:ext uri="{FF2B5EF4-FFF2-40B4-BE49-F238E27FC236}">
                <a16:creationId xmlns:a16="http://schemas.microsoft.com/office/drawing/2014/main" id="{7433582D-A57B-4F5E-AD4D-771F4E551EFA}"/>
              </a:ext>
            </a:extLst>
          </p:cNvPr>
          <p:cNvSpPr/>
          <p:nvPr/>
        </p:nvSpPr>
        <p:spPr>
          <a:xfrm flipH="1">
            <a:off x="485843" y="1199174"/>
            <a:ext cx="11494587" cy="327210"/>
          </a:xfrm>
          <a:prstGeom prst="rect">
            <a:avLst/>
          </a:prstGeom>
          <a:solidFill>
            <a:srgbClr val="C00000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spcFirstLastPara="1" wrap="square" lIns="98375" tIns="98375" rIns="98375" bIns="9837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79"/>
              <a:buFont typeface="Arial"/>
              <a:buNone/>
              <a:tabLst/>
              <a:defRPr/>
            </a:pPr>
            <a:r>
              <a:rPr lang="ru" sz="1400" b="1" i="1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Чем </a:t>
            </a:r>
            <a:r>
              <a:rPr lang="ru-RU" sz="1400" b="1" i="1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МЦПК</a:t>
            </a:r>
            <a:r>
              <a:rPr lang="ru" sz="1400" b="1" i="1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может помочь?</a:t>
            </a:r>
            <a:endParaRPr kumimoji="0" lang="en-US" sz="1400" b="1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49A0EE9-32E1-45C4-994D-D6010964D2D4}"/>
              </a:ext>
            </a:extLst>
          </p:cNvPr>
          <p:cNvGrpSpPr/>
          <p:nvPr/>
        </p:nvGrpSpPr>
        <p:grpSpPr>
          <a:xfrm>
            <a:off x="483243" y="4959554"/>
            <a:ext cx="11456855" cy="1208453"/>
            <a:chOff x="483243" y="5092904"/>
            <a:chExt cx="11456855" cy="1208453"/>
          </a:xfrm>
        </p:grpSpPr>
        <p:pic>
          <p:nvPicPr>
            <p:cNvPr id="20" name="Graphic 19" descr="Connected with solid fill">
              <a:extLst>
                <a:ext uri="{FF2B5EF4-FFF2-40B4-BE49-F238E27FC236}">
                  <a16:creationId xmlns:a16="http://schemas.microsoft.com/office/drawing/2014/main" id="{7B317105-7277-4C78-BB09-97EB72EFD65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3243" y="5092904"/>
              <a:ext cx="386476" cy="363840"/>
            </a:xfrm>
            <a:prstGeom prst="rect">
              <a:avLst/>
            </a:prstGeom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782AD23-F6F8-47EA-92DF-D212CC3A19E6}"/>
                </a:ext>
              </a:extLst>
            </p:cNvPr>
            <p:cNvSpPr txBox="1"/>
            <p:nvPr/>
          </p:nvSpPr>
          <p:spPr>
            <a:xfrm>
              <a:off x="869719" y="5159324"/>
              <a:ext cx="356114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  <a:buSzPct val="100000"/>
              </a:pPr>
              <a:r>
                <a:rPr lang="ru" sz="1400" b="1" i="1" dirty="0">
                  <a:solidFill>
                    <a:schemeClr val="accent5">
                      <a:lumMod val="75000"/>
                    </a:schemeClr>
                  </a:solidFill>
                  <a:highlight>
                    <a:srgbClr val="F1D4D9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Управление рисками цепочки поставок</a:t>
              </a:r>
            </a:p>
          </p:txBody>
        </p:sp>
        <p:sp>
          <p:nvSpPr>
            <p:cNvPr id="66" name="Google Shape;3236;g138ac581a49_8_2581">
              <a:extLst>
                <a:ext uri="{FF2B5EF4-FFF2-40B4-BE49-F238E27FC236}">
                  <a16:creationId xmlns:a16="http://schemas.microsoft.com/office/drawing/2014/main" id="{543933AA-C010-45CD-BE27-A57881A45B1F}"/>
                </a:ext>
              </a:extLst>
            </p:cNvPr>
            <p:cNvSpPr/>
            <p:nvPr/>
          </p:nvSpPr>
          <p:spPr>
            <a:xfrm>
              <a:off x="485846" y="5458354"/>
              <a:ext cx="11454252" cy="843003"/>
            </a:xfrm>
            <a:prstGeom prst="rect">
              <a:avLst/>
            </a:prstGeom>
            <a:gradFill>
              <a:gsLst>
                <a:gs pos="0">
                  <a:srgbClr val="F2F2F2">
                    <a:alpha val="45490"/>
                  </a:srgbClr>
                </a:gs>
                <a:gs pos="23000">
                  <a:srgbClr val="F2F2F2">
                    <a:alpha val="45490"/>
                  </a:srgbClr>
                </a:gs>
                <a:gs pos="100000">
                  <a:srgbClr val="DEDEDE">
                    <a:alpha val="37647"/>
                  </a:srgbClr>
                </a:gs>
              </a:gsLst>
              <a:lin ang="5400012" scaled="0"/>
            </a:gradFill>
            <a:ln>
              <a:solidFill>
                <a:schemeClr val="tx1"/>
              </a:solidFill>
              <a:prstDash val="dash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Создание складских мощностей в </a:t>
              </a: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МЦПК</a:t>
              </a:r>
              <a:r>
                <a:rPr kumimoji="0" lang="ru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 может смягчить потенциальное воздействие временных сбоев в цепочке поставок.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" sz="1400" dirty="0">
                  <a:latin typeface="Arial"/>
                </a:rPr>
                <a:t>Развитие логистики с контролируемой температурой может снизить зависимость от импортных товаров в межсезонье сбора урожая.</a:t>
              </a:r>
              <a:endPara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AEEBD7F-5328-46FE-AA90-CFD86ACFDCEF}"/>
              </a:ext>
            </a:extLst>
          </p:cNvPr>
          <p:cNvGrpSpPr/>
          <p:nvPr/>
        </p:nvGrpSpPr>
        <p:grpSpPr>
          <a:xfrm>
            <a:off x="382171" y="3205581"/>
            <a:ext cx="11638594" cy="1617987"/>
            <a:chOff x="382171" y="2874130"/>
            <a:chExt cx="11638594" cy="1617987"/>
          </a:xfrm>
        </p:grpSpPr>
        <p:pic>
          <p:nvPicPr>
            <p:cNvPr id="45" name="Graphic 44" descr="Priorities with solid fill">
              <a:extLst>
                <a:ext uri="{FF2B5EF4-FFF2-40B4-BE49-F238E27FC236}">
                  <a16:creationId xmlns:a16="http://schemas.microsoft.com/office/drawing/2014/main" id="{4FFED05C-ECC1-4DBF-8D2E-B34CEEFF799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82171" y="2874130"/>
              <a:ext cx="378923" cy="356729"/>
            </a:xfrm>
            <a:prstGeom prst="rect">
              <a:avLst/>
            </a:prstGeom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1FC5BBD4-3C30-4E11-BF43-53969ACB9EFE}"/>
                </a:ext>
              </a:extLst>
            </p:cNvPr>
            <p:cNvSpPr txBox="1"/>
            <p:nvPr/>
          </p:nvSpPr>
          <p:spPr>
            <a:xfrm>
              <a:off x="761093" y="2925218"/>
              <a:ext cx="5990581" cy="2232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  <a:buSzPct val="100000"/>
              </a:pPr>
              <a:r>
                <a:rPr lang="ru" sz="1400" b="1" i="1" dirty="0">
                  <a:solidFill>
                    <a:schemeClr val="accent5">
                      <a:lumMod val="75000"/>
                    </a:schemeClr>
                  </a:solidFill>
                  <a:highlight>
                    <a:srgbClr val="F1D4D9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Повышение конкурентоспособности и расширение торговли</a:t>
              </a:r>
            </a:p>
          </p:txBody>
        </p:sp>
        <p:sp>
          <p:nvSpPr>
            <p:cNvPr id="68" name="Google Shape;3236;g138ac581a49_8_2581">
              <a:extLst>
                <a:ext uri="{FF2B5EF4-FFF2-40B4-BE49-F238E27FC236}">
                  <a16:creationId xmlns:a16="http://schemas.microsoft.com/office/drawing/2014/main" id="{01E86F04-BE3A-4308-974D-51D63518FE0C}"/>
                </a:ext>
              </a:extLst>
            </p:cNvPr>
            <p:cNvSpPr/>
            <p:nvPr/>
          </p:nvSpPr>
          <p:spPr>
            <a:xfrm>
              <a:off x="483243" y="3225789"/>
              <a:ext cx="11537522" cy="1266328"/>
            </a:xfrm>
            <a:prstGeom prst="rect">
              <a:avLst/>
            </a:prstGeom>
            <a:gradFill>
              <a:gsLst>
                <a:gs pos="0">
                  <a:srgbClr val="F2F2F2">
                    <a:alpha val="45490"/>
                  </a:srgbClr>
                </a:gs>
                <a:gs pos="23000">
                  <a:srgbClr val="F2F2F2">
                    <a:alpha val="45490"/>
                  </a:srgbClr>
                </a:gs>
                <a:gs pos="100000">
                  <a:srgbClr val="DEDEDE">
                    <a:alpha val="37647"/>
                  </a:srgbClr>
                </a:gs>
              </a:gsLst>
              <a:lin ang="5400012" scaled="0"/>
            </a:gradFill>
            <a:ln>
              <a:solidFill>
                <a:schemeClr val="tx1"/>
              </a:solidFill>
              <a:prstDash val="dash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" sz="1400" dirty="0">
                  <a:latin typeface="Arial"/>
                </a:rPr>
                <a:t>Сокращение торговых и транспортных расходов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" sz="1400" dirty="0">
                  <a:latin typeface="Arial"/>
                </a:rPr>
                <a:t>Активное промышленное сотрудничество и создание учебных центров для повышения квалификации и наращивания потенциала.</a:t>
              </a:r>
            </a:p>
            <a:p>
              <a:pPr marL="171450" indent="-1714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latin typeface="Arial"/>
                </a:rPr>
                <a:t>МЦПК</a:t>
              </a:r>
              <a:r>
                <a:rPr lang="ru" sz="1400" dirty="0">
                  <a:latin typeface="Arial"/>
                </a:rPr>
                <a:t> может способствовать гармонизации таможенных правил для ускорения трансграничных перемещений</a:t>
              </a:r>
            </a:p>
            <a:p>
              <a:pPr marL="171450" indent="-1714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ru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Сократщение времени пересечения границы</a:t>
              </a:r>
              <a:endParaRPr lang="en-US" sz="1400" dirty="0">
                <a:latin typeface="Arial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0909425-9E7D-4B89-B5EA-A7EDC7056393}"/>
              </a:ext>
            </a:extLst>
          </p:cNvPr>
          <p:cNvGrpSpPr/>
          <p:nvPr/>
        </p:nvGrpSpPr>
        <p:grpSpPr>
          <a:xfrm>
            <a:off x="483243" y="1662369"/>
            <a:ext cx="11537522" cy="1407227"/>
            <a:chOff x="483243" y="1448989"/>
            <a:chExt cx="11537522" cy="1407227"/>
          </a:xfrm>
        </p:grpSpPr>
        <p:pic>
          <p:nvPicPr>
            <p:cNvPr id="44" name="Graphic 43" descr="Production with solid fill">
              <a:extLst>
                <a:ext uri="{FF2B5EF4-FFF2-40B4-BE49-F238E27FC236}">
                  <a16:creationId xmlns:a16="http://schemas.microsoft.com/office/drawing/2014/main" id="{8C9C4A36-C65F-4F73-90E0-C6C430E37D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83243" y="1448989"/>
              <a:ext cx="347567" cy="327210"/>
            </a:xfrm>
            <a:prstGeom prst="rect">
              <a:avLst/>
            </a:prstGeom>
          </p:spPr>
        </p:pic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509C23B0-5089-463D-9390-1D70B8712B03}"/>
                </a:ext>
              </a:extLst>
            </p:cNvPr>
            <p:cNvSpPr txBox="1"/>
            <p:nvPr/>
          </p:nvSpPr>
          <p:spPr>
            <a:xfrm>
              <a:off x="846489" y="1510791"/>
              <a:ext cx="731643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ru" sz="1400" b="1" i="1" dirty="0">
                  <a:solidFill>
                    <a:schemeClr val="accent5">
                      <a:lumMod val="75000"/>
                    </a:schemeClr>
                  </a:solidFill>
                  <a:highlight>
                    <a:srgbClr val="F1D4D9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Усиление индустриализации и производства</a:t>
              </a:r>
            </a:p>
          </p:txBody>
        </p:sp>
        <p:sp>
          <p:nvSpPr>
            <p:cNvPr id="69" name="Google Shape;3236;g138ac581a49_8_2581">
              <a:extLst>
                <a:ext uri="{FF2B5EF4-FFF2-40B4-BE49-F238E27FC236}">
                  <a16:creationId xmlns:a16="http://schemas.microsoft.com/office/drawing/2014/main" id="{7A482C92-D685-4C6B-B394-C5B39F12C80D}"/>
                </a:ext>
              </a:extLst>
            </p:cNvPr>
            <p:cNvSpPr/>
            <p:nvPr/>
          </p:nvSpPr>
          <p:spPr>
            <a:xfrm>
              <a:off x="483243" y="1826563"/>
              <a:ext cx="11537522" cy="1029653"/>
            </a:xfrm>
            <a:prstGeom prst="rect">
              <a:avLst/>
            </a:prstGeom>
            <a:gradFill>
              <a:gsLst>
                <a:gs pos="0">
                  <a:srgbClr val="F2F2F2">
                    <a:alpha val="45490"/>
                  </a:srgbClr>
                </a:gs>
                <a:gs pos="23000">
                  <a:srgbClr val="F2F2F2">
                    <a:alpha val="45490"/>
                  </a:srgbClr>
                </a:gs>
                <a:gs pos="100000">
                  <a:srgbClr val="DEDEDE">
                    <a:alpha val="37647"/>
                  </a:srgbClr>
                </a:gs>
              </a:gsLst>
              <a:lin ang="5400012" scaled="0"/>
            </a:gradFill>
            <a:ln>
              <a:solidFill>
                <a:schemeClr val="tx1"/>
              </a:solidFill>
              <a:prstDash val="dash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" sz="1400" dirty="0">
                  <a:latin typeface="Arial"/>
                </a:rPr>
                <a:t>Содействие производству с добавленной стоимостью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" sz="1400" dirty="0">
                  <a:latin typeface="Arial"/>
                </a:rPr>
                <a:t>Содействие сбалансированному пространственному/региональному развитию в Казахстане и Узбекистане посредством стимулирования экономического развития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" sz="1400" dirty="0">
                  <a:latin typeface="Arial"/>
                </a:rPr>
                <a:t>Комплексное планирование предоставления инженерных коммуникаций, СФС и другой необходимой инфраструктуры</a:t>
              </a:r>
            </a:p>
          </p:txBody>
        </p: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E138B3-973D-4513-9C2E-D0FB5D8E1871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/>
              <a:t>сентябрь 2023</a:t>
            </a:r>
            <a:endParaRPr lang="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B55951-436D-4652-A8A4-D0E542D69112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6878607" y="6629400"/>
            <a:ext cx="1764792" cy="137160"/>
          </a:xfrm>
        </p:spPr>
        <p:txBody>
          <a:bodyPr/>
          <a:lstStyle/>
          <a:p>
            <a:pPr lvl="0"/>
            <a:fld id="{00000000-1234-1234-1234-123412341234}" type="slidenum">
              <a:rPr lang="en-US" smtClean="0"/>
              <a:pPr lvl="0"/>
              <a:t>10</a:t>
            </a:fld>
            <a:endParaRPr lang="en-US"/>
          </a:p>
        </p:txBody>
      </p:sp>
      <p:sp>
        <p:nvSpPr>
          <p:cNvPr id="39" name="Footer Placeholder 11">
            <a:extLst>
              <a:ext uri="{FF2B5EF4-FFF2-40B4-BE49-F238E27FC236}">
                <a16:creationId xmlns:a16="http://schemas.microsoft.com/office/drawing/2014/main" id="{73E20386-6429-43FB-B112-B41A09684B10}"/>
              </a:ext>
            </a:extLst>
          </p:cNvPr>
          <p:cNvSpPr txBox="1">
            <a:spLocks/>
          </p:cNvSpPr>
          <p:nvPr/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едварительное технико-экономическое обоснование создания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ЦПК</a:t>
            </a: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ри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КШТХ</a:t>
            </a:r>
            <a:endParaRPr kumimoji="0" lang="ru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720323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36000"/>
            <a:lum/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379AA2-ED46-4BD9-A397-5BBD93295767}"/>
              </a:ext>
            </a:extLst>
          </p:cNvPr>
          <p:cNvSpPr/>
          <p:nvPr/>
        </p:nvSpPr>
        <p:spPr>
          <a:xfrm>
            <a:off x="0" y="2160639"/>
            <a:ext cx="7895073" cy="25563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Концептуальный план 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МЦПК</a:t>
            </a:r>
            <a:endParaRPr kumimoji="0" lang="ru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7039481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think-cell data - do not delete" hidden="1">
            <a:extLst>
              <a:ext uri="{FF2B5EF4-FFF2-40B4-BE49-F238E27FC236}">
                <a16:creationId xmlns:a16="http://schemas.microsoft.com/office/drawing/2014/main" id="{40701DEF-C424-4C21-A2CE-C4DFD3F773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6167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701DEF-C424-4C21-A2CE-C4DFD3F773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FF7BFF-3987-4659-B09E-27AED13D7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157" y="274544"/>
            <a:ext cx="11306175" cy="369332"/>
          </a:xfrm>
        </p:spPr>
        <p:txBody>
          <a:bodyPr vert="horz"/>
          <a:lstStyle/>
          <a:p>
            <a:r>
              <a:rPr lang="ru" sz="2400" b="0" dirty="0">
                <a:latin typeface="Georgia" panose="02040502050405020303" pitchFamily="18" charset="0"/>
              </a:rPr>
              <a:t>С</a:t>
            </a:r>
            <a:r>
              <a:rPr lang="ru-RU" sz="2400" b="0" dirty="0">
                <a:latin typeface="Georgia" panose="02040502050405020303" pitchFamily="18" charset="0"/>
              </a:rPr>
              <a:t>т</a:t>
            </a:r>
            <a:r>
              <a:rPr lang="ru" sz="2400" b="0" dirty="0">
                <a:latin typeface="Georgia" panose="02040502050405020303" pitchFamily="18" charset="0"/>
              </a:rPr>
              <a:t>руктура концептуального плана </a:t>
            </a:r>
            <a:r>
              <a:rPr lang="ru-RU" sz="2400" b="0" dirty="0">
                <a:latin typeface="Georgia" panose="02040502050405020303" pitchFamily="18" charset="0"/>
              </a:rPr>
              <a:t>МЦПК</a:t>
            </a:r>
            <a:endParaRPr lang="ru" sz="2400" b="0" dirty="0">
              <a:latin typeface="Georgia" panose="02040502050405020303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1D8AE6-80A1-455C-B59D-A06C358C82C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en-US" smtClean="0"/>
              <a:pPr lvl="0"/>
              <a:t>12</a:t>
            </a:fld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8C16371-1B83-4B55-8140-BB59ABE57618}"/>
              </a:ext>
            </a:extLst>
          </p:cNvPr>
          <p:cNvSpPr txBox="1"/>
          <p:nvPr/>
        </p:nvSpPr>
        <p:spPr>
          <a:xfrm>
            <a:off x="1190654" y="1267112"/>
            <a:ext cx="293596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400" b="1" i="1" dirty="0"/>
              <a:t>Ключевые элементы концептуального плана </a:t>
            </a:r>
            <a:r>
              <a:rPr lang="ru-RU" sz="1400" b="1" i="1" dirty="0"/>
              <a:t>МЦПК</a:t>
            </a:r>
            <a:endParaRPr lang="ru" sz="1400" b="1" i="1" dirty="0"/>
          </a:p>
        </p:txBody>
      </p:sp>
      <p:sp>
        <p:nvSpPr>
          <p:cNvPr id="5" name="Google Shape;6538;gfe7240cab3_1_22">
            <a:extLst>
              <a:ext uri="{FF2B5EF4-FFF2-40B4-BE49-F238E27FC236}">
                <a16:creationId xmlns:a16="http://schemas.microsoft.com/office/drawing/2014/main" id="{1C50111D-B69F-405D-9A7B-C87E3C3B6186}"/>
              </a:ext>
            </a:extLst>
          </p:cNvPr>
          <p:cNvSpPr/>
          <p:nvPr/>
        </p:nvSpPr>
        <p:spPr>
          <a:xfrm>
            <a:off x="4049531" y="5554586"/>
            <a:ext cx="77093" cy="786206"/>
          </a:xfrm>
          <a:prstGeom prst="rect">
            <a:avLst/>
          </a:prstGeom>
          <a:noFill/>
          <a:ln w="9525" cap="flat" cmpd="sng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539;gfe7240cab3_1_22">
            <a:extLst>
              <a:ext uri="{FF2B5EF4-FFF2-40B4-BE49-F238E27FC236}">
                <a16:creationId xmlns:a16="http://schemas.microsoft.com/office/drawing/2014/main" id="{F1D02E52-E698-45F7-A6CF-4D14FF15E12A}"/>
              </a:ext>
            </a:extLst>
          </p:cNvPr>
          <p:cNvSpPr/>
          <p:nvPr/>
        </p:nvSpPr>
        <p:spPr>
          <a:xfrm>
            <a:off x="1190722" y="5555599"/>
            <a:ext cx="2844616" cy="786206"/>
          </a:xfrm>
          <a:prstGeom prst="rect">
            <a:avLst/>
          </a:prstGeom>
          <a:solidFill>
            <a:srgbClr val="C00000"/>
          </a:solidFill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36575" rIns="60900" bIns="36575" anchor="ctr" anchorCtr="0">
            <a:noAutofit/>
          </a:bodyPr>
          <a:lstStyle/>
          <a:p>
            <a:pPr indent="285750" algn="ctr">
              <a:buClr>
                <a:srgbClr val="A5A5A5"/>
              </a:buClr>
              <a:buSzPts val="1200"/>
            </a:pPr>
            <a:r>
              <a:rPr lang="ru" sz="1200" b="1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Компоненты и зонирование</a:t>
            </a:r>
          </a:p>
        </p:txBody>
      </p:sp>
      <p:sp>
        <p:nvSpPr>
          <p:cNvPr id="9" name="Google Shape;6542;gfe7240cab3_1_22">
            <a:extLst>
              <a:ext uri="{FF2B5EF4-FFF2-40B4-BE49-F238E27FC236}">
                <a16:creationId xmlns:a16="http://schemas.microsoft.com/office/drawing/2014/main" id="{C30F6E7C-1AAF-43D2-B929-2E392A294604}"/>
              </a:ext>
            </a:extLst>
          </p:cNvPr>
          <p:cNvSpPr/>
          <p:nvPr/>
        </p:nvSpPr>
        <p:spPr>
          <a:xfrm>
            <a:off x="4049531" y="1849009"/>
            <a:ext cx="77093" cy="789617"/>
          </a:xfrm>
          <a:prstGeom prst="rect">
            <a:avLst/>
          </a:prstGeom>
          <a:noFill/>
          <a:ln w="9525" cap="flat" cmpd="sng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6543;gfe7240cab3_1_22">
            <a:extLst>
              <a:ext uri="{FF2B5EF4-FFF2-40B4-BE49-F238E27FC236}">
                <a16:creationId xmlns:a16="http://schemas.microsoft.com/office/drawing/2014/main" id="{9FAEF922-A099-459A-8631-3A1389684D25}"/>
              </a:ext>
            </a:extLst>
          </p:cNvPr>
          <p:cNvSpPr/>
          <p:nvPr/>
        </p:nvSpPr>
        <p:spPr>
          <a:xfrm>
            <a:off x="1190722" y="1849009"/>
            <a:ext cx="2844616" cy="789617"/>
          </a:xfrm>
          <a:prstGeom prst="rect">
            <a:avLst/>
          </a:prstGeom>
          <a:solidFill>
            <a:srgbClr val="C00000"/>
          </a:solidFill>
          <a:ln w="9525" cap="flat" cmpd="sng">
            <a:solidFill>
              <a:srgbClr val="1F5F9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36575" rIns="60900" bIns="36575" anchor="ctr" anchorCtr="0">
            <a:noAutofit/>
          </a:bodyPr>
          <a:lstStyle/>
          <a:p>
            <a:pPr marR="0" lvl="0" indent="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5A5A5"/>
              </a:buClr>
              <a:buSzPts val="1200"/>
              <a:buFont typeface="Arial"/>
              <a:buNone/>
            </a:pPr>
            <a:r>
              <a:rPr lang="ru" sz="1200" b="1" i="0" u="none" strike="noStrike" cap="none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Расположение</a:t>
            </a:r>
            <a:endParaRPr lang="en-GB" sz="1200" b="0" i="0" u="none" strike="noStrike" cap="none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6544;gfe7240cab3_1_22">
            <a:extLst>
              <a:ext uri="{FF2B5EF4-FFF2-40B4-BE49-F238E27FC236}">
                <a16:creationId xmlns:a16="http://schemas.microsoft.com/office/drawing/2014/main" id="{19760C5D-9263-4A5C-BB3E-1CA2FB922746}"/>
              </a:ext>
            </a:extLst>
          </p:cNvPr>
          <p:cNvSpPr/>
          <p:nvPr/>
        </p:nvSpPr>
        <p:spPr>
          <a:xfrm>
            <a:off x="4049531" y="2850514"/>
            <a:ext cx="77093" cy="786206"/>
          </a:xfrm>
          <a:prstGeom prst="rect">
            <a:avLst/>
          </a:prstGeom>
          <a:noFill/>
          <a:ln w="9525" cap="flat" cmpd="sng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6545;gfe7240cab3_1_22">
            <a:extLst>
              <a:ext uri="{FF2B5EF4-FFF2-40B4-BE49-F238E27FC236}">
                <a16:creationId xmlns:a16="http://schemas.microsoft.com/office/drawing/2014/main" id="{DABF14C1-3BD3-4FC9-A33D-69CA292EBA7D}"/>
              </a:ext>
            </a:extLst>
          </p:cNvPr>
          <p:cNvSpPr/>
          <p:nvPr/>
        </p:nvSpPr>
        <p:spPr>
          <a:xfrm>
            <a:off x="1190722" y="2850504"/>
            <a:ext cx="2844616" cy="786206"/>
          </a:xfrm>
          <a:prstGeom prst="rect">
            <a:avLst/>
          </a:prstGeom>
          <a:solidFill>
            <a:srgbClr val="C00000"/>
          </a:solidFill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36575" rIns="60900" bIns="36575" anchor="ctr" anchorCtr="0">
            <a:noAutofit/>
          </a:bodyPr>
          <a:lstStyle/>
          <a:p>
            <a:pPr indent="285750">
              <a:buClr>
                <a:srgbClr val="A5A5A5"/>
              </a:buClr>
              <a:buSzPts val="1200"/>
            </a:pPr>
            <a:r>
              <a:rPr lang="ru" sz="1200" b="1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Выбор сектора</a:t>
            </a:r>
            <a:endParaRPr sz="1200" b="1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Google Shape;6546;gfe7240cab3_1_22">
            <a:extLst>
              <a:ext uri="{FF2B5EF4-FFF2-40B4-BE49-F238E27FC236}">
                <a16:creationId xmlns:a16="http://schemas.microsoft.com/office/drawing/2014/main" id="{000A38B4-7738-48DE-8D15-655A780C76D7}"/>
              </a:ext>
            </a:extLst>
          </p:cNvPr>
          <p:cNvSpPr/>
          <p:nvPr/>
        </p:nvSpPr>
        <p:spPr>
          <a:xfrm>
            <a:off x="4049531" y="4597093"/>
            <a:ext cx="77093" cy="786206"/>
          </a:xfrm>
          <a:prstGeom prst="rect">
            <a:avLst/>
          </a:prstGeom>
          <a:noFill/>
          <a:ln w="9525" cap="flat" cmpd="sng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6547;gfe7240cab3_1_22">
            <a:extLst>
              <a:ext uri="{FF2B5EF4-FFF2-40B4-BE49-F238E27FC236}">
                <a16:creationId xmlns:a16="http://schemas.microsoft.com/office/drawing/2014/main" id="{0DFF4181-D30D-4853-9B6F-1E065A36EE3E}"/>
              </a:ext>
            </a:extLst>
          </p:cNvPr>
          <p:cNvSpPr/>
          <p:nvPr/>
        </p:nvSpPr>
        <p:spPr>
          <a:xfrm>
            <a:off x="1190722" y="4597097"/>
            <a:ext cx="2844616" cy="786206"/>
          </a:xfrm>
          <a:prstGeom prst="rect">
            <a:avLst/>
          </a:prstGeom>
          <a:solidFill>
            <a:srgbClr val="C00000"/>
          </a:solidFill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36575" rIns="60900" bIns="36575" anchor="ctr" anchorCtr="0">
            <a:noAutofit/>
          </a:bodyPr>
          <a:lstStyle/>
          <a:p>
            <a:pPr indent="285750" algn="ctr">
              <a:buClr>
                <a:srgbClr val="A5A5A5"/>
              </a:buClr>
              <a:buSzPts val="1200"/>
            </a:pPr>
            <a:r>
              <a:rPr lang="ru" sz="1200" b="1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Институциональная структура</a:t>
            </a:r>
          </a:p>
        </p:txBody>
      </p:sp>
      <p:sp>
        <p:nvSpPr>
          <p:cNvPr id="29" name="Google Shape;649;p76">
            <a:extLst>
              <a:ext uri="{FF2B5EF4-FFF2-40B4-BE49-F238E27FC236}">
                <a16:creationId xmlns:a16="http://schemas.microsoft.com/office/drawing/2014/main" id="{8EA43277-8D2F-4F68-8C2C-7D8FAFB6BCCF}"/>
              </a:ext>
            </a:extLst>
          </p:cNvPr>
          <p:cNvSpPr/>
          <p:nvPr/>
        </p:nvSpPr>
        <p:spPr>
          <a:xfrm>
            <a:off x="1261004" y="1940965"/>
            <a:ext cx="603504" cy="605705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220" y="23"/>
                </a:moveTo>
                <a:cubicBezTo>
                  <a:pt x="441" y="23"/>
                  <a:pt x="441" y="23"/>
                  <a:pt x="441" y="23"/>
                </a:cubicBezTo>
                <a:cubicBezTo>
                  <a:pt x="441" y="67"/>
                  <a:pt x="441" y="67"/>
                  <a:pt x="441" y="67"/>
                </a:cubicBezTo>
                <a:cubicBezTo>
                  <a:pt x="220" y="67"/>
                  <a:pt x="220" y="67"/>
                  <a:pt x="220" y="67"/>
                </a:cubicBezTo>
                <a:lnTo>
                  <a:pt x="220" y="23"/>
                </a:lnTo>
                <a:close/>
                <a:moveTo>
                  <a:pt x="196" y="67"/>
                </a:moveTo>
                <a:cubicBezTo>
                  <a:pt x="134" y="67"/>
                  <a:pt x="134" y="67"/>
                  <a:pt x="134" y="67"/>
                </a:cubicBezTo>
                <a:cubicBezTo>
                  <a:pt x="134" y="23"/>
                  <a:pt x="134" y="23"/>
                  <a:pt x="134" y="23"/>
                </a:cubicBezTo>
                <a:cubicBezTo>
                  <a:pt x="196" y="23"/>
                  <a:pt x="196" y="23"/>
                  <a:pt x="196" y="23"/>
                </a:cubicBezTo>
                <a:lnTo>
                  <a:pt x="196" y="67"/>
                </a:lnTo>
                <a:close/>
                <a:moveTo>
                  <a:pt x="553" y="552"/>
                </a:moveTo>
                <a:cubicBezTo>
                  <a:pt x="23" y="552"/>
                  <a:pt x="23" y="552"/>
                  <a:pt x="23" y="552"/>
                </a:cubicBezTo>
                <a:cubicBezTo>
                  <a:pt x="23" y="23"/>
                  <a:pt x="23" y="23"/>
                  <a:pt x="23" y="23"/>
                </a:cubicBezTo>
                <a:cubicBezTo>
                  <a:pt x="110" y="23"/>
                  <a:pt x="110" y="23"/>
                  <a:pt x="110" y="23"/>
                </a:cubicBezTo>
                <a:cubicBezTo>
                  <a:pt x="110" y="67"/>
                  <a:pt x="110" y="67"/>
                  <a:pt x="110" y="67"/>
                </a:cubicBezTo>
                <a:cubicBezTo>
                  <a:pt x="70" y="67"/>
                  <a:pt x="70" y="67"/>
                  <a:pt x="70" y="67"/>
                </a:cubicBezTo>
                <a:cubicBezTo>
                  <a:pt x="70" y="250"/>
                  <a:pt x="70" y="250"/>
                  <a:pt x="70" y="250"/>
                </a:cubicBezTo>
                <a:cubicBezTo>
                  <a:pt x="110" y="250"/>
                  <a:pt x="110" y="250"/>
                  <a:pt x="110" y="250"/>
                </a:cubicBezTo>
                <a:cubicBezTo>
                  <a:pt x="110" y="297"/>
                  <a:pt x="110" y="297"/>
                  <a:pt x="110" y="297"/>
                </a:cubicBezTo>
                <a:cubicBezTo>
                  <a:pt x="78" y="303"/>
                  <a:pt x="54" y="330"/>
                  <a:pt x="54" y="362"/>
                </a:cubicBezTo>
                <a:cubicBezTo>
                  <a:pt x="54" y="441"/>
                  <a:pt x="122" y="519"/>
                  <a:pt x="122" y="519"/>
                </a:cubicBezTo>
                <a:cubicBezTo>
                  <a:pt x="122" y="519"/>
                  <a:pt x="189" y="441"/>
                  <a:pt x="189" y="362"/>
                </a:cubicBezTo>
                <a:cubicBezTo>
                  <a:pt x="189" y="330"/>
                  <a:pt x="165" y="303"/>
                  <a:pt x="134" y="297"/>
                </a:cubicBezTo>
                <a:cubicBezTo>
                  <a:pt x="134" y="250"/>
                  <a:pt x="134" y="250"/>
                  <a:pt x="134" y="250"/>
                </a:cubicBezTo>
                <a:cubicBezTo>
                  <a:pt x="275" y="250"/>
                  <a:pt x="275" y="250"/>
                  <a:pt x="275" y="250"/>
                </a:cubicBezTo>
                <a:cubicBezTo>
                  <a:pt x="275" y="296"/>
                  <a:pt x="275" y="296"/>
                  <a:pt x="275" y="296"/>
                </a:cubicBezTo>
                <a:cubicBezTo>
                  <a:pt x="243" y="302"/>
                  <a:pt x="218" y="330"/>
                  <a:pt x="218" y="364"/>
                </a:cubicBezTo>
                <a:cubicBezTo>
                  <a:pt x="218" y="433"/>
                  <a:pt x="276" y="507"/>
                  <a:pt x="279" y="510"/>
                </a:cubicBezTo>
                <a:cubicBezTo>
                  <a:pt x="288" y="522"/>
                  <a:pt x="288" y="522"/>
                  <a:pt x="288" y="522"/>
                </a:cubicBezTo>
                <a:cubicBezTo>
                  <a:pt x="297" y="510"/>
                  <a:pt x="297" y="510"/>
                  <a:pt x="297" y="510"/>
                </a:cubicBezTo>
                <a:cubicBezTo>
                  <a:pt x="300" y="507"/>
                  <a:pt x="358" y="433"/>
                  <a:pt x="358" y="364"/>
                </a:cubicBezTo>
                <a:cubicBezTo>
                  <a:pt x="358" y="330"/>
                  <a:pt x="332" y="301"/>
                  <a:pt x="299" y="295"/>
                </a:cubicBezTo>
                <a:cubicBezTo>
                  <a:pt x="299" y="226"/>
                  <a:pt x="299" y="226"/>
                  <a:pt x="299" y="226"/>
                </a:cubicBezTo>
                <a:cubicBezTo>
                  <a:pt x="134" y="226"/>
                  <a:pt x="134" y="226"/>
                  <a:pt x="134" y="226"/>
                </a:cubicBezTo>
                <a:cubicBezTo>
                  <a:pt x="134" y="91"/>
                  <a:pt x="134" y="91"/>
                  <a:pt x="134" y="91"/>
                </a:cubicBezTo>
                <a:cubicBezTo>
                  <a:pt x="196" y="91"/>
                  <a:pt x="196" y="91"/>
                  <a:pt x="196" y="91"/>
                </a:cubicBezTo>
                <a:cubicBezTo>
                  <a:pt x="196" y="151"/>
                  <a:pt x="196" y="151"/>
                  <a:pt x="196" y="151"/>
                </a:cubicBezTo>
                <a:cubicBezTo>
                  <a:pt x="490" y="151"/>
                  <a:pt x="490" y="151"/>
                  <a:pt x="490" y="151"/>
                </a:cubicBezTo>
                <a:cubicBezTo>
                  <a:pt x="490" y="196"/>
                  <a:pt x="490" y="196"/>
                  <a:pt x="490" y="196"/>
                </a:cubicBezTo>
                <a:cubicBezTo>
                  <a:pt x="442" y="196"/>
                  <a:pt x="442" y="196"/>
                  <a:pt x="442" y="196"/>
                </a:cubicBezTo>
                <a:cubicBezTo>
                  <a:pt x="442" y="295"/>
                  <a:pt x="442" y="295"/>
                  <a:pt x="442" y="295"/>
                </a:cubicBezTo>
                <a:cubicBezTo>
                  <a:pt x="409" y="301"/>
                  <a:pt x="384" y="330"/>
                  <a:pt x="384" y="364"/>
                </a:cubicBezTo>
                <a:cubicBezTo>
                  <a:pt x="384" y="433"/>
                  <a:pt x="442" y="507"/>
                  <a:pt x="444" y="510"/>
                </a:cubicBezTo>
                <a:cubicBezTo>
                  <a:pt x="454" y="522"/>
                  <a:pt x="454" y="522"/>
                  <a:pt x="454" y="522"/>
                </a:cubicBezTo>
                <a:cubicBezTo>
                  <a:pt x="463" y="510"/>
                  <a:pt x="463" y="510"/>
                  <a:pt x="463" y="510"/>
                </a:cubicBezTo>
                <a:cubicBezTo>
                  <a:pt x="465" y="507"/>
                  <a:pt x="523" y="433"/>
                  <a:pt x="523" y="364"/>
                </a:cubicBezTo>
                <a:cubicBezTo>
                  <a:pt x="523" y="330"/>
                  <a:pt x="498" y="301"/>
                  <a:pt x="466" y="295"/>
                </a:cubicBezTo>
                <a:cubicBezTo>
                  <a:pt x="466" y="220"/>
                  <a:pt x="466" y="220"/>
                  <a:pt x="466" y="220"/>
                </a:cubicBezTo>
                <a:cubicBezTo>
                  <a:pt x="514" y="220"/>
                  <a:pt x="514" y="220"/>
                  <a:pt x="514" y="220"/>
                </a:cubicBezTo>
                <a:cubicBezTo>
                  <a:pt x="514" y="127"/>
                  <a:pt x="514" y="127"/>
                  <a:pt x="514" y="127"/>
                </a:cubicBezTo>
                <a:cubicBezTo>
                  <a:pt x="220" y="127"/>
                  <a:pt x="220" y="127"/>
                  <a:pt x="220" y="127"/>
                </a:cubicBezTo>
                <a:cubicBezTo>
                  <a:pt x="220" y="91"/>
                  <a:pt x="220" y="91"/>
                  <a:pt x="220" y="91"/>
                </a:cubicBezTo>
                <a:cubicBezTo>
                  <a:pt x="465" y="91"/>
                  <a:pt x="465" y="91"/>
                  <a:pt x="465" y="91"/>
                </a:cubicBezTo>
                <a:cubicBezTo>
                  <a:pt x="465" y="23"/>
                  <a:pt x="465" y="23"/>
                  <a:pt x="465" y="23"/>
                </a:cubicBezTo>
                <a:cubicBezTo>
                  <a:pt x="553" y="23"/>
                  <a:pt x="553" y="23"/>
                  <a:pt x="553" y="23"/>
                </a:cubicBezTo>
                <a:lnTo>
                  <a:pt x="553" y="552"/>
                </a:lnTo>
                <a:close/>
                <a:moveTo>
                  <a:pt x="110" y="91"/>
                </a:moveTo>
                <a:cubicBezTo>
                  <a:pt x="110" y="226"/>
                  <a:pt x="110" y="226"/>
                  <a:pt x="110" y="226"/>
                </a:cubicBezTo>
                <a:cubicBezTo>
                  <a:pt x="94" y="226"/>
                  <a:pt x="94" y="226"/>
                  <a:pt x="94" y="226"/>
                </a:cubicBezTo>
                <a:cubicBezTo>
                  <a:pt x="94" y="91"/>
                  <a:pt x="94" y="91"/>
                  <a:pt x="94" y="91"/>
                </a:cubicBezTo>
                <a:lnTo>
                  <a:pt x="110" y="91"/>
                </a:lnTo>
                <a:close/>
                <a:moveTo>
                  <a:pt x="122" y="330"/>
                </a:moveTo>
                <a:cubicBezTo>
                  <a:pt x="141" y="330"/>
                  <a:pt x="156" y="345"/>
                  <a:pt x="156" y="364"/>
                </a:cubicBezTo>
                <a:cubicBezTo>
                  <a:pt x="156" y="384"/>
                  <a:pt x="141" y="399"/>
                  <a:pt x="122" y="399"/>
                </a:cubicBezTo>
                <a:cubicBezTo>
                  <a:pt x="102" y="399"/>
                  <a:pt x="87" y="384"/>
                  <a:pt x="87" y="364"/>
                </a:cubicBezTo>
                <a:cubicBezTo>
                  <a:pt x="87" y="345"/>
                  <a:pt x="102" y="330"/>
                  <a:pt x="122" y="330"/>
                </a:cubicBezTo>
                <a:close/>
                <a:moveTo>
                  <a:pt x="288" y="318"/>
                </a:moveTo>
                <a:cubicBezTo>
                  <a:pt x="313" y="318"/>
                  <a:pt x="334" y="339"/>
                  <a:pt x="334" y="364"/>
                </a:cubicBezTo>
                <a:cubicBezTo>
                  <a:pt x="334" y="409"/>
                  <a:pt x="304" y="459"/>
                  <a:pt x="288" y="482"/>
                </a:cubicBezTo>
                <a:cubicBezTo>
                  <a:pt x="272" y="459"/>
                  <a:pt x="242" y="409"/>
                  <a:pt x="242" y="364"/>
                </a:cubicBezTo>
                <a:cubicBezTo>
                  <a:pt x="242" y="339"/>
                  <a:pt x="263" y="318"/>
                  <a:pt x="288" y="318"/>
                </a:cubicBezTo>
                <a:close/>
                <a:moveTo>
                  <a:pt x="454" y="318"/>
                </a:moveTo>
                <a:cubicBezTo>
                  <a:pt x="479" y="318"/>
                  <a:pt x="499" y="339"/>
                  <a:pt x="499" y="364"/>
                </a:cubicBezTo>
                <a:cubicBezTo>
                  <a:pt x="499" y="409"/>
                  <a:pt x="469" y="459"/>
                  <a:pt x="454" y="482"/>
                </a:cubicBezTo>
                <a:cubicBezTo>
                  <a:pt x="438" y="459"/>
                  <a:pt x="408" y="409"/>
                  <a:pt x="408" y="364"/>
                </a:cubicBezTo>
                <a:cubicBezTo>
                  <a:pt x="408" y="339"/>
                  <a:pt x="428" y="318"/>
                  <a:pt x="454" y="318"/>
                </a:cubicBezTo>
                <a:close/>
                <a:moveTo>
                  <a:pt x="288" y="401"/>
                </a:moveTo>
                <a:cubicBezTo>
                  <a:pt x="308" y="401"/>
                  <a:pt x="325" y="385"/>
                  <a:pt x="325" y="364"/>
                </a:cubicBezTo>
                <a:cubicBezTo>
                  <a:pt x="325" y="344"/>
                  <a:pt x="308" y="327"/>
                  <a:pt x="288" y="327"/>
                </a:cubicBezTo>
                <a:cubicBezTo>
                  <a:pt x="268" y="327"/>
                  <a:pt x="251" y="344"/>
                  <a:pt x="251" y="364"/>
                </a:cubicBezTo>
                <a:cubicBezTo>
                  <a:pt x="251" y="385"/>
                  <a:pt x="268" y="401"/>
                  <a:pt x="288" y="401"/>
                </a:cubicBezTo>
                <a:close/>
                <a:moveTo>
                  <a:pt x="288" y="351"/>
                </a:moveTo>
                <a:cubicBezTo>
                  <a:pt x="295" y="351"/>
                  <a:pt x="301" y="357"/>
                  <a:pt x="301" y="364"/>
                </a:cubicBezTo>
                <a:cubicBezTo>
                  <a:pt x="301" y="371"/>
                  <a:pt x="295" y="377"/>
                  <a:pt x="288" y="377"/>
                </a:cubicBezTo>
                <a:cubicBezTo>
                  <a:pt x="281" y="377"/>
                  <a:pt x="275" y="371"/>
                  <a:pt x="275" y="364"/>
                </a:cubicBezTo>
                <a:cubicBezTo>
                  <a:pt x="275" y="357"/>
                  <a:pt x="281" y="351"/>
                  <a:pt x="288" y="351"/>
                </a:cubicBezTo>
                <a:close/>
                <a:moveTo>
                  <a:pt x="454" y="401"/>
                </a:moveTo>
                <a:cubicBezTo>
                  <a:pt x="474" y="401"/>
                  <a:pt x="490" y="385"/>
                  <a:pt x="490" y="364"/>
                </a:cubicBezTo>
                <a:cubicBezTo>
                  <a:pt x="490" y="344"/>
                  <a:pt x="474" y="327"/>
                  <a:pt x="454" y="327"/>
                </a:cubicBezTo>
                <a:cubicBezTo>
                  <a:pt x="433" y="327"/>
                  <a:pt x="417" y="344"/>
                  <a:pt x="417" y="364"/>
                </a:cubicBezTo>
                <a:cubicBezTo>
                  <a:pt x="417" y="385"/>
                  <a:pt x="433" y="401"/>
                  <a:pt x="454" y="401"/>
                </a:cubicBezTo>
                <a:close/>
                <a:moveTo>
                  <a:pt x="454" y="351"/>
                </a:moveTo>
                <a:cubicBezTo>
                  <a:pt x="461" y="351"/>
                  <a:pt x="466" y="357"/>
                  <a:pt x="466" y="364"/>
                </a:cubicBezTo>
                <a:cubicBezTo>
                  <a:pt x="466" y="371"/>
                  <a:pt x="461" y="377"/>
                  <a:pt x="454" y="377"/>
                </a:cubicBezTo>
                <a:cubicBezTo>
                  <a:pt x="446" y="377"/>
                  <a:pt x="441" y="371"/>
                  <a:pt x="441" y="364"/>
                </a:cubicBezTo>
                <a:cubicBezTo>
                  <a:pt x="441" y="357"/>
                  <a:pt x="446" y="351"/>
                  <a:pt x="454" y="351"/>
                </a:cubicBezTo>
                <a:close/>
                <a:moveTo>
                  <a:pt x="107" y="364"/>
                </a:moveTo>
                <a:cubicBezTo>
                  <a:pt x="107" y="356"/>
                  <a:pt x="113" y="349"/>
                  <a:pt x="122" y="349"/>
                </a:cubicBezTo>
                <a:cubicBezTo>
                  <a:pt x="130" y="349"/>
                  <a:pt x="137" y="356"/>
                  <a:pt x="137" y="364"/>
                </a:cubicBezTo>
                <a:cubicBezTo>
                  <a:pt x="137" y="373"/>
                  <a:pt x="130" y="379"/>
                  <a:pt x="122" y="379"/>
                </a:cubicBezTo>
                <a:cubicBezTo>
                  <a:pt x="113" y="379"/>
                  <a:pt x="107" y="373"/>
                  <a:pt x="107" y="36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1201;p86">
            <a:extLst>
              <a:ext uri="{FF2B5EF4-FFF2-40B4-BE49-F238E27FC236}">
                <a16:creationId xmlns:a16="http://schemas.microsoft.com/office/drawing/2014/main" id="{0D85A3DA-0851-4913-A1D6-4F984A5F2B13}"/>
              </a:ext>
            </a:extLst>
          </p:cNvPr>
          <p:cNvSpPr/>
          <p:nvPr/>
        </p:nvSpPr>
        <p:spPr>
          <a:xfrm>
            <a:off x="1256363" y="2940756"/>
            <a:ext cx="603504" cy="605705"/>
          </a:xfrm>
          <a:custGeom>
            <a:avLst/>
            <a:gdLst/>
            <a:ahLst/>
            <a:cxnLst/>
            <a:rect l="l" t="t" r="r" b="b"/>
            <a:pathLst>
              <a:path w="395" h="396" extrusionOk="0">
                <a:moveTo>
                  <a:pt x="0" y="0"/>
                </a:moveTo>
                <a:lnTo>
                  <a:pt x="0" y="396"/>
                </a:lnTo>
                <a:lnTo>
                  <a:pt x="395" y="396"/>
                </a:lnTo>
                <a:lnTo>
                  <a:pt x="395" y="0"/>
                </a:lnTo>
                <a:lnTo>
                  <a:pt x="0" y="0"/>
                </a:lnTo>
                <a:close/>
                <a:moveTo>
                  <a:pt x="378" y="379"/>
                </a:moveTo>
                <a:lnTo>
                  <a:pt x="17" y="379"/>
                </a:lnTo>
                <a:lnTo>
                  <a:pt x="17" y="16"/>
                </a:lnTo>
                <a:lnTo>
                  <a:pt x="378" y="16"/>
                </a:lnTo>
                <a:lnTo>
                  <a:pt x="378" y="379"/>
                </a:lnTo>
                <a:close/>
                <a:moveTo>
                  <a:pt x="343" y="346"/>
                </a:moveTo>
                <a:lnTo>
                  <a:pt x="50" y="346"/>
                </a:lnTo>
                <a:lnTo>
                  <a:pt x="50" y="329"/>
                </a:lnTo>
                <a:lnTo>
                  <a:pt x="343" y="329"/>
                </a:lnTo>
                <a:lnTo>
                  <a:pt x="343" y="346"/>
                </a:lnTo>
                <a:close/>
                <a:moveTo>
                  <a:pt x="343" y="140"/>
                </a:moveTo>
                <a:lnTo>
                  <a:pt x="207" y="140"/>
                </a:lnTo>
                <a:lnTo>
                  <a:pt x="207" y="115"/>
                </a:lnTo>
                <a:lnTo>
                  <a:pt x="237" y="115"/>
                </a:lnTo>
                <a:lnTo>
                  <a:pt x="237" y="130"/>
                </a:lnTo>
                <a:lnTo>
                  <a:pt x="289" y="130"/>
                </a:lnTo>
                <a:lnTo>
                  <a:pt x="289" y="75"/>
                </a:lnTo>
                <a:lnTo>
                  <a:pt x="255" y="75"/>
                </a:lnTo>
                <a:lnTo>
                  <a:pt x="255" y="54"/>
                </a:lnTo>
                <a:lnTo>
                  <a:pt x="190" y="54"/>
                </a:lnTo>
                <a:lnTo>
                  <a:pt x="190" y="140"/>
                </a:lnTo>
                <a:lnTo>
                  <a:pt x="50" y="140"/>
                </a:lnTo>
                <a:lnTo>
                  <a:pt x="50" y="157"/>
                </a:lnTo>
                <a:lnTo>
                  <a:pt x="343" y="157"/>
                </a:lnTo>
                <a:lnTo>
                  <a:pt x="343" y="140"/>
                </a:lnTo>
                <a:close/>
                <a:moveTo>
                  <a:pt x="273" y="92"/>
                </a:moveTo>
                <a:lnTo>
                  <a:pt x="273" y="114"/>
                </a:lnTo>
                <a:lnTo>
                  <a:pt x="255" y="114"/>
                </a:lnTo>
                <a:lnTo>
                  <a:pt x="255" y="92"/>
                </a:lnTo>
                <a:lnTo>
                  <a:pt x="273" y="92"/>
                </a:lnTo>
                <a:close/>
                <a:moveTo>
                  <a:pt x="207" y="71"/>
                </a:moveTo>
                <a:lnTo>
                  <a:pt x="237" y="71"/>
                </a:lnTo>
                <a:lnTo>
                  <a:pt x="237" y="75"/>
                </a:lnTo>
                <a:lnTo>
                  <a:pt x="237" y="98"/>
                </a:lnTo>
                <a:lnTo>
                  <a:pt x="207" y="98"/>
                </a:lnTo>
                <a:lnTo>
                  <a:pt x="207" y="71"/>
                </a:lnTo>
                <a:close/>
                <a:moveTo>
                  <a:pt x="123" y="320"/>
                </a:moveTo>
                <a:lnTo>
                  <a:pt x="123" y="167"/>
                </a:lnTo>
                <a:lnTo>
                  <a:pt x="73" y="167"/>
                </a:lnTo>
                <a:lnTo>
                  <a:pt x="73" y="320"/>
                </a:lnTo>
                <a:lnTo>
                  <a:pt x="123" y="320"/>
                </a:lnTo>
                <a:close/>
                <a:moveTo>
                  <a:pt x="90" y="185"/>
                </a:moveTo>
                <a:lnTo>
                  <a:pt x="106" y="185"/>
                </a:lnTo>
                <a:lnTo>
                  <a:pt x="106" y="302"/>
                </a:lnTo>
                <a:lnTo>
                  <a:pt x="90" y="302"/>
                </a:lnTo>
                <a:lnTo>
                  <a:pt x="90" y="185"/>
                </a:lnTo>
                <a:close/>
                <a:moveTo>
                  <a:pt x="189" y="320"/>
                </a:moveTo>
                <a:lnTo>
                  <a:pt x="189" y="167"/>
                </a:lnTo>
                <a:lnTo>
                  <a:pt x="138" y="167"/>
                </a:lnTo>
                <a:lnTo>
                  <a:pt x="138" y="320"/>
                </a:lnTo>
                <a:lnTo>
                  <a:pt x="189" y="320"/>
                </a:lnTo>
                <a:close/>
                <a:moveTo>
                  <a:pt x="155" y="185"/>
                </a:moveTo>
                <a:lnTo>
                  <a:pt x="172" y="185"/>
                </a:lnTo>
                <a:lnTo>
                  <a:pt x="172" y="302"/>
                </a:lnTo>
                <a:lnTo>
                  <a:pt x="155" y="302"/>
                </a:lnTo>
                <a:lnTo>
                  <a:pt x="155" y="185"/>
                </a:lnTo>
                <a:close/>
                <a:moveTo>
                  <a:pt x="255" y="320"/>
                </a:moveTo>
                <a:lnTo>
                  <a:pt x="255" y="167"/>
                </a:lnTo>
                <a:lnTo>
                  <a:pt x="204" y="167"/>
                </a:lnTo>
                <a:lnTo>
                  <a:pt x="204" y="320"/>
                </a:lnTo>
                <a:lnTo>
                  <a:pt x="255" y="320"/>
                </a:lnTo>
                <a:close/>
                <a:moveTo>
                  <a:pt x="220" y="185"/>
                </a:moveTo>
                <a:lnTo>
                  <a:pt x="237" y="185"/>
                </a:lnTo>
                <a:lnTo>
                  <a:pt x="237" y="302"/>
                </a:lnTo>
                <a:lnTo>
                  <a:pt x="220" y="302"/>
                </a:lnTo>
                <a:lnTo>
                  <a:pt x="220" y="185"/>
                </a:lnTo>
                <a:close/>
                <a:moveTo>
                  <a:pt x="320" y="320"/>
                </a:moveTo>
                <a:lnTo>
                  <a:pt x="320" y="167"/>
                </a:lnTo>
                <a:lnTo>
                  <a:pt x="269" y="167"/>
                </a:lnTo>
                <a:lnTo>
                  <a:pt x="269" y="320"/>
                </a:lnTo>
                <a:lnTo>
                  <a:pt x="320" y="320"/>
                </a:lnTo>
                <a:close/>
                <a:moveTo>
                  <a:pt x="287" y="185"/>
                </a:moveTo>
                <a:lnTo>
                  <a:pt x="304" y="185"/>
                </a:lnTo>
                <a:lnTo>
                  <a:pt x="304" y="302"/>
                </a:lnTo>
                <a:lnTo>
                  <a:pt x="287" y="302"/>
                </a:lnTo>
                <a:lnTo>
                  <a:pt x="287" y="1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1130;p85">
            <a:extLst>
              <a:ext uri="{FF2B5EF4-FFF2-40B4-BE49-F238E27FC236}">
                <a16:creationId xmlns:a16="http://schemas.microsoft.com/office/drawing/2014/main" id="{90C91412-F681-40EA-8896-52E707308C90}"/>
              </a:ext>
            </a:extLst>
          </p:cNvPr>
          <p:cNvSpPr/>
          <p:nvPr/>
        </p:nvSpPr>
        <p:spPr>
          <a:xfrm>
            <a:off x="1278194" y="4687348"/>
            <a:ext cx="594652" cy="605705"/>
          </a:xfrm>
          <a:custGeom>
            <a:avLst/>
            <a:gdLst/>
            <a:ahLst/>
            <a:cxnLst/>
            <a:rect l="l" t="t" r="r" b="b"/>
            <a:pathLst>
              <a:path w="704" h="706" extrusionOk="0">
                <a:moveTo>
                  <a:pt x="0" y="0"/>
                </a:moveTo>
                <a:lnTo>
                  <a:pt x="0" y="706"/>
                </a:lnTo>
                <a:lnTo>
                  <a:pt x="704" y="706"/>
                </a:lnTo>
                <a:lnTo>
                  <a:pt x="704" y="0"/>
                </a:lnTo>
                <a:lnTo>
                  <a:pt x="0" y="0"/>
                </a:lnTo>
                <a:close/>
                <a:moveTo>
                  <a:pt x="673" y="677"/>
                </a:moveTo>
                <a:lnTo>
                  <a:pt x="30" y="677"/>
                </a:lnTo>
                <a:lnTo>
                  <a:pt x="30" y="31"/>
                </a:lnTo>
                <a:lnTo>
                  <a:pt x="673" y="31"/>
                </a:lnTo>
                <a:lnTo>
                  <a:pt x="673" y="677"/>
                </a:lnTo>
                <a:close/>
                <a:moveTo>
                  <a:pt x="626" y="589"/>
                </a:moveTo>
                <a:lnTo>
                  <a:pt x="595" y="589"/>
                </a:lnTo>
                <a:lnTo>
                  <a:pt x="595" y="574"/>
                </a:lnTo>
                <a:lnTo>
                  <a:pt x="595" y="558"/>
                </a:lnTo>
                <a:lnTo>
                  <a:pt x="598" y="558"/>
                </a:lnTo>
                <a:lnTo>
                  <a:pt x="611" y="558"/>
                </a:lnTo>
                <a:lnTo>
                  <a:pt x="626" y="558"/>
                </a:lnTo>
                <a:lnTo>
                  <a:pt x="626" y="589"/>
                </a:lnTo>
                <a:close/>
                <a:moveTo>
                  <a:pt x="565" y="558"/>
                </a:moveTo>
                <a:lnTo>
                  <a:pt x="587" y="558"/>
                </a:lnTo>
                <a:lnTo>
                  <a:pt x="587" y="589"/>
                </a:lnTo>
                <a:lnTo>
                  <a:pt x="565" y="589"/>
                </a:lnTo>
                <a:lnTo>
                  <a:pt x="565" y="558"/>
                </a:lnTo>
                <a:close/>
                <a:moveTo>
                  <a:pt x="532" y="558"/>
                </a:moveTo>
                <a:lnTo>
                  <a:pt x="554" y="558"/>
                </a:lnTo>
                <a:lnTo>
                  <a:pt x="554" y="589"/>
                </a:lnTo>
                <a:lnTo>
                  <a:pt x="532" y="589"/>
                </a:lnTo>
                <a:lnTo>
                  <a:pt x="532" y="558"/>
                </a:lnTo>
                <a:close/>
                <a:moveTo>
                  <a:pt x="522" y="589"/>
                </a:moveTo>
                <a:lnTo>
                  <a:pt x="492" y="589"/>
                </a:lnTo>
                <a:lnTo>
                  <a:pt x="492" y="558"/>
                </a:lnTo>
                <a:lnTo>
                  <a:pt x="507" y="558"/>
                </a:lnTo>
                <a:lnTo>
                  <a:pt x="521" y="558"/>
                </a:lnTo>
                <a:lnTo>
                  <a:pt x="522" y="558"/>
                </a:lnTo>
                <a:lnTo>
                  <a:pt x="522" y="574"/>
                </a:lnTo>
                <a:lnTo>
                  <a:pt x="522" y="589"/>
                </a:lnTo>
                <a:close/>
                <a:moveTo>
                  <a:pt x="522" y="549"/>
                </a:moveTo>
                <a:lnTo>
                  <a:pt x="492" y="549"/>
                </a:lnTo>
                <a:lnTo>
                  <a:pt x="492" y="527"/>
                </a:lnTo>
                <a:lnTo>
                  <a:pt x="522" y="527"/>
                </a:lnTo>
                <a:lnTo>
                  <a:pt x="522" y="549"/>
                </a:lnTo>
                <a:close/>
                <a:moveTo>
                  <a:pt x="522" y="516"/>
                </a:moveTo>
                <a:lnTo>
                  <a:pt x="492" y="516"/>
                </a:lnTo>
                <a:lnTo>
                  <a:pt x="492" y="494"/>
                </a:lnTo>
                <a:lnTo>
                  <a:pt x="522" y="494"/>
                </a:lnTo>
                <a:lnTo>
                  <a:pt x="522" y="516"/>
                </a:lnTo>
                <a:close/>
                <a:moveTo>
                  <a:pt x="507" y="484"/>
                </a:moveTo>
                <a:lnTo>
                  <a:pt x="492" y="484"/>
                </a:lnTo>
                <a:lnTo>
                  <a:pt x="492" y="455"/>
                </a:lnTo>
                <a:lnTo>
                  <a:pt x="522" y="455"/>
                </a:lnTo>
                <a:lnTo>
                  <a:pt x="522" y="470"/>
                </a:lnTo>
                <a:lnTo>
                  <a:pt x="522" y="483"/>
                </a:lnTo>
                <a:lnTo>
                  <a:pt x="522" y="484"/>
                </a:lnTo>
                <a:lnTo>
                  <a:pt x="507" y="484"/>
                </a:lnTo>
                <a:close/>
                <a:moveTo>
                  <a:pt x="554" y="484"/>
                </a:moveTo>
                <a:lnTo>
                  <a:pt x="532" y="484"/>
                </a:lnTo>
                <a:lnTo>
                  <a:pt x="532" y="455"/>
                </a:lnTo>
                <a:lnTo>
                  <a:pt x="554" y="455"/>
                </a:lnTo>
                <a:lnTo>
                  <a:pt x="554" y="484"/>
                </a:lnTo>
                <a:close/>
                <a:moveTo>
                  <a:pt x="565" y="455"/>
                </a:moveTo>
                <a:lnTo>
                  <a:pt x="587" y="455"/>
                </a:lnTo>
                <a:lnTo>
                  <a:pt x="587" y="484"/>
                </a:lnTo>
                <a:lnTo>
                  <a:pt x="565" y="484"/>
                </a:lnTo>
                <a:lnTo>
                  <a:pt x="565" y="455"/>
                </a:lnTo>
                <a:close/>
                <a:moveTo>
                  <a:pt x="611" y="484"/>
                </a:moveTo>
                <a:lnTo>
                  <a:pt x="595" y="484"/>
                </a:lnTo>
                <a:lnTo>
                  <a:pt x="595" y="483"/>
                </a:lnTo>
                <a:lnTo>
                  <a:pt x="595" y="470"/>
                </a:lnTo>
                <a:lnTo>
                  <a:pt x="595" y="455"/>
                </a:lnTo>
                <a:lnTo>
                  <a:pt x="626" y="455"/>
                </a:lnTo>
                <a:lnTo>
                  <a:pt x="626" y="484"/>
                </a:lnTo>
                <a:lnTo>
                  <a:pt x="611" y="484"/>
                </a:lnTo>
                <a:close/>
                <a:moveTo>
                  <a:pt x="626" y="516"/>
                </a:moveTo>
                <a:lnTo>
                  <a:pt x="595" y="516"/>
                </a:lnTo>
                <a:lnTo>
                  <a:pt x="595" y="494"/>
                </a:lnTo>
                <a:lnTo>
                  <a:pt x="626" y="494"/>
                </a:lnTo>
                <a:lnTo>
                  <a:pt x="626" y="516"/>
                </a:lnTo>
                <a:close/>
                <a:moveTo>
                  <a:pt x="626" y="549"/>
                </a:moveTo>
                <a:lnTo>
                  <a:pt x="595" y="549"/>
                </a:lnTo>
                <a:lnTo>
                  <a:pt x="595" y="527"/>
                </a:lnTo>
                <a:lnTo>
                  <a:pt x="626" y="527"/>
                </a:lnTo>
                <a:lnTo>
                  <a:pt x="626" y="549"/>
                </a:lnTo>
                <a:close/>
                <a:moveTo>
                  <a:pt x="211" y="455"/>
                </a:moveTo>
                <a:lnTo>
                  <a:pt x="160" y="455"/>
                </a:lnTo>
                <a:lnTo>
                  <a:pt x="160" y="369"/>
                </a:lnTo>
                <a:lnTo>
                  <a:pt x="336" y="369"/>
                </a:lnTo>
                <a:lnTo>
                  <a:pt x="336" y="455"/>
                </a:lnTo>
                <a:lnTo>
                  <a:pt x="285" y="455"/>
                </a:lnTo>
                <a:lnTo>
                  <a:pt x="285" y="589"/>
                </a:lnTo>
                <a:lnTo>
                  <a:pt x="419" y="589"/>
                </a:lnTo>
                <a:lnTo>
                  <a:pt x="419" y="455"/>
                </a:lnTo>
                <a:lnTo>
                  <a:pt x="367" y="455"/>
                </a:lnTo>
                <a:lnTo>
                  <a:pt x="367" y="253"/>
                </a:lnTo>
                <a:lnTo>
                  <a:pt x="419" y="253"/>
                </a:lnTo>
                <a:lnTo>
                  <a:pt x="419" y="119"/>
                </a:lnTo>
                <a:lnTo>
                  <a:pt x="285" y="119"/>
                </a:lnTo>
                <a:lnTo>
                  <a:pt x="285" y="253"/>
                </a:lnTo>
                <a:lnTo>
                  <a:pt x="336" y="253"/>
                </a:lnTo>
                <a:lnTo>
                  <a:pt x="336" y="339"/>
                </a:lnTo>
                <a:lnTo>
                  <a:pt x="129" y="339"/>
                </a:lnTo>
                <a:lnTo>
                  <a:pt x="129" y="455"/>
                </a:lnTo>
                <a:lnTo>
                  <a:pt x="77" y="455"/>
                </a:lnTo>
                <a:lnTo>
                  <a:pt x="77" y="589"/>
                </a:lnTo>
                <a:lnTo>
                  <a:pt x="211" y="589"/>
                </a:lnTo>
                <a:lnTo>
                  <a:pt x="211" y="455"/>
                </a:lnTo>
                <a:close/>
                <a:moveTo>
                  <a:pt x="389" y="558"/>
                </a:moveTo>
                <a:lnTo>
                  <a:pt x="315" y="558"/>
                </a:lnTo>
                <a:lnTo>
                  <a:pt x="315" y="484"/>
                </a:lnTo>
                <a:lnTo>
                  <a:pt x="389" y="484"/>
                </a:lnTo>
                <a:lnTo>
                  <a:pt x="389" y="558"/>
                </a:lnTo>
                <a:close/>
                <a:moveTo>
                  <a:pt x="315" y="149"/>
                </a:moveTo>
                <a:lnTo>
                  <a:pt x="389" y="149"/>
                </a:lnTo>
                <a:lnTo>
                  <a:pt x="389" y="222"/>
                </a:lnTo>
                <a:lnTo>
                  <a:pt x="315" y="222"/>
                </a:lnTo>
                <a:lnTo>
                  <a:pt x="315" y="149"/>
                </a:lnTo>
                <a:close/>
                <a:moveTo>
                  <a:pt x="181" y="558"/>
                </a:moveTo>
                <a:lnTo>
                  <a:pt x="107" y="558"/>
                </a:lnTo>
                <a:lnTo>
                  <a:pt x="107" y="484"/>
                </a:lnTo>
                <a:lnTo>
                  <a:pt x="181" y="484"/>
                </a:lnTo>
                <a:lnTo>
                  <a:pt x="181" y="558"/>
                </a:lnTo>
                <a:close/>
                <a:moveTo>
                  <a:pt x="379" y="369"/>
                </a:moveTo>
                <a:lnTo>
                  <a:pt x="379" y="339"/>
                </a:lnTo>
                <a:lnTo>
                  <a:pt x="407" y="339"/>
                </a:lnTo>
                <a:lnTo>
                  <a:pt x="407" y="369"/>
                </a:lnTo>
                <a:lnTo>
                  <a:pt x="379" y="369"/>
                </a:lnTo>
                <a:close/>
                <a:moveTo>
                  <a:pt x="448" y="369"/>
                </a:moveTo>
                <a:lnTo>
                  <a:pt x="420" y="369"/>
                </a:lnTo>
                <a:lnTo>
                  <a:pt x="420" y="339"/>
                </a:lnTo>
                <a:lnTo>
                  <a:pt x="448" y="339"/>
                </a:lnTo>
                <a:lnTo>
                  <a:pt x="448" y="369"/>
                </a:lnTo>
                <a:close/>
                <a:moveTo>
                  <a:pt x="490" y="369"/>
                </a:moveTo>
                <a:lnTo>
                  <a:pt x="462" y="369"/>
                </a:lnTo>
                <a:lnTo>
                  <a:pt x="462" y="339"/>
                </a:lnTo>
                <a:lnTo>
                  <a:pt x="490" y="339"/>
                </a:lnTo>
                <a:lnTo>
                  <a:pt x="490" y="369"/>
                </a:lnTo>
                <a:close/>
                <a:moveTo>
                  <a:pt x="532" y="369"/>
                </a:moveTo>
                <a:lnTo>
                  <a:pt x="503" y="369"/>
                </a:lnTo>
                <a:lnTo>
                  <a:pt x="503" y="339"/>
                </a:lnTo>
                <a:lnTo>
                  <a:pt x="532" y="339"/>
                </a:lnTo>
                <a:lnTo>
                  <a:pt x="532" y="369"/>
                </a:lnTo>
                <a:close/>
                <a:moveTo>
                  <a:pt x="574" y="369"/>
                </a:moveTo>
                <a:lnTo>
                  <a:pt x="544" y="369"/>
                </a:lnTo>
                <a:lnTo>
                  <a:pt x="544" y="339"/>
                </a:lnTo>
                <a:lnTo>
                  <a:pt x="574" y="339"/>
                </a:lnTo>
                <a:lnTo>
                  <a:pt x="574" y="369"/>
                </a:lnTo>
                <a:close/>
                <a:moveTo>
                  <a:pt x="574" y="406"/>
                </a:moveTo>
                <a:lnTo>
                  <a:pt x="544" y="406"/>
                </a:lnTo>
                <a:lnTo>
                  <a:pt x="544" y="380"/>
                </a:lnTo>
                <a:lnTo>
                  <a:pt x="574" y="380"/>
                </a:lnTo>
                <a:lnTo>
                  <a:pt x="574" y="406"/>
                </a:lnTo>
                <a:close/>
                <a:moveTo>
                  <a:pt x="574" y="443"/>
                </a:moveTo>
                <a:lnTo>
                  <a:pt x="544" y="443"/>
                </a:lnTo>
                <a:lnTo>
                  <a:pt x="544" y="418"/>
                </a:lnTo>
                <a:lnTo>
                  <a:pt x="574" y="418"/>
                </a:lnTo>
                <a:lnTo>
                  <a:pt x="574" y="44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5CE6B561-9DA2-4172-9D23-C3941CD9B1CE}"/>
              </a:ext>
            </a:extLst>
          </p:cNvPr>
          <p:cNvSpPr/>
          <p:nvPr/>
        </p:nvSpPr>
        <p:spPr>
          <a:xfrm>
            <a:off x="4339653" y="1849009"/>
            <a:ext cx="7409435" cy="789617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400" dirty="0">
                <a:solidFill>
                  <a:schemeClr val="tx1"/>
                </a:solidFill>
              </a:rPr>
              <a:t>Расположение с достаточным наличием земли, близость к основным точкам перевалки грузов, связь с транспортной инфраструктурой, коммуникациями, наличием социальной инфраструктуры.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EA89F543-E1D8-45CA-A880-CBFDEF185BD2}"/>
              </a:ext>
            </a:extLst>
          </p:cNvPr>
          <p:cNvSpPr/>
          <p:nvPr/>
        </p:nvSpPr>
        <p:spPr>
          <a:xfrm>
            <a:off x="4339653" y="2774558"/>
            <a:ext cx="7409435" cy="786206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400" dirty="0">
                <a:solidFill>
                  <a:schemeClr val="tx1"/>
                </a:solidFill>
              </a:rPr>
              <a:t>Секторы с высоким будущим потенциалом, соответствующие сравнительным преимуществам двух стран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16A2E989-ABFB-4E5B-9CC1-C4FEFA6C287F}"/>
              </a:ext>
            </a:extLst>
          </p:cNvPr>
          <p:cNvSpPr/>
          <p:nvPr/>
        </p:nvSpPr>
        <p:spPr>
          <a:xfrm>
            <a:off x="4339653" y="4618836"/>
            <a:ext cx="7409435" cy="786206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400" dirty="0">
                <a:solidFill>
                  <a:schemeClr val="tx1"/>
                </a:solidFill>
              </a:rPr>
              <a:t>Подходящая институциональная структура для развития и функционирования </a:t>
            </a:r>
            <a:r>
              <a:rPr lang="ru-RU" sz="1400" dirty="0">
                <a:solidFill>
                  <a:schemeClr val="tx1"/>
                </a:solidFill>
              </a:rPr>
              <a:t>МЦПК</a:t>
            </a:r>
            <a:r>
              <a:rPr lang="ru" sz="1400" dirty="0">
                <a:solidFill>
                  <a:schemeClr val="tx1"/>
                </a:solidFill>
              </a:rPr>
              <a:t> в соответствии с лучшими практиками и распространенными моделями в Центральной Азии.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1437F5A5-343F-4FCB-83DD-03185D111F10}"/>
              </a:ext>
            </a:extLst>
          </p:cNvPr>
          <p:cNvSpPr/>
          <p:nvPr/>
        </p:nvSpPr>
        <p:spPr>
          <a:xfrm>
            <a:off x="4339653" y="5540974"/>
            <a:ext cx="7409435" cy="786206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400" dirty="0">
                <a:solidFill>
                  <a:schemeClr val="tx1"/>
                </a:solidFill>
              </a:rPr>
              <a:t>Инфраструктурные компоненты, поддерживающие сектора, которые будут развиваться в рамках </a:t>
            </a:r>
            <a:r>
              <a:rPr lang="ru-RU" sz="1400" dirty="0">
                <a:solidFill>
                  <a:schemeClr val="tx1"/>
                </a:solidFill>
              </a:rPr>
              <a:t>МЦПК</a:t>
            </a:r>
            <a:endParaRPr lang="ru" sz="1400" dirty="0">
              <a:solidFill>
                <a:schemeClr val="tx1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7F2F50A1-13E4-4B3B-A3BD-67E61C48DDFE}"/>
              </a:ext>
            </a:extLst>
          </p:cNvPr>
          <p:cNvSpPr/>
          <p:nvPr/>
        </p:nvSpPr>
        <p:spPr>
          <a:xfrm>
            <a:off x="856225" y="1665086"/>
            <a:ext cx="365760" cy="365760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/>
              <a:t>1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0B596C42-5193-444C-882D-E5E474D8B6C4}"/>
              </a:ext>
            </a:extLst>
          </p:cNvPr>
          <p:cNvSpPr/>
          <p:nvPr/>
        </p:nvSpPr>
        <p:spPr>
          <a:xfrm>
            <a:off x="856224" y="2696959"/>
            <a:ext cx="365760" cy="365760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/>
              <a:t>2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50175336-48D1-444E-9D9F-442F7B047B5E}"/>
              </a:ext>
            </a:extLst>
          </p:cNvPr>
          <p:cNvSpPr/>
          <p:nvPr/>
        </p:nvSpPr>
        <p:spPr>
          <a:xfrm>
            <a:off x="856224" y="4531226"/>
            <a:ext cx="365760" cy="365760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/>
              <a:t>4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77A8086D-8DFB-409F-BAAB-DEB0661CD931}"/>
              </a:ext>
            </a:extLst>
          </p:cNvPr>
          <p:cNvSpPr/>
          <p:nvPr/>
        </p:nvSpPr>
        <p:spPr>
          <a:xfrm>
            <a:off x="856224" y="5446231"/>
            <a:ext cx="365760" cy="365760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/>
              <a:t>5</a:t>
            </a:r>
          </a:p>
        </p:txBody>
      </p:sp>
      <p:sp>
        <p:nvSpPr>
          <p:cNvPr id="107" name="Google Shape;6544;gfe7240cab3_1_22">
            <a:extLst>
              <a:ext uri="{FF2B5EF4-FFF2-40B4-BE49-F238E27FC236}">
                <a16:creationId xmlns:a16="http://schemas.microsoft.com/office/drawing/2014/main" id="{9A0B4661-0E6A-402F-B3A5-F942B291197D}"/>
              </a:ext>
            </a:extLst>
          </p:cNvPr>
          <p:cNvSpPr/>
          <p:nvPr/>
        </p:nvSpPr>
        <p:spPr>
          <a:xfrm>
            <a:off x="4049531" y="3753854"/>
            <a:ext cx="77093" cy="786206"/>
          </a:xfrm>
          <a:prstGeom prst="rect">
            <a:avLst/>
          </a:prstGeom>
          <a:noFill/>
          <a:ln w="9525" cap="flat" cmpd="sng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" name="Google Shape;6545;gfe7240cab3_1_22">
            <a:extLst>
              <a:ext uri="{FF2B5EF4-FFF2-40B4-BE49-F238E27FC236}">
                <a16:creationId xmlns:a16="http://schemas.microsoft.com/office/drawing/2014/main" id="{920B3FCE-5E1B-4A60-81A8-54616F6FE219}"/>
              </a:ext>
            </a:extLst>
          </p:cNvPr>
          <p:cNvSpPr/>
          <p:nvPr/>
        </p:nvSpPr>
        <p:spPr>
          <a:xfrm>
            <a:off x="1190722" y="3753844"/>
            <a:ext cx="2844616" cy="786206"/>
          </a:xfrm>
          <a:prstGeom prst="rect">
            <a:avLst/>
          </a:prstGeom>
          <a:solidFill>
            <a:srgbClr val="C00000"/>
          </a:solidFill>
          <a:ln w="9525" cap="flat" cmpd="sng">
            <a:solidFill>
              <a:srgbClr val="D8D8D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09600" tIns="36575" rIns="60900" bIns="36575" anchor="ctr" anchorCtr="0">
            <a:noAutofit/>
          </a:bodyPr>
          <a:lstStyle/>
          <a:p>
            <a:pPr indent="285750">
              <a:buClr>
                <a:srgbClr val="A5A5A5"/>
              </a:buClr>
              <a:buSzPts val="1200"/>
            </a:pPr>
            <a:r>
              <a:rPr lang="ru" sz="1200" b="1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Структура стимулов</a:t>
            </a:r>
            <a:endParaRPr sz="1200" b="1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C7057418-3888-409C-BBDE-FCA209220161}"/>
              </a:ext>
            </a:extLst>
          </p:cNvPr>
          <p:cNvSpPr/>
          <p:nvPr/>
        </p:nvSpPr>
        <p:spPr>
          <a:xfrm>
            <a:off x="4339653" y="3696696"/>
            <a:ext cx="7409435" cy="786206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ru" sz="1400" dirty="0">
                <a:solidFill>
                  <a:schemeClr val="tx1"/>
                </a:solidFill>
              </a:rPr>
              <a:t>Комплекс стимулов будет распространен на инвесторов для повышения привлекательности центра</a:t>
            </a: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B2A6BBAD-DD81-4A30-BFD1-E9A4C6C33604}"/>
              </a:ext>
            </a:extLst>
          </p:cNvPr>
          <p:cNvSpPr/>
          <p:nvPr/>
        </p:nvSpPr>
        <p:spPr>
          <a:xfrm>
            <a:off x="856224" y="3600299"/>
            <a:ext cx="365760" cy="365760"/>
          </a:xfrm>
          <a:prstGeom prst="ellipse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/>
              <a:t>3</a:t>
            </a:r>
          </a:p>
        </p:txBody>
      </p:sp>
      <p:sp>
        <p:nvSpPr>
          <p:cNvPr id="80" name="Google Shape;937;p83">
            <a:extLst>
              <a:ext uri="{FF2B5EF4-FFF2-40B4-BE49-F238E27FC236}">
                <a16:creationId xmlns:a16="http://schemas.microsoft.com/office/drawing/2014/main" id="{923ACF67-0B67-4B30-86FA-455178F5BB0C}"/>
              </a:ext>
            </a:extLst>
          </p:cNvPr>
          <p:cNvSpPr/>
          <p:nvPr/>
        </p:nvSpPr>
        <p:spPr>
          <a:xfrm>
            <a:off x="1252991" y="3844095"/>
            <a:ext cx="603504" cy="605705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142" y="114"/>
                </a:moveTo>
                <a:cubicBezTo>
                  <a:pt x="90" y="62"/>
                  <a:pt x="90" y="62"/>
                  <a:pt x="90" y="62"/>
                </a:cubicBezTo>
                <a:cubicBezTo>
                  <a:pt x="108" y="45"/>
                  <a:pt x="108" y="45"/>
                  <a:pt x="108" y="45"/>
                </a:cubicBezTo>
                <a:cubicBezTo>
                  <a:pt x="130" y="67"/>
                  <a:pt x="130" y="67"/>
                  <a:pt x="130" y="67"/>
                </a:cubicBezTo>
                <a:cubicBezTo>
                  <a:pt x="130" y="0"/>
                  <a:pt x="130" y="0"/>
                  <a:pt x="130" y="0"/>
                </a:cubicBezTo>
                <a:cubicBezTo>
                  <a:pt x="155" y="0"/>
                  <a:pt x="155" y="0"/>
                  <a:pt x="155" y="0"/>
                </a:cubicBezTo>
                <a:cubicBezTo>
                  <a:pt x="155" y="67"/>
                  <a:pt x="155" y="67"/>
                  <a:pt x="155" y="67"/>
                </a:cubicBezTo>
                <a:cubicBezTo>
                  <a:pt x="176" y="46"/>
                  <a:pt x="176" y="46"/>
                  <a:pt x="176" y="46"/>
                </a:cubicBezTo>
                <a:cubicBezTo>
                  <a:pt x="193" y="63"/>
                  <a:pt x="193" y="63"/>
                  <a:pt x="193" y="63"/>
                </a:cubicBezTo>
                <a:lnTo>
                  <a:pt x="142" y="114"/>
                </a:lnTo>
                <a:close/>
                <a:moveTo>
                  <a:pt x="486" y="67"/>
                </a:moveTo>
                <a:cubicBezTo>
                  <a:pt x="469" y="46"/>
                  <a:pt x="469" y="46"/>
                  <a:pt x="469" y="46"/>
                </a:cubicBezTo>
                <a:cubicBezTo>
                  <a:pt x="447" y="67"/>
                  <a:pt x="447" y="67"/>
                  <a:pt x="447" y="67"/>
                </a:cubicBezTo>
                <a:cubicBezTo>
                  <a:pt x="447" y="0"/>
                  <a:pt x="447" y="0"/>
                  <a:pt x="447" y="0"/>
                </a:cubicBezTo>
                <a:cubicBezTo>
                  <a:pt x="423" y="0"/>
                  <a:pt x="423" y="0"/>
                  <a:pt x="423" y="0"/>
                </a:cubicBezTo>
                <a:cubicBezTo>
                  <a:pt x="423" y="67"/>
                  <a:pt x="423" y="67"/>
                  <a:pt x="423" y="67"/>
                </a:cubicBezTo>
                <a:cubicBezTo>
                  <a:pt x="401" y="45"/>
                  <a:pt x="401" y="45"/>
                  <a:pt x="401" y="45"/>
                </a:cubicBezTo>
                <a:cubicBezTo>
                  <a:pt x="383" y="62"/>
                  <a:pt x="383" y="62"/>
                  <a:pt x="383" y="62"/>
                </a:cubicBezTo>
                <a:cubicBezTo>
                  <a:pt x="435" y="114"/>
                  <a:pt x="435" y="114"/>
                  <a:pt x="435" y="114"/>
                </a:cubicBezTo>
                <a:lnTo>
                  <a:pt x="486" y="67"/>
                </a:lnTo>
                <a:close/>
                <a:moveTo>
                  <a:pt x="576" y="123"/>
                </a:moveTo>
                <a:cubicBezTo>
                  <a:pt x="576" y="397"/>
                  <a:pt x="576" y="397"/>
                  <a:pt x="576" y="397"/>
                </a:cubicBezTo>
                <a:cubicBezTo>
                  <a:pt x="576" y="421"/>
                  <a:pt x="576" y="421"/>
                  <a:pt x="576" y="421"/>
                </a:cubicBezTo>
                <a:cubicBezTo>
                  <a:pt x="576" y="474"/>
                  <a:pt x="576" y="474"/>
                  <a:pt x="576" y="474"/>
                </a:cubicBezTo>
                <a:cubicBezTo>
                  <a:pt x="576" y="499"/>
                  <a:pt x="576" y="499"/>
                  <a:pt x="576" y="499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0" y="576"/>
                  <a:pt x="0" y="576"/>
                  <a:pt x="0" y="576"/>
                </a:cubicBezTo>
                <a:cubicBezTo>
                  <a:pt x="0" y="499"/>
                  <a:pt x="0" y="499"/>
                  <a:pt x="0" y="499"/>
                </a:cubicBezTo>
                <a:cubicBezTo>
                  <a:pt x="0" y="474"/>
                  <a:pt x="0" y="474"/>
                  <a:pt x="0" y="474"/>
                </a:cubicBezTo>
                <a:cubicBezTo>
                  <a:pt x="0" y="421"/>
                  <a:pt x="0" y="421"/>
                  <a:pt x="0" y="421"/>
                </a:cubicBezTo>
                <a:cubicBezTo>
                  <a:pt x="0" y="397"/>
                  <a:pt x="0" y="397"/>
                  <a:pt x="0" y="397"/>
                </a:cubicBezTo>
                <a:cubicBezTo>
                  <a:pt x="0" y="123"/>
                  <a:pt x="0" y="123"/>
                  <a:pt x="0" y="123"/>
                </a:cubicBezTo>
                <a:cubicBezTo>
                  <a:pt x="275" y="123"/>
                  <a:pt x="275" y="123"/>
                  <a:pt x="275" y="123"/>
                </a:cubicBezTo>
                <a:cubicBezTo>
                  <a:pt x="275" y="47"/>
                  <a:pt x="275" y="47"/>
                  <a:pt x="275" y="47"/>
                </a:cubicBezTo>
                <a:cubicBezTo>
                  <a:pt x="254" y="69"/>
                  <a:pt x="254" y="69"/>
                  <a:pt x="254" y="69"/>
                </a:cubicBezTo>
                <a:cubicBezTo>
                  <a:pt x="237" y="51"/>
                  <a:pt x="237" y="51"/>
                  <a:pt x="237" y="51"/>
                </a:cubicBezTo>
                <a:cubicBezTo>
                  <a:pt x="288" y="0"/>
                  <a:pt x="288" y="0"/>
                  <a:pt x="288" y="0"/>
                </a:cubicBezTo>
                <a:cubicBezTo>
                  <a:pt x="340" y="52"/>
                  <a:pt x="340" y="52"/>
                  <a:pt x="340" y="52"/>
                </a:cubicBezTo>
                <a:cubicBezTo>
                  <a:pt x="322" y="70"/>
                  <a:pt x="322" y="70"/>
                  <a:pt x="322" y="70"/>
                </a:cubicBezTo>
                <a:cubicBezTo>
                  <a:pt x="300" y="47"/>
                  <a:pt x="300" y="47"/>
                  <a:pt x="300" y="47"/>
                </a:cubicBezTo>
                <a:cubicBezTo>
                  <a:pt x="300" y="123"/>
                  <a:pt x="300" y="123"/>
                  <a:pt x="300" y="123"/>
                </a:cubicBezTo>
                <a:lnTo>
                  <a:pt x="576" y="123"/>
                </a:lnTo>
                <a:close/>
                <a:moveTo>
                  <a:pt x="552" y="218"/>
                </a:moveTo>
                <a:cubicBezTo>
                  <a:pt x="515" y="212"/>
                  <a:pt x="486" y="184"/>
                  <a:pt x="481" y="147"/>
                </a:cubicBezTo>
                <a:cubicBezTo>
                  <a:pt x="95" y="147"/>
                  <a:pt x="95" y="147"/>
                  <a:pt x="95" y="147"/>
                </a:cubicBezTo>
                <a:cubicBezTo>
                  <a:pt x="90" y="184"/>
                  <a:pt x="61" y="212"/>
                  <a:pt x="25" y="218"/>
                </a:cubicBezTo>
                <a:cubicBezTo>
                  <a:pt x="25" y="326"/>
                  <a:pt x="25" y="326"/>
                  <a:pt x="25" y="326"/>
                </a:cubicBezTo>
                <a:cubicBezTo>
                  <a:pt x="61" y="332"/>
                  <a:pt x="90" y="360"/>
                  <a:pt x="95" y="397"/>
                </a:cubicBezTo>
                <a:cubicBezTo>
                  <a:pt x="481" y="397"/>
                  <a:pt x="481" y="397"/>
                  <a:pt x="481" y="397"/>
                </a:cubicBezTo>
                <a:cubicBezTo>
                  <a:pt x="486" y="360"/>
                  <a:pt x="515" y="332"/>
                  <a:pt x="552" y="326"/>
                </a:cubicBezTo>
                <a:lnTo>
                  <a:pt x="552" y="218"/>
                </a:lnTo>
                <a:close/>
                <a:moveTo>
                  <a:pt x="552" y="147"/>
                </a:moveTo>
                <a:cubicBezTo>
                  <a:pt x="506" y="147"/>
                  <a:pt x="506" y="147"/>
                  <a:pt x="506" y="147"/>
                </a:cubicBezTo>
                <a:cubicBezTo>
                  <a:pt x="511" y="170"/>
                  <a:pt x="529" y="188"/>
                  <a:pt x="552" y="193"/>
                </a:cubicBezTo>
                <a:lnTo>
                  <a:pt x="552" y="147"/>
                </a:lnTo>
                <a:close/>
                <a:moveTo>
                  <a:pt x="25" y="147"/>
                </a:moveTo>
                <a:cubicBezTo>
                  <a:pt x="25" y="193"/>
                  <a:pt x="25" y="193"/>
                  <a:pt x="25" y="193"/>
                </a:cubicBezTo>
                <a:cubicBezTo>
                  <a:pt x="48" y="188"/>
                  <a:pt x="66" y="170"/>
                  <a:pt x="70" y="147"/>
                </a:cubicBezTo>
                <a:lnTo>
                  <a:pt x="25" y="147"/>
                </a:lnTo>
                <a:close/>
                <a:moveTo>
                  <a:pt x="25" y="397"/>
                </a:moveTo>
                <a:cubicBezTo>
                  <a:pt x="70" y="397"/>
                  <a:pt x="70" y="397"/>
                  <a:pt x="70" y="397"/>
                </a:cubicBezTo>
                <a:cubicBezTo>
                  <a:pt x="66" y="374"/>
                  <a:pt x="48" y="356"/>
                  <a:pt x="25" y="351"/>
                </a:cubicBezTo>
                <a:lnTo>
                  <a:pt x="25" y="397"/>
                </a:lnTo>
                <a:close/>
                <a:moveTo>
                  <a:pt x="552" y="499"/>
                </a:moveTo>
                <a:cubicBezTo>
                  <a:pt x="25" y="499"/>
                  <a:pt x="25" y="499"/>
                  <a:pt x="25" y="499"/>
                </a:cubicBezTo>
                <a:cubicBezTo>
                  <a:pt x="25" y="552"/>
                  <a:pt x="25" y="552"/>
                  <a:pt x="25" y="552"/>
                </a:cubicBezTo>
                <a:cubicBezTo>
                  <a:pt x="552" y="552"/>
                  <a:pt x="552" y="552"/>
                  <a:pt x="552" y="552"/>
                </a:cubicBezTo>
                <a:lnTo>
                  <a:pt x="552" y="499"/>
                </a:lnTo>
                <a:close/>
                <a:moveTo>
                  <a:pt x="552" y="421"/>
                </a:moveTo>
                <a:cubicBezTo>
                  <a:pt x="25" y="421"/>
                  <a:pt x="25" y="421"/>
                  <a:pt x="25" y="421"/>
                </a:cubicBezTo>
                <a:cubicBezTo>
                  <a:pt x="25" y="474"/>
                  <a:pt x="25" y="474"/>
                  <a:pt x="25" y="474"/>
                </a:cubicBezTo>
                <a:cubicBezTo>
                  <a:pt x="552" y="474"/>
                  <a:pt x="552" y="474"/>
                  <a:pt x="552" y="474"/>
                </a:cubicBezTo>
                <a:lnTo>
                  <a:pt x="552" y="421"/>
                </a:lnTo>
                <a:close/>
                <a:moveTo>
                  <a:pt x="552" y="397"/>
                </a:moveTo>
                <a:cubicBezTo>
                  <a:pt x="552" y="351"/>
                  <a:pt x="552" y="351"/>
                  <a:pt x="552" y="351"/>
                </a:cubicBezTo>
                <a:cubicBezTo>
                  <a:pt x="529" y="356"/>
                  <a:pt x="511" y="374"/>
                  <a:pt x="506" y="397"/>
                </a:cubicBezTo>
                <a:lnTo>
                  <a:pt x="552" y="397"/>
                </a:lnTo>
                <a:close/>
                <a:moveTo>
                  <a:pt x="372" y="272"/>
                </a:moveTo>
                <a:cubicBezTo>
                  <a:pt x="372" y="318"/>
                  <a:pt x="334" y="356"/>
                  <a:pt x="288" y="356"/>
                </a:cubicBezTo>
                <a:cubicBezTo>
                  <a:pt x="242" y="356"/>
                  <a:pt x="204" y="318"/>
                  <a:pt x="204" y="272"/>
                </a:cubicBezTo>
                <a:cubicBezTo>
                  <a:pt x="204" y="226"/>
                  <a:pt x="242" y="188"/>
                  <a:pt x="288" y="188"/>
                </a:cubicBezTo>
                <a:cubicBezTo>
                  <a:pt x="334" y="188"/>
                  <a:pt x="372" y="226"/>
                  <a:pt x="372" y="272"/>
                </a:cubicBezTo>
                <a:close/>
                <a:moveTo>
                  <a:pt x="347" y="272"/>
                </a:moveTo>
                <a:cubicBezTo>
                  <a:pt x="347" y="239"/>
                  <a:pt x="321" y="213"/>
                  <a:pt x="288" y="213"/>
                </a:cubicBezTo>
                <a:cubicBezTo>
                  <a:pt x="255" y="213"/>
                  <a:pt x="229" y="239"/>
                  <a:pt x="229" y="272"/>
                </a:cubicBezTo>
                <a:cubicBezTo>
                  <a:pt x="229" y="305"/>
                  <a:pt x="255" y="331"/>
                  <a:pt x="288" y="331"/>
                </a:cubicBezTo>
                <a:cubicBezTo>
                  <a:pt x="321" y="331"/>
                  <a:pt x="347" y="305"/>
                  <a:pt x="347" y="272"/>
                </a:cubicBezTo>
                <a:close/>
                <a:moveTo>
                  <a:pt x="312" y="281"/>
                </a:moveTo>
                <a:cubicBezTo>
                  <a:pt x="312" y="283"/>
                  <a:pt x="313" y="285"/>
                  <a:pt x="313" y="286"/>
                </a:cubicBezTo>
                <a:cubicBezTo>
                  <a:pt x="313" y="288"/>
                  <a:pt x="312" y="289"/>
                  <a:pt x="312" y="291"/>
                </a:cubicBezTo>
                <a:cubicBezTo>
                  <a:pt x="311" y="293"/>
                  <a:pt x="310" y="295"/>
                  <a:pt x="308" y="297"/>
                </a:cubicBezTo>
                <a:cubicBezTo>
                  <a:pt x="306" y="299"/>
                  <a:pt x="304" y="301"/>
                  <a:pt x="301" y="302"/>
                </a:cubicBezTo>
                <a:cubicBezTo>
                  <a:pt x="298" y="304"/>
                  <a:pt x="295" y="305"/>
                  <a:pt x="290" y="305"/>
                </a:cubicBezTo>
                <a:cubicBezTo>
                  <a:pt x="290" y="312"/>
                  <a:pt x="290" y="312"/>
                  <a:pt x="290" y="312"/>
                </a:cubicBezTo>
                <a:cubicBezTo>
                  <a:pt x="285" y="312"/>
                  <a:pt x="285" y="312"/>
                  <a:pt x="285" y="312"/>
                </a:cubicBezTo>
                <a:cubicBezTo>
                  <a:pt x="285" y="305"/>
                  <a:pt x="285" y="305"/>
                  <a:pt x="285" y="305"/>
                </a:cubicBezTo>
                <a:cubicBezTo>
                  <a:pt x="278" y="304"/>
                  <a:pt x="273" y="302"/>
                  <a:pt x="269" y="299"/>
                </a:cubicBezTo>
                <a:cubicBezTo>
                  <a:pt x="266" y="295"/>
                  <a:pt x="263" y="290"/>
                  <a:pt x="263" y="283"/>
                </a:cubicBezTo>
                <a:cubicBezTo>
                  <a:pt x="275" y="283"/>
                  <a:pt x="275" y="283"/>
                  <a:pt x="275" y="283"/>
                </a:cubicBezTo>
                <a:cubicBezTo>
                  <a:pt x="275" y="286"/>
                  <a:pt x="276" y="289"/>
                  <a:pt x="278" y="291"/>
                </a:cubicBezTo>
                <a:cubicBezTo>
                  <a:pt x="280" y="293"/>
                  <a:pt x="282" y="294"/>
                  <a:pt x="285" y="295"/>
                </a:cubicBezTo>
                <a:cubicBezTo>
                  <a:pt x="285" y="276"/>
                  <a:pt x="285" y="276"/>
                  <a:pt x="285" y="276"/>
                </a:cubicBezTo>
                <a:cubicBezTo>
                  <a:pt x="285" y="276"/>
                  <a:pt x="284" y="276"/>
                  <a:pt x="284" y="276"/>
                </a:cubicBezTo>
                <a:cubicBezTo>
                  <a:pt x="283" y="275"/>
                  <a:pt x="283" y="275"/>
                  <a:pt x="282" y="275"/>
                </a:cubicBezTo>
                <a:cubicBezTo>
                  <a:pt x="280" y="275"/>
                  <a:pt x="278" y="274"/>
                  <a:pt x="276" y="273"/>
                </a:cubicBezTo>
                <a:cubicBezTo>
                  <a:pt x="273" y="272"/>
                  <a:pt x="272" y="271"/>
                  <a:pt x="270" y="270"/>
                </a:cubicBezTo>
                <a:cubicBezTo>
                  <a:pt x="268" y="268"/>
                  <a:pt x="267" y="267"/>
                  <a:pt x="266" y="265"/>
                </a:cubicBezTo>
                <a:cubicBezTo>
                  <a:pt x="265" y="263"/>
                  <a:pt x="264" y="260"/>
                  <a:pt x="264" y="257"/>
                </a:cubicBezTo>
                <a:cubicBezTo>
                  <a:pt x="264" y="254"/>
                  <a:pt x="265" y="252"/>
                  <a:pt x="266" y="249"/>
                </a:cubicBezTo>
                <a:cubicBezTo>
                  <a:pt x="267" y="247"/>
                  <a:pt x="269" y="245"/>
                  <a:pt x="271" y="244"/>
                </a:cubicBezTo>
                <a:cubicBezTo>
                  <a:pt x="273" y="242"/>
                  <a:pt x="275" y="241"/>
                  <a:pt x="277" y="240"/>
                </a:cubicBezTo>
                <a:cubicBezTo>
                  <a:pt x="280" y="239"/>
                  <a:pt x="282" y="238"/>
                  <a:pt x="285" y="238"/>
                </a:cubicBezTo>
                <a:cubicBezTo>
                  <a:pt x="285" y="231"/>
                  <a:pt x="285" y="231"/>
                  <a:pt x="285" y="231"/>
                </a:cubicBezTo>
                <a:cubicBezTo>
                  <a:pt x="290" y="231"/>
                  <a:pt x="290" y="231"/>
                  <a:pt x="290" y="231"/>
                </a:cubicBezTo>
                <a:cubicBezTo>
                  <a:pt x="290" y="238"/>
                  <a:pt x="290" y="238"/>
                  <a:pt x="290" y="238"/>
                </a:cubicBezTo>
                <a:cubicBezTo>
                  <a:pt x="293" y="239"/>
                  <a:pt x="295" y="239"/>
                  <a:pt x="298" y="240"/>
                </a:cubicBezTo>
                <a:cubicBezTo>
                  <a:pt x="300" y="241"/>
                  <a:pt x="302" y="242"/>
                  <a:pt x="304" y="244"/>
                </a:cubicBezTo>
                <a:cubicBezTo>
                  <a:pt x="306" y="245"/>
                  <a:pt x="307" y="247"/>
                  <a:pt x="308" y="249"/>
                </a:cubicBezTo>
                <a:cubicBezTo>
                  <a:pt x="309" y="252"/>
                  <a:pt x="310" y="254"/>
                  <a:pt x="310" y="257"/>
                </a:cubicBezTo>
                <a:cubicBezTo>
                  <a:pt x="298" y="257"/>
                  <a:pt x="298" y="257"/>
                  <a:pt x="298" y="257"/>
                </a:cubicBezTo>
                <a:cubicBezTo>
                  <a:pt x="298" y="255"/>
                  <a:pt x="297" y="253"/>
                  <a:pt x="295" y="251"/>
                </a:cubicBezTo>
                <a:cubicBezTo>
                  <a:pt x="294" y="250"/>
                  <a:pt x="292" y="249"/>
                  <a:pt x="290" y="249"/>
                </a:cubicBezTo>
                <a:cubicBezTo>
                  <a:pt x="290" y="265"/>
                  <a:pt x="290" y="265"/>
                  <a:pt x="290" y="265"/>
                </a:cubicBezTo>
                <a:cubicBezTo>
                  <a:pt x="291" y="265"/>
                  <a:pt x="292" y="265"/>
                  <a:pt x="292" y="265"/>
                </a:cubicBezTo>
                <a:cubicBezTo>
                  <a:pt x="293" y="265"/>
                  <a:pt x="294" y="265"/>
                  <a:pt x="295" y="266"/>
                </a:cubicBezTo>
                <a:cubicBezTo>
                  <a:pt x="299" y="267"/>
                  <a:pt x="303" y="268"/>
                  <a:pt x="305" y="270"/>
                </a:cubicBezTo>
                <a:cubicBezTo>
                  <a:pt x="307" y="272"/>
                  <a:pt x="309" y="274"/>
                  <a:pt x="310" y="276"/>
                </a:cubicBezTo>
                <a:cubicBezTo>
                  <a:pt x="311" y="277"/>
                  <a:pt x="312" y="279"/>
                  <a:pt x="312" y="281"/>
                </a:cubicBezTo>
                <a:close/>
                <a:moveTo>
                  <a:pt x="285" y="249"/>
                </a:moveTo>
                <a:cubicBezTo>
                  <a:pt x="284" y="249"/>
                  <a:pt x="283" y="249"/>
                  <a:pt x="282" y="249"/>
                </a:cubicBezTo>
                <a:cubicBezTo>
                  <a:pt x="281" y="249"/>
                  <a:pt x="280" y="250"/>
                  <a:pt x="279" y="251"/>
                </a:cubicBezTo>
                <a:cubicBezTo>
                  <a:pt x="279" y="251"/>
                  <a:pt x="278" y="252"/>
                  <a:pt x="278" y="253"/>
                </a:cubicBezTo>
                <a:cubicBezTo>
                  <a:pt x="277" y="254"/>
                  <a:pt x="277" y="255"/>
                  <a:pt x="277" y="256"/>
                </a:cubicBezTo>
                <a:cubicBezTo>
                  <a:pt x="277" y="258"/>
                  <a:pt x="278" y="260"/>
                  <a:pt x="279" y="261"/>
                </a:cubicBezTo>
                <a:cubicBezTo>
                  <a:pt x="280" y="262"/>
                  <a:pt x="282" y="263"/>
                  <a:pt x="285" y="263"/>
                </a:cubicBezTo>
                <a:lnTo>
                  <a:pt x="285" y="249"/>
                </a:lnTo>
                <a:close/>
                <a:moveTo>
                  <a:pt x="300" y="286"/>
                </a:moveTo>
                <a:cubicBezTo>
                  <a:pt x="300" y="284"/>
                  <a:pt x="299" y="282"/>
                  <a:pt x="298" y="281"/>
                </a:cubicBezTo>
                <a:cubicBezTo>
                  <a:pt x="296" y="279"/>
                  <a:pt x="294" y="278"/>
                  <a:pt x="290" y="277"/>
                </a:cubicBezTo>
                <a:cubicBezTo>
                  <a:pt x="290" y="295"/>
                  <a:pt x="290" y="295"/>
                  <a:pt x="290" y="295"/>
                </a:cubicBezTo>
                <a:cubicBezTo>
                  <a:pt x="291" y="294"/>
                  <a:pt x="292" y="294"/>
                  <a:pt x="294" y="294"/>
                </a:cubicBezTo>
                <a:cubicBezTo>
                  <a:pt x="295" y="293"/>
                  <a:pt x="296" y="293"/>
                  <a:pt x="297" y="292"/>
                </a:cubicBezTo>
                <a:cubicBezTo>
                  <a:pt x="298" y="291"/>
                  <a:pt x="298" y="291"/>
                  <a:pt x="299" y="290"/>
                </a:cubicBezTo>
                <a:cubicBezTo>
                  <a:pt x="300" y="288"/>
                  <a:pt x="300" y="287"/>
                  <a:pt x="300" y="28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" name="Freeform 13">
            <a:extLst>
              <a:ext uri="{FF2B5EF4-FFF2-40B4-BE49-F238E27FC236}">
                <a16:creationId xmlns:a16="http://schemas.microsoft.com/office/drawing/2014/main" id="{6E57E903-7BA8-43B4-95DD-DBB7E1C1719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69342" y="5646950"/>
            <a:ext cx="603595" cy="603504"/>
          </a:xfrm>
          <a:custGeom>
            <a:avLst/>
            <a:gdLst>
              <a:gd name="T0" fmla="*/ 0 w 6669"/>
              <a:gd name="T1" fmla="*/ 6668 h 6668"/>
              <a:gd name="T2" fmla="*/ 6669 w 6669"/>
              <a:gd name="T3" fmla="*/ 0 h 6668"/>
              <a:gd name="T4" fmla="*/ 6385 w 6669"/>
              <a:gd name="T5" fmla="*/ 2273 h 6668"/>
              <a:gd name="T6" fmla="*/ 5987 w 6669"/>
              <a:gd name="T7" fmla="*/ 1861 h 6668"/>
              <a:gd name="T8" fmla="*/ 4877 w 6669"/>
              <a:gd name="T9" fmla="*/ 2273 h 6668"/>
              <a:gd name="T10" fmla="*/ 4199 w 6669"/>
              <a:gd name="T11" fmla="*/ 1825 h 6668"/>
              <a:gd name="T12" fmla="*/ 4611 w 6669"/>
              <a:gd name="T13" fmla="*/ 718 h 6668"/>
              <a:gd name="T14" fmla="*/ 4199 w 6669"/>
              <a:gd name="T15" fmla="*/ 284 h 6668"/>
              <a:gd name="T16" fmla="*/ 6385 w 6669"/>
              <a:gd name="T17" fmla="*/ 2273 h 6668"/>
              <a:gd name="T18" fmla="*/ 5703 w 6669"/>
              <a:gd name="T19" fmla="*/ 2685 h 6668"/>
              <a:gd name="T20" fmla="*/ 5161 w 6669"/>
              <a:gd name="T21" fmla="*/ 2145 h 6668"/>
              <a:gd name="T22" fmla="*/ 5289 w 6669"/>
              <a:gd name="T23" fmla="*/ 5950 h 6668"/>
              <a:gd name="T24" fmla="*/ 2824 w 6669"/>
              <a:gd name="T25" fmla="*/ 6384 h 6668"/>
              <a:gd name="T26" fmla="*/ 3236 w 6669"/>
              <a:gd name="T27" fmla="*/ 5950 h 6668"/>
              <a:gd name="T28" fmla="*/ 4877 w 6669"/>
              <a:gd name="T29" fmla="*/ 5538 h 6668"/>
              <a:gd name="T30" fmla="*/ 5289 w 6669"/>
              <a:gd name="T31" fmla="*/ 5950 h 6668"/>
              <a:gd name="T32" fmla="*/ 5161 w 6669"/>
              <a:gd name="T33" fmla="*/ 5126 h 6668"/>
              <a:gd name="T34" fmla="*/ 5703 w 6669"/>
              <a:gd name="T35" fmla="*/ 5666 h 6668"/>
              <a:gd name="T36" fmla="*/ 2952 w 6669"/>
              <a:gd name="T37" fmla="*/ 5126 h 6668"/>
              <a:gd name="T38" fmla="*/ 2412 w 6669"/>
              <a:gd name="T39" fmla="*/ 5666 h 6668"/>
              <a:gd name="T40" fmla="*/ 2952 w 6669"/>
              <a:gd name="T41" fmla="*/ 5126 h 6668"/>
              <a:gd name="T42" fmla="*/ 3236 w 6669"/>
              <a:gd name="T43" fmla="*/ 4843 h 6668"/>
              <a:gd name="T44" fmla="*/ 2824 w 6669"/>
              <a:gd name="T45" fmla="*/ 3701 h 6668"/>
              <a:gd name="T46" fmla="*/ 3503 w 6669"/>
              <a:gd name="T47" fmla="*/ 4113 h 6668"/>
              <a:gd name="T48" fmla="*/ 3915 w 6669"/>
              <a:gd name="T49" fmla="*/ 5254 h 6668"/>
              <a:gd name="T50" fmla="*/ 3787 w 6669"/>
              <a:gd name="T51" fmla="*/ 3829 h 6668"/>
              <a:gd name="T52" fmla="*/ 4327 w 6669"/>
              <a:gd name="T53" fmla="*/ 3289 h 6668"/>
              <a:gd name="T54" fmla="*/ 3787 w 6669"/>
              <a:gd name="T55" fmla="*/ 3829 h 6668"/>
              <a:gd name="T56" fmla="*/ 3503 w 6669"/>
              <a:gd name="T57" fmla="*/ 3417 h 6668"/>
              <a:gd name="T58" fmla="*/ 1860 w 6669"/>
              <a:gd name="T59" fmla="*/ 3005 h 6668"/>
              <a:gd name="T60" fmla="*/ 1448 w 6669"/>
              <a:gd name="T61" fmla="*/ 1825 h 6668"/>
              <a:gd name="T62" fmla="*/ 1860 w 6669"/>
              <a:gd name="T63" fmla="*/ 718 h 6668"/>
              <a:gd name="T64" fmla="*/ 1448 w 6669"/>
              <a:gd name="T65" fmla="*/ 284 h 6668"/>
              <a:gd name="T66" fmla="*/ 3915 w 6669"/>
              <a:gd name="T67" fmla="*/ 718 h 6668"/>
              <a:gd name="T68" fmla="*/ 3503 w 6669"/>
              <a:gd name="T69" fmla="*/ 1825 h 6668"/>
              <a:gd name="T70" fmla="*/ 3915 w 6669"/>
              <a:gd name="T71" fmla="*/ 3005 h 6668"/>
              <a:gd name="T72" fmla="*/ 1576 w 6669"/>
              <a:gd name="T73" fmla="*/ 3289 h 6668"/>
              <a:gd name="T74" fmla="*/ 1036 w 6669"/>
              <a:gd name="T75" fmla="*/ 3829 h 6668"/>
              <a:gd name="T76" fmla="*/ 1576 w 6669"/>
              <a:gd name="T77" fmla="*/ 3289 h 6668"/>
              <a:gd name="T78" fmla="*/ 1576 w 6669"/>
              <a:gd name="T79" fmla="*/ 1542 h 6668"/>
              <a:gd name="T80" fmla="*/ 1036 w 6669"/>
              <a:gd name="T81" fmla="*/ 1002 h 6668"/>
              <a:gd name="T82" fmla="*/ 3787 w 6669"/>
              <a:gd name="T83" fmla="*/ 1542 h 6668"/>
              <a:gd name="T84" fmla="*/ 4327 w 6669"/>
              <a:gd name="T85" fmla="*/ 1002 h 6668"/>
              <a:gd name="T86" fmla="*/ 3787 w 6669"/>
              <a:gd name="T87" fmla="*/ 1542 h 6668"/>
              <a:gd name="T88" fmla="*/ 1164 w 6669"/>
              <a:gd name="T89" fmla="*/ 284 h 6668"/>
              <a:gd name="T90" fmla="*/ 752 w 6669"/>
              <a:gd name="T91" fmla="*/ 718 h 6668"/>
              <a:gd name="T92" fmla="*/ 1164 w 6669"/>
              <a:gd name="T93" fmla="*/ 1825 h 6668"/>
              <a:gd name="T94" fmla="*/ 752 w 6669"/>
              <a:gd name="T95" fmla="*/ 3005 h 6668"/>
              <a:gd name="T96" fmla="*/ 1860 w 6669"/>
              <a:gd name="T97" fmla="*/ 4113 h 6668"/>
              <a:gd name="T98" fmla="*/ 2540 w 6669"/>
              <a:gd name="T99" fmla="*/ 3701 h 6668"/>
              <a:gd name="T100" fmla="*/ 2128 w 6669"/>
              <a:gd name="T101" fmla="*/ 4843 h 6668"/>
              <a:gd name="T102" fmla="*/ 2540 w 6669"/>
              <a:gd name="T103" fmla="*/ 5950 h 6668"/>
              <a:gd name="T104" fmla="*/ 286 w 6669"/>
              <a:gd name="T105" fmla="*/ 6384 h 6668"/>
              <a:gd name="T106" fmla="*/ 5575 w 6669"/>
              <a:gd name="T107" fmla="*/ 6384 h 6668"/>
              <a:gd name="T108" fmla="*/ 5987 w 6669"/>
              <a:gd name="T109" fmla="*/ 5950 h 6668"/>
              <a:gd name="T110" fmla="*/ 4877 w 6669"/>
              <a:gd name="T111" fmla="*/ 4843 h 6668"/>
              <a:gd name="T112" fmla="*/ 4199 w 6669"/>
              <a:gd name="T113" fmla="*/ 5254 h 6668"/>
              <a:gd name="T114" fmla="*/ 4611 w 6669"/>
              <a:gd name="T115" fmla="*/ 4113 h 6668"/>
              <a:gd name="T116" fmla="*/ 4199 w 6669"/>
              <a:gd name="T117" fmla="*/ 3005 h 6668"/>
              <a:gd name="T118" fmla="*/ 4877 w 6669"/>
              <a:gd name="T119" fmla="*/ 2557 h 6668"/>
              <a:gd name="T120" fmla="*/ 5987 w 6669"/>
              <a:gd name="T121" fmla="*/ 2969 h 6668"/>
              <a:gd name="T122" fmla="*/ 6385 w 6669"/>
              <a:gd name="T123" fmla="*/ 2557 h 6668"/>
              <a:gd name="T124" fmla="*/ 5575 w 6669"/>
              <a:gd name="T125" fmla="*/ 6384 h 6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669" h="6668">
                <a:moveTo>
                  <a:pt x="0" y="0"/>
                </a:moveTo>
                <a:lnTo>
                  <a:pt x="0" y="6668"/>
                </a:lnTo>
                <a:lnTo>
                  <a:pt x="6669" y="6668"/>
                </a:lnTo>
                <a:lnTo>
                  <a:pt x="6669" y="0"/>
                </a:lnTo>
                <a:lnTo>
                  <a:pt x="0" y="0"/>
                </a:lnTo>
                <a:close/>
                <a:moveTo>
                  <a:pt x="6385" y="2273"/>
                </a:moveTo>
                <a:lnTo>
                  <a:pt x="5987" y="2273"/>
                </a:lnTo>
                <a:lnTo>
                  <a:pt x="5987" y="1861"/>
                </a:lnTo>
                <a:lnTo>
                  <a:pt x="4877" y="1861"/>
                </a:lnTo>
                <a:lnTo>
                  <a:pt x="4877" y="2273"/>
                </a:lnTo>
                <a:lnTo>
                  <a:pt x="4199" y="2273"/>
                </a:lnTo>
                <a:lnTo>
                  <a:pt x="4199" y="1825"/>
                </a:lnTo>
                <a:lnTo>
                  <a:pt x="4611" y="1825"/>
                </a:lnTo>
                <a:lnTo>
                  <a:pt x="4611" y="718"/>
                </a:lnTo>
                <a:lnTo>
                  <a:pt x="4199" y="718"/>
                </a:lnTo>
                <a:lnTo>
                  <a:pt x="4199" y="284"/>
                </a:lnTo>
                <a:lnTo>
                  <a:pt x="6385" y="284"/>
                </a:lnTo>
                <a:lnTo>
                  <a:pt x="6385" y="2273"/>
                </a:lnTo>
                <a:close/>
                <a:moveTo>
                  <a:pt x="5703" y="2145"/>
                </a:moveTo>
                <a:lnTo>
                  <a:pt x="5703" y="2685"/>
                </a:lnTo>
                <a:lnTo>
                  <a:pt x="5161" y="2685"/>
                </a:lnTo>
                <a:lnTo>
                  <a:pt x="5161" y="2145"/>
                </a:lnTo>
                <a:lnTo>
                  <a:pt x="5703" y="2145"/>
                </a:lnTo>
                <a:close/>
                <a:moveTo>
                  <a:pt x="5289" y="5950"/>
                </a:moveTo>
                <a:lnTo>
                  <a:pt x="5289" y="6384"/>
                </a:lnTo>
                <a:lnTo>
                  <a:pt x="2824" y="6384"/>
                </a:lnTo>
                <a:lnTo>
                  <a:pt x="2824" y="5950"/>
                </a:lnTo>
                <a:lnTo>
                  <a:pt x="3236" y="5950"/>
                </a:lnTo>
                <a:lnTo>
                  <a:pt x="3236" y="5538"/>
                </a:lnTo>
                <a:lnTo>
                  <a:pt x="4877" y="5538"/>
                </a:lnTo>
                <a:lnTo>
                  <a:pt x="4877" y="5950"/>
                </a:lnTo>
                <a:lnTo>
                  <a:pt x="5289" y="5950"/>
                </a:lnTo>
                <a:close/>
                <a:moveTo>
                  <a:pt x="5161" y="5666"/>
                </a:moveTo>
                <a:lnTo>
                  <a:pt x="5161" y="5126"/>
                </a:lnTo>
                <a:lnTo>
                  <a:pt x="5703" y="5126"/>
                </a:lnTo>
                <a:lnTo>
                  <a:pt x="5703" y="5666"/>
                </a:lnTo>
                <a:lnTo>
                  <a:pt x="5161" y="5666"/>
                </a:lnTo>
                <a:close/>
                <a:moveTo>
                  <a:pt x="2952" y="5126"/>
                </a:moveTo>
                <a:lnTo>
                  <a:pt x="2952" y="5666"/>
                </a:lnTo>
                <a:lnTo>
                  <a:pt x="2412" y="5666"/>
                </a:lnTo>
                <a:lnTo>
                  <a:pt x="2412" y="5126"/>
                </a:lnTo>
                <a:lnTo>
                  <a:pt x="2952" y="5126"/>
                </a:lnTo>
                <a:close/>
                <a:moveTo>
                  <a:pt x="3236" y="5254"/>
                </a:moveTo>
                <a:lnTo>
                  <a:pt x="3236" y="4843"/>
                </a:lnTo>
                <a:lnTo>
                  <a:pt x="2824" y="4843"/>
                </a:lnTo>
                <a:lnTo>
                  <a:pt x="2824" y="3701"/>
                </a:lnTo>
                <a:lnTo>
                  <a:pt x="3503" y="3701"/>
                </a:lnTo>
                <a:lnTo>
                  <a:pt x="3503" y="4113"/>
                </a:lnTo>
                <a:lnTo>
                  <a:pt x="3915" y="4113"/>
                </a:lnTo>
                <a:lnTo>
                  <a:pt x="3915" y="5254"/>
                </a:lnTo>
                <a:lnTo>
                  <a:pt x="3236" y="5254"/>
                </a:lnTo>
                <a:close/>
                <a:moveTo>
                  <a:pt x="3787" y="3829"/>
                </a:moveTo>
                <a:lnTo>
                  <a:pt x="3787" y="3289"/>
                </a:lnTo>
                <a:lnTo>
                  <a:pt x="4327" y="3289"/>
                </a:lnTo>
                <a:lnTo>
                  <a:pt x="4327" y="3829"/>
                </a:lnTo>
                <a:lnTo>
                  <a:pt x="3787" y="3829"/>
                </a:lnTo>
                <a:close/>
                <a:moveTo>
                  <a:pt x="3503" y="3005"/>
                </a:moveTo>
                <a:lnTo>
                  <a:pt x="3503" y="3417"/>
                </a:lnTo>
                <a:lnTo>
                  <a:pt x="1860" y="3417"/>
                </a:lnTo>
                <a:lnTo>
                  <a:pt x="1860" y="3005"/>
                </a:lnTo>
                <a:lnTo>
                  <a:pt x="1448" y="3005"/>
                </a:lnTo>
                <a:lnTo>
                  <a:pt x="1448" y="1825"/>
                </a:lnTo>
                <a:lnTo>
                  <a:pt x="1860" y="1825"/>
                </a:lnTo>
                <a:lnTo>
                  <a:pt x="1860" y="718"/>
                </a:lnTo>
                <a:lnTo>
                  <a:pt x="1448" y="718"/>
                </a:lnTo>
                <a:lnTo>
                  <a:pt x="1448" y="284"/>
                </a:lnTo>
                <a:lnTo>
                  <a:pt x="3915" y="284"/>
                </a:lnTo>
                <a:lnTo>
                  <a:pt x="3915" y="718"/>
                </a:lnTo>
                <a:lnTo>
                  <a:pt x="3503" y="718"/>
                </a:lnTo>
                <a:lnTo>
                  <a:pt x="3503" y="1825"/>
                </a:lnTo>
                <a:lnTo>
                  <a:pt x="3915" y="1825"/>
                </a:lnTo>
                <a:lnTo>
                  <a:pt x="3915" y="3005"/>
                </a:lnTo>
                <a:lnTo>
                  <a:pt x="3503" y="3005"/>
                </a:lnTo>
                <a:close/>
                <a:moveTo>
                  <a:pt x="1576" y="3289"/>
                </a:moveTo>
                <a:lnTo>
                  <a:pt x="1576" y="3829"/>
                </a:lnTo>
                <a:lnTo>
                  <a:pt x="1036" y="3829"/>
                </a:lnTo>
                <a:lnTo>
                  <a:pt x="1036" y="3289"/>
                </a:lnTo>
                <a:lnTo>
                  <a:pt x="1576" y="3289"/>
                </a:lnTo>
                <a:close/>
                <a:moveTo>
                  <a:pt x="1576" y="1002"/>
                </a:moveTo>
                <a:lnTo>
                  <a:pt x="1576" y="1542"/>
                </a:lnTo>
                <a:lnTo>
                  <a:pt x="1036" y="1542"/>
                </a:lnTo>
                <a:lnTo>
                  <a:pt x="1036" y="1002"/>
                </a:lnTo>
                <a:lnTo>
                  <a:pt x="1576" y="1002"/>
                </a:lnTo>
                <a:close/>
                <a:moveTo>
                  <a:pt x="3787" y="1542"/>
                </a:moveTo>
                <a:lnTo>
                  <a:pt x="3787" y="1002"/>
                </a:lnTo>
                <a:lnTo>
                  <a:pt x="4327" y="1002"/>
                </a:lnTo>
                <a:lnTo>
                  <a:pt x="4327" y="1542"/>
                </a:lnTo>
                <a:lnTo>
                  <a:pt x="3787" y="1542"/>
                </a:lnTo>
                <a:close/>
                <a:moveTo>
                  <a:pt x="286" y="284"/>
                </a:moveTo>
                <a:lnTo>
                  <a:pt x="1164" y="284"/>
                </a:lnTo>
                <a:lnTo>
                  <a:pt x="1164" y="718"/>
                </a:lnTo>
                <a:lnTo>
                  <a:pt x="752" y="718"/>
                </a:lnTo>
                <a:lnTo>
                  <a:pt x="752" y="1825"/>
                </a:lnTo>
                <a:lnTo>
                  <a:pt x="1164" y="1825"/>
                </a:lnTo>
                <a:lnTo>
                  <a:pt x="1164" y="3005"/>
                </a:lnTo>
                <a:lnTo>
                  <a:pt x="752" y="3005"/>
                </a:lnTo>
                <a:lnTo>
                  <a:pt x="752" y="4113"/>
                </a:lnTo>
                <a:lnTo>
                  <a:pt x="1860" y="4113"/>
                </a:lnTo>
                <a:lnTo>
                  <a:pt x="1860" y="3701"/>
                </a:lnTo>
                <a:lnTo>
                  <a:pt x="2540" y="3701"/>
                </a:lnTo>
                <a:lnTo>
                  <a:pt x="2540" y="4843"/>
                </a:lnTo>
                <a:lnTo>
                  <a:pt x="2128" y="4843"/>
                </a:lnTo>
                <a:lnTo>
                  <a:pt x="2128" y="5950"/>
                </a:lnTo>
                <a:lnTo>
                  <a:pt x="2540" y="5950"/>
                </a:lnTo>
                <a:lnTo>
                  <a:pt x="2540" y="6384"/>
                </a:lnTo>
                <a:lnTo>
                  <a:pt x="286" y="6384"/>
                </a:lnTo>
                <a:lnTo>
                  <a:pt x="286" y="284"/>
                </a:lnTo>
                <a:close/>
                <a:moveTo>
                  <a:pt x="5575" y="6384"/>
                </a:moveTo>
                <a:lnTo>
                  <a:pt x="5575" y="5950"/>
                </a:lnTo>
                <a:lnTo>
                  <a:pt x="5987" y="5950"/>
                </a:lnTo>
                <a:lnTo>
                  <a:pt x="5987" y="4843"/>
                </a:lnTo>
                <a:lnTo>
                  <a:pt x="4877" y="4843"/>
                </a:lnTo>
                <a:lnTo>
                  <a:pt x="4877" y="5254"/>
                </a:lnTo>
                <a:lnTo>
                  <a:pt x="4199" y="5254"/>
                </a:lnTo>
                <a:lnTo>
                  <a:pt x="4199" y="4113"/>
                </a:lnTo>
                <a:lnTo>
                  <a:pt x="4611" y="4113"/>
                </a:lnTo>
                <a:lnTo>
                  <a:pt x="4611" y="3005"/>
                </a:lnTo>
                <a:lnTo>
                  <a:pt x="4199" y="3005"/>
                </a:lnTo>
                <a:lnTo>
                  <a:pt x="4199" y="2557"/>
                </a:lnTo>
                <a:lnTo>
                  <a:pt x="4877" y="2557"/>
                </a:lnTo>
                <a:lnTo>
                  <a:pt x="4877" y="2969"/>
                </a:lnTo>
                <a:lnTo>
                  <a:pt x="5987" y="2969"/>
                </a:lnTo>
                <a:lnTo>
                  <a:pt x="5987" y="2557"/>
                </a:lnTo>
                <a:lnTo>
                  <a:pt x="6385" y="2557"/>
                </a:lnTo>
                <a:lnTo>
                  <a:pt x="6385" y="6384"/>
                </a:lnTo>
                <a:lnTo>
                  <a:pt x="5575" y="63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5154FE6-C7D7-4EF8-BFBA-4C9AF9EE0DDE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/>
              <a:t>сентябрь 2023</a:t>
            </a:r>
            <a:endParaRPr lang="ru" dirty="0"/>
          </a:p>
        </p:txBody>
      </p:sp>
      <p:sp>
        <p:nvSpPr>
          <p:cNvPr id="34" name="Footer Placeholder 11">
            <a:extLst>
              <a:ext uri="{FF2B5EF4-FFF2-40B4-BE49-F238E27FC236}">
                <a16:creationId xmlns:a16="http://schemas.microsoft.com/office/drawing/2014/main" id="{A1BB5707-A3C4-4275-8EE3-F666B4CEA92D}"/>
              </a:ext>
            </a:extLst>
          </p:cNvPr>
          <p:cNvSpPr txBox="1">
            <a:spLocks/>
          </p:cNvSpPr>
          <p:nvPr/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едварительное технико-экономическое обоснование создания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ЦПК</a:t>
            </a: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ри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КШТХ</a:t>
            </a:r>
            <a:endParaRPr kumimoji="0" lang="ru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9611522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095B41-810A-40B0-8ED6-F81B04F66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7426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2" imgH="532" progId="TCLayout.ActiveDocument.1">
                  <p:embed/>
                </p:oleObj>
              </mc:Choice>
              <mc:Fallback>
                <p:oleObj name="think-cell Slide" r:id="rId5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095B41-810A-40B0-8ED6-F81B04F66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2"/>
          <p:cNvSpPr txBox="1">
            <a:spLocks noGrp="1"/>
          </p:cNvSpPr>
          <p:nvPr>
            <p:ph type="title"/>
          </p:nvPr>
        </p:nvSpPr>
        <p:spPr>
          <a:xfrm>
            <a:off x="442914" y="325895"/>
            <a:ext cx="11306175" cy="369332"/>
          </a:xfrm>
        </p:spPr>
        <p:txBody>
          <a:bodyPr anchor="ctr" anchorCtr="0">
            <a:normAutofit fontScale="90000"/>
          </a:bodyPr>
          <a:lstStyle/>
          <a:p>
            <a:pPr lvl="0"/>
            <a:r>
              <a:rPr lang="ru" sz="2000" b="0" dirty="0">
                <a:latin typeface="Georgia" panose="02040502050405020303" pitchFamily="18" charset="0"/>
              </a:rPr>
              <a:t>Обзор предлагаемого участка </a:t>
            </a:r>
            <a:r>
              <a:rPr lang="ru-RU" sz="2000" b="0" dirty="0">
                <a:latin typeface="Georgia" panose="02040502050405020303" pitchFamily="18" charset="0"/>
              </a:rPr>
              <a:t>МЦПК</a:t>
            </a:r>
            <a:r>
              <a:rPr lang="ru" sz="2000" b="0" dirty="0">
                <a:latin typeface="Georgia" panose="02040502050405020303" pitchFamily="18" charset="0"/>
              </a:rPr>
              <a:t> вблизи ППГ Атамекен (Казахстан) – Гулистан (Узбекистан)</a:t>
            </a:r>
          </a:p>
        </p:txBody>
      </p:sp>
      <p:graphicFrame>
        <p:nvGraphicFramePr>
          <p:cNvPr id="39" name="Diagram 38">
            <a:extLst>
              <a:ext uri="{FF2B5EF4-FFF2-40B4-BE49-F238E27FC236}">
                <a16:creationId xmlns:a16="http://schemas.microsoft.com/office/drawing/2014/main" id="{64613702-E163-4B85-B3AF-58808AB4C4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3151912"/>
              </p:ext>
            </p:extLst>
          </p:nvPr>
        </p:nvGraphicFramePr>
        <p:xfrm>
          <a:off x="442915" y="-1"/>
          <a:ext cx="11749086" cy="219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B8D703D-1FA2-4A3A-ACB8-78F5A92E24F1}"/>
              </a:ext>
            </a:extLst>
          </p:cNvPr>
          <p:cNvGrpSpPr/>
          <p:nvPr/>
        </p:nvGrpSpPr>
        <p:grpSpPr>
          <a:xfrm>
            <a:off x="234120" y="1387628"/>
            <a:ext cx="4748846" cy="4957785"/>
            <a:chOff x="347691" y="1185590"/>
            <a:chExt cx="4996815" cy="4653203"/>
          </a:xfrm>
        </p:grpSpPr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D1436303-A255-43F0-AFC2-5B6939F78A7E}"/>
                </a:ext>
              </a:extLst>
            </p:cNvPr>
            <p:cNvGrpSpPr/>
            <p:nvPr/>
          </p:nvGrpSpPr>
          <p:grpSpPr>
            <a:xfrm>
              <a:off x="2679836" y="3418436"/>
              <a:ext cx="1610019" cy="1001950"/>
              <a:chOff x="2561400" y="2971800"/>
              <a:chExt cx="1778000" cy="1346200"/>
            </a:xfrm>
          </p:grpSpPr>
          <p:pic>
            <p:nvPicPr>
              <p:cNvPr id="138" name="Graphic 2" descr="House">
                <a:extLst>
                  <a:ext uri="{FF2B5EF4-FFF2-40B4-BE49-F238E27FC236}">
                    <a16:creationId xmlns:a16="http://schemas.microsoft.com/office/drawing/2014/main" id="{61CCBBAF-59B2-4D2E-9D4D-9F9AC4AAFA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561400" y="297180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39" name="Graphic 4" descr="Home">
                <a:extLst>
                  <a:ext uri="{FF2B5EF4-FFF2-40B4-BE49-F238E27FC236}">
                    <a16:creationId xmlns:a16="http://schemas.microsoft.com/office/drawing/2014/main" id="{49F33D12-CB55-42AE-8541-D5A537A847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3425000" y="297180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40" name="Graphic 6" descr="House">
                <a:extLst>
                  <a:ext uri="{FF2B5EF4-FFF2-40B4-BE49-F238E27FC236}">
                    <a16:creationId xmlns:a16="http://schemas.microsoft.com/office/drawing/2014/main" id="{A23DBFC2-6BC0-4EAC-ADD9-7B3618689F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3018600" y="3403600"/>
                <a:ext cx="914400" cy="914400"/>
              </a:xfrm>
              <a:prstGeom prst="rect">
                <a:avLst/>
              </a:prstGeom>
            </p:spPr>
          </p:pic>
        </p:grpSp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7E56D754-8671-445A-AEB6-2A387532CD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/>
            <a:srcRect r="8597" b="8837"/>
            <a:stretch/>
          </p:blipFill>
          <p:spPr>
            <a:xfrm>
              <a:off x="347691" y="1185590"/>
              <a:ext cx="4996815" cy="4653203"/>
            </a:xfrm>
            <a:prstGeom prst="rect">
              <a:avLst/>
            </a:prstGeom>
          </p:spPr>
        </p:pic>
        <p:sp>
          <p:nvSpPr>
            <p:cNvPr id="108" name="Rounded Rectangle 2099762902">
              <a:extLst>
                <a:ext uri="{FF2B5EF4-FFF2-40B4-BE49-F238E27FC236}">
                  <a16:creationId xmlns:a16="http://schemas.microsoft.com/office/drawing/2014/main" id="{F1E2EF47-4D28-4592-8D84-49E5CFBED195}"/>
                </a:ext>
              </a:extLst>
            </p:cNvPr>
            <p:cNvSpPr/>
            <p:nvPr/>
          </p:nvSpPr>
          <p:spPr>
            <a:xfrm>
              <a:off x="3731800" y="1261740"/>
              <a:ext cx="1152867" cy="353212"/>
            </a:xfrm>
            <a:prstGeom prst="roundRect">
              <a:avLst/>
            </a:prstGeom>
            <a:solidFill>
              <a:srgbClr val="1F38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1100" b="1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ШЫМКЕНТ</a:t>
              </a:r>
              <a:endParaRPr lang="en-US" sz="110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09" name="Rounded Rectangle 1964275805">
              <a:extLst>
                <a:ext uri="{FF2B5EF4-FFF2-40B4-BE49-F238E27FC236}">
                  <a16:creationId xmlns:a16="http://schemas.microsoft.com/office/drawing/2014/main" id="{52996D03-9CE3-4320-A9E8-C93D901A398F}"/>
                </a:ext>
              </a:extLst>
            </p:cNvPr>
            <p:cNvSpPr/>
            <p:nvPr/>
          </p:nvSpPr>
          <p:spPr>
            <a:xfrm>
              <a:off x="3033178" y="3940032"/>
              <a:ext cx="1128314" cy="183008"/>
            </a:xfrm>
            <a:prstGeom prst="roundRect">
              <a:avLst/>
            </a:prstGeom>
            <a:solidFill>
              <a:srgbClr val="1F386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1100" b="1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ТАШКЕНТ</a:t>
              </a:r>
              <a:endParaRPr lang="en-US" sz="110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2B2DA0F5-6A79-4A25-982E-0DC02015416A}"/>
                </a:ext>
              </a:extLst>
            </p:cNvPr>
            <p:cNvSpPr/>
            <p:nvPr/>
          </p:nvSpPr>
          <p:spPr>
            <a:xfrm>
              <a:off x="802913" y="5563659"/>
              <a:ext cx="1222051" cy="231720"/>
            </a:xfrm>
            <a:custGeom>
              <a:avLst/>
              <a:gdLst>
                <a:gd name="connsiteX0" fmla="*/ -147 w 675311"/>
                <a:gd name="connsiteY0" fmla="*/ 31589 h 189575"/>
                <a:gd name="connsiteX1" fmla="*/ 31444 w 675311"/>
                <a:gd name="connsiteY1" fmla="*/ -8 h 189575"/>
                <a:gd name="connsiteX2" fmla="*/ 643573 w 675311"/>
                <a:gd name="connsiteY2" fmla="*/ -8 h 189575"/>
                <a:gd name="connsiteX3" fmla="*/ 675164 w 675311"/>
                <a:gd name="connsiteY3" fmla="*/ 31589 h 189575"/>
                <a:gd name="connsiteX4" fmla="*/ 675164 w 675311"/>
                <a:gd name="connsiteY4" fmla="*/ 157974 h 189575"/>
                <a:gd name="connsiteX5" fmla="*/ 643573 w 675311"/>
                <a:gd name="connsiteY5" fmla="*/ 189568 h 189575"/>
                <a:gd name="connsiteX6" fmla="*/ 31444 w 675311"/>
                <a:gd name="connsiteY6" fmla="*/ 189568 h 189575"/>
                <a:gd name="connsiteX7" fmla="*/ -147 w 675311"/>
                <a:gd name="connsiteY7" fmla="*/ 157974 h 18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5311" h="189575">
                  <a:moveTo>
                    <a:pt x="-147" y="31589"/>
                  </a:moveTo>
                  <a:cubicBezTo>
                    <a:pt x="-147" y="14139"/>
                    <a:pt x="13999" y="-8"/>
                    <a:pt x="31444" y="-8"/>
                  </a:cubicBezTo>
                  <a:lnTo>
                    <a:pt x="643573" y="-8"/>
                  </a:lnTo>
                  <a:cubicBezTo>
                    <a:pt x="661018" y="-8"/>
                    <a:pt x="675164" y="14139"/>
                    <a:pt x="675164" y="31589"/>
                  </a:cubicBezTo>
                  <a:lnTo>
                    <a:pt x="675164" y="157974"/>
                  </a:lnTo>
                  <a:cubicBezTo>
                    <a:pt x="675164" y="175421"/>
                    <a:pt x="661018" y="189568"/>
                    <a:pt x="643573" y="189568"/>
                  </a:cubicBezTo>
                  <a:lnTo>
                    <a:pt x="31444" y="189568"/>
                  </a:lnTo>
                  <a:cubicBezTo>
                    <a:pt x="13999" y="189568"/>
                    <a:pt x="-147" y="175421"/>
                    <a:pt x="-147" y="157974"/>
                  </a:cubicBezTo>
                  <a:close/>
                </a:path>
              </a:pathLst>
            </a:custGeom>
            <a:solidFill>
              <a:schemeClr val="tx1"/>
            </a:solidFill>
            <a:ln w="11844" cap="flat">
              <a:solidFill>
                <a:schemeClr val="bg1"/>
              </a:solidFill>
              <a:prstDash val="solid"/>
              <a:miter/>
            </a:ln>
          </p:spPr>
          <p:txBody>
            <a:bodyPr lIns="0" tIns="0" rIns="0" bIns="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1050" b="1" kern="1200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ППГ Атамекен </a:t>
              </a:r>
              <a:endParaRPr lang="en-US" sz="16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11" name="Curved Connector 108501013">
              <a:extLst>
                <a:ext uri="{FF2B5EF4-FFF2-40B4-BE49-F238E27FC236}">
                  <a16:creationId xmlns:a16="http://schemas.microsoft.com/office/drawing/2014/main" id="{4A2866A6-F1F1-46EB-946B-E8EDE4A1C754}"/>
                </a:ext>
              </a:extLst>
            </p:cNvPr>
            <p:cNvCxnSpPr>
              <a:cxnSpLocks/>
              <a:stCxn id="128" idx="1"/>
              <a:endCxn id="135" idx="0"/>
            </p:cNvCxnSpPr>
            <p:nvPr/>
          </p:nvCxnSpPr>
          <p:spPr>
            <a:xfrm rot="10800000" flipV="1">
              <a:off x="1982043" y="1655248"/>
              <a:ext cx="1496496" cy="3594189"/>
            </a:xfrm>
            <a:prstGeom prst="curvedConnector2">
              <a:avLst/>
            </a:prstGeom>
            <a:ln w="19050">
              <a:solidFill>
                <a:srgbClr val="DC3A3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217C3F97-43F1-463F-BEC9-7D8AFD0533B5}"/>
                </a:ext>
              </a:extLst>
            </p:cNvPr>
            <p:cNvSpPr/>
            <p:nvPr/>
          </p:nvSpPr>
          <p:spPr>
            <a:xfrm>
              <a:off x="2294641" y="2268848"/>
              <a:ext cx="503951" cy="16273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237 км</a:t>
              </a:r>
              <a:endParaRPr lang="en-US" sz="110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pic>
          <p:nvPicPr>
            <p:cNvPr id="113" name="Picture 112">
              <a:extLst>
                <a:ext uri="{FF2B5EF4-FFF2-40B4-BE49-F238E27FC236}">
                  <a16:creationId xmlns:a16="http://schemas.microsoft.com/office/drawing/2014/main" id="{7EE39B52-F45F-46AE-AD94-E7D27E60EA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rcRect/>
            <a:stretch/>
          </p:blipFill>
          <p:spPr>
            <a:xfrm>
              <a:off x="4109288" y="1655249"/>
              <a:ext cx="213310" cy="175327"/>
            </a:xfrm>
            <a:prstGeom prst="rect">
              <a:avLst/>
            </a:prstGeom>
          </p:spPr>
        </p:pic>
        <p:cxnSp>
          <p:nvCxnSpPr>
            <p:cNvPr id="114" name="Curved Connector 1691140534">
              <a:extLst>
                <a:ext uri="{FF2B5EF4-FFF2-40B4-BE49-F238E27FC236}">
                  <a16:creationId xmlns:a16="http://schemas.microsoft.com/office/drawing/2014/main" id="{1071B3AC-07B4-4645-9F51-79AF8E9F424B}"/>
                </a:ext>
              </a:extLst>
            </p:cNvPr>
            <p:cNvCxnSpPr>
              <a:cxnSpLocks/>
              <a:stCxn id="113" idx="1"/>
              <a:endCxn id="135" idx="0"/>
            </p:cNvCxnSpPr>
            <p:nvPr/>
          </p:nvCxnSpPr>
          <p:spPr>
            <a:xfrm rot="10800000" flipV="1">
              <a:off x="1982042" y="1742912"/>
              <a:ext cx="2127246" cy="3506525"/>
            </a:xfrm>
            <a:prstGeom prst="curvedConnector2">
              <a:avLst/>
            </a:prstGeom>
            <a:ln w="19050">
              <a:solidFill>
                <a:srgbClr val="002F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F08B4ECD-B634-4911-A25C-3FB6F62B4602}"/>
                </a:ext>
              </a:extLst>
            </p:cNvPr>
            <p:cNvSpPr/>
            <p:nvPr/>
          </p:nvSpPr>
          <p:spPr>
            <a:xfrm>
              <a:off x="3007376" y="2056111"/>
              <a:ext cx="503951" cy="147942"/>
            </a:xfrm>
            <a:prstGeom prst="rect">
              <a:avLst/>
            </a:prstGeom>
            <a:solidFill>
              <a:srgbClr val="002F4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267 км</a:t>
              </a:r>
              <a:endParaRPr lang="en-US" sz="110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pic>
          <p:nvPicPr>
            <p:cNvPr id="116" name="Picture 115">
              <a:extLst>
                <a:ext uri="{FF2B5EF4-FFF2-40B4-BE49-F238E27FC236}">
                  <a16:creationId xmlns:a16="http://schemas.microsoft.com/office/drawing/2014/main" id="{663464CE-3B00-45AA-88BD-77F80DD79A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rcRect/>
            <a:stretch/>
          </p:blipFill>
          <p:spPr>
            <a:xfrm>
              <a:off x="3181456" y="3729806"/>
              <a:ext cx="228192" cy="187559"/>
            </a:xfrm>
            <a:prstGeom prst="rect">
              <a:avLst/>
            </a:prstGeom>
          </p:spPr>
        </p:pic>
        <p:cxnSp>
          <p:nvCxnSpPr>
            <p:cNvPr id="117" name="Curved Connector 868461337">
              <a:extLst>
                <a:ext uri="{FF2B5EF4-FFF2-40B4-BE49-F238E27FC236}">
                  <a16:creationId xmlns:a16="http://schemas.microsoft.com/office/drawing/2014/main" id="{2394F16F-4ED9-42CC-B9BB-5C5979C1A508}"/>
                </a:ext>
              </a:extLst>
            </p:cNvPr>
            <p:cNvCxnSpPr>
              <a:cxnSpLocks/>
              <a:stCxn id="116" idx="1"/>
              <a:endCxn id="135" idx="0"/>
            </p:cNvCxnSpPr>
            <p:nvPr/>
          </p:nvCxnSpPr>
          <p:spPr>
            <a:xfrm rot="10800000" flipV="1">
              <a:off x="1982043" y="3823586"/>
              <a:ext cx="1199414" cy="1425852"/>
            </a:xfrm>
            <a:prstGeom prst="curvedConnector2">
              <a:avLst/>
            </a:prstGeom>
            <a:ln w="19050">
              <a:solidFill>
                <a:srgbClr val="EF7D3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D9CF42F7-8BD3-4715-BB1F-F4F76F53B791}"/>
                </a:ext>
              </a:extLst>
            </p:cNvPr>
            <p:cNvSpPr/>
            <p:nvPr/>
          </p:nvSpPr>
          <p:spPr>
            <a:xfrm>
              <a:off x="2342148" y="3965847"/>
              <a:ext cx="503951" cy="147942"/>
            </a:xfrm>
            <a:prstGeom prst="rect">
              <a:avLst/>
            </a:prstGeom>
            <a:solidFill>
              <a:srgbClr val="EF7D3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111 км</a:t>
              </a:r>
              <a:endParaRPr lang="en-US" sz="110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19" name="Curved Connector 2067909280">
              <a:extLst>
                <a:ext uri="{FF2B5EF4-FFF2-40B4-BE49-F238E27FC236}">
                  <a16:creationId xmlns:a16="http://schemas.microsoft.com/office/drawing/2014/main" id="{C0A22378-87C4-4F07-96C9-1D05FB715715}"/>
                </a:ext>
              </a:extLst>
            </p:cNvPr>
            <p:cNvCxnSpPr>
              <a:cxnSpLocks/>
              <a:stCxn id="126" idx="2"/>
              <a:endCxn id="136" idx="6"/>
            </p:cNvCxnSpPr>
            <p:nvPr/>
          </p:nvCxnSpPr>
          <p:spPr>
            <a:xfrm rot="5400000">
              <a:off x="2515902" y="4218846"/>
              <a:ext cx="744046" cy="1428066"/>
            </a:xfrm>
            <a:prstGeom prst="curvedConnector2">
              <a:avLst/>
            </a:prstGeom>
            <a:ln w="19050">
              <a:solidFill>
                <a:srgbClr val="DC3A3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1CB21859-99A3-4148-B547-46616D45EF9B}"/>
                </a:ext>
              </a:extLst>
            </p:cNvPr>
            <p:cNvSpPr/>
            <p:nvPr/>
          </p:nvSpPr>
          <p:spPr>
            <a:xfrm>
              <a:off x="3303418" y="4690314"/>
              <a:ext cx="503951" cy="118354"/>
            </a:xfrm>
            <a:prstGeom prst="rect">
              <a:avLst/>
            </a:prstGeom>
            <a:solidFill>
              <a:srgbClr val="DC3A3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82,8 км</a:t>
              </a:r>
              <a:endParaRPr lang="en-US" sz="110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5296259C-1A09-4F92-A97A-9BE9B1AE6C3E}"/>
                </a:ext>
              </a:extLst>
            </p:cNvPr>
            <p:cNvCxnSpPr>
              <a:cxnSpLocks/>
              <a:stCxn id="136" idx="7"/>
              <a:endCxn id="125" idx="1"/>
            </p:cNvCxnSpPr>
            <p:nvPr/>
          </p:nvCxnSpPr>
          <p:spPr>
            <a:xfrm flipV="1">
              <a:off x="2158096" y="4272283"/>
              <a:ext cx="1331771" cy="1004125"/>
            </a:xfrm>
            <a:prstGeom prst="line">
              <a:avLst/>
            </a:prstGeom>
            <a:ln w="19050">
              <a:solidFill>
                <a:srgbClr val="EF7D3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2" name="Picture 121">
              <a:extLst>
                <a:ext uri="{FF2B5EF4-FFF2-40B4-BE49-F238E27FC236}">
                  <a16:creationId xmlns:a16="http://schemas.microsoft.com/office/drawing/2014/main" id="{B0D11B62-2552-47AD-8209-434E6D3A14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rcRect/>
            <a:stretch/>
          </p:blipFill>
          <p:spPr>
            <a:xfrm>
              <a:off x="3214523" y="4170513"/>
              <a:ext cx="213310" cy="175327"/>
            </a:xfrm>
            <a:prstGeom prst="rect">
              <a:avLst/>
            </a:prstGeom>
          </p:spPr>
        </p:pic>
        <p:cxnSp>
          <p:nvCxnSpPr>
            <p:cNvPr id="123" name="Curved Connector 1840934362">
              <a:extLst>
                <a:ext uri="{FF2B5EF4-FFF2-40B4-BE49-F238E27FC236}">
                  <a16:creationId xmlns:a16="http://schemas.microsoft.com/office/drawing/2014/main" id="{A12C7016-9019-4AC7-B3F4-E5E517DDC5F0}"/>
                </a:ext>
              </a:extLst>
            </p:cNvPr>
            <p:cNvCxnSpPr>
              <a:cxnSpLocks/>
              <a:stCxn id="122" idx="1"/>
              <a:endCxn id="136" idx="0"/>
            </p:cNvCxnSpPr>
            <p:nvPr/>
          </p:nvCxnSpPr>
          <p:spPr>
            <a:xfrm rot="10800000" flipV="1">
              <a:off x="2119963" y="4258177"/>
              <a:ext cx="1094560" cy="1006428"/>
            </a:xfrm>
            <a:prstGeom prst="curvedConnector2">
              <a:avLst/>
            </a:prstGeom>
            <a:ln w="19050">
              <a:solidFill>
                <a:srgbClr val="002F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AAB45701-E0A8-4F18-88C7-252637FDD7FF}"/>
                </a:ext>
              </a:extLst>
            </p:cNvPr>
            <p:cNvSpPr/>
            <p:nvPr/>
          </p:nvSpPr>
          <p:spPr>
            <a:xfrm>
              <a:off x="2307818" y="4451538"/>
              <a:ext cx="371796" cy="118354"/>
            </a:xfrm>
            <a:prstGeom prst="rect">
              <a:avLst/>
            </a:prstGeom>
            <a:solidFill>
              <a:srgbClr val="002F4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80 км</a:t>
              </a:r>
              <a:endParaRPr lang="en-US" sz="110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pic>
          <p:nvPicPr>
            <p:cNvPr id="125" name="Picture 124">
              <a:extLst>
                <a:ext uri="{FF2B5EF4-FFF2-40B4-BE49-F238E27FC236}">
                  <a16:creationId xmlns:a16="http://schemas.microsoft.com/office/drawing/2014/main" id="{0F481935-FE83-41BC-B23D-32F4CD4364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rcRect/>
            <a:stretch/>
          </p:blipFill>
          <p:spPr>
            <a:xfrm>
              <a:off x="3489867" y="4178503"/>
              <a:ext cx="228192" cy="187559"/>
            </a:xfrm>
            <a:prstGeom prst="rect">
              <a:avLst/>
            </a:prstGeom>
          </p:spPr>
        </p:pic>
        <p:pic>
          <p:nvPicPr>
            <p:cNvPr id="126" name="Picture 125">
              <a:extLst>
                <a:ext uri="{FF2B5EF4-FFF2-40B4-BE49-F238E27FC236}">
                  <a16:creationId xmlns:a16="http://schemas.microsoft.com/office/drawing/2014/main" id="{C11181AC-14FB-439D-B035-1A7794C6AF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rcRect/>
            <a:stretch/>
          </p:blipFill>
          <p:spPr>
            <a:xfrm>
              <a:off x="3494200" y="4383717"/>
              <a:ext cx="215515" cy="177139"/>
            </a:xfrm>
            <a:prstGeom prst="rect">
              <a:avLst/>
            </a:prstGeom>
          </p:spPr>
        </p:pic>
        <p:pic>
          <p:nvPicPr>
            <p:cNvPr id="127" name="Picture 126">
              <a:extLst>
                <a:ext uri="{FF2B5EF4-FFF2-40B4-BE49-F238E27FC236}">
                  <a16:creationId xmlns:a16="http://schemas.microsoft.com/office/drawing/2014/main" id="{E17B2CE2-2081-48B1-AC0E-5CDF2E269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738680" y="1863503"/>
              <a:ext cx="208632" cy="171482"/>
            </a:xfrm>
            <a:prstGeom prst="rect">
              <a:avLst/>
            </a:prstGeom>
          </p:spPr>
        </p:pic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406258BE-2DD1-4B29-9742-F8FE99DBB188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rcRect/>
            <a:stretch/>
          </p:blipFill>
          <p:spPr>
            <a:xfrm>
              <a:off x="3478538" y="1566679"/>
              <a:ext cx="215515" cy="177139"/>
            </a:xfrm>
            <a:prstGeom prst="rect">
              <a:avLst/>
            </a:prstGeom>
          </p:spPr>
        </p:pic>
        <p:cxnSp>
          <p:nvCxnSpPr>
            <p:cNvPr id="129" name="Curved Connector 1830944981">
              <a:extLst>
                <a:ext uri="{FF2B5EF4-FFF2-40B4-BE49-F238E27FC236}">
                  <a16:creationId xmlns:a16="http://schemas.microsoft.com/office/drawing/2014/main" id="{2BB21621-804C-407D-8C58-958C5A973DCC}"/>
                </a:ext>
              </a:extLst>
            </p:cNvPr>
            <p:cNvCxnSpPr>
              <a:cxnSpLocks/>
              <a:endCxn id="135" idx="4"/>
            </p:cNvCxnSpPr>
            <p:nvPr/>
          </p:nvCxnSpPr>
          <p:spPr>
            <a:xfrm flipV="1">
              <a:off x="1414005" y="5330032"/>
              <a:ext cx="568037" cy="108440"/>
            </a:xfrm>
            <a:prstGeom prst="curvedConnector2">
              <a:avLst/>
            </a:prstGeom>
            <a:ln w="19050">
              <a:solidFill>
                <a:srgbClr val="09298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D73989CD-B2A2-42CF-A834-0342ADE128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407155" y="5393240"/>
              <a:ext cx="479113" cy="157529"/>
            </a:xfrm>
            <a:prstGeom prst="rect">
              <a:avLst/>
            </a:prstGeom>
            <a:solidFill>
              <a:srgbClr val="09298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800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28 км</a:t>
              </a:r>
              <a:endParaRPr lang="en-US" sz="110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C36739A6-C8C7-46FC-90E5-B9F18B16F017}"/>
                </a:ext>
              </a:extLst>
            </p:cNvPr>
            <p:cNvSpPr/>
            <p:nvPr/>
          </p:nvSpPr>
          <p:spPr>
            <a:xfrm>
              <a:off x="2094972" y="5437705"/>
              <a:ext cx="1058362" cy="234705"/>
            </a:xfrm>
            <a:custGeom>
              <a:avLst/>
              <a:gdLst>
                <a:gd name="connsiteX0" fmla="*/ -147 w 675311"/>
                <a:gd name="connsiteY0" fmla="*/ 31589 h 189575"/>
                <a:gd name="connsiteX1" fmla="*/ 31444 w 675311"/>
                <a:gd name="connsiteY1" fmla="*/ -8 h 189575"/>
                <a:gd name="connsiteX2" fmla="*/ 643573 w 675311"/>
                <a:gd name="connsiteY2" fmla="*/ -8 h 189575"/>
                <a:gd name="connsiteX3" fmla="*/ 675164 w 675311"/>
                <a:gd name="connsiteY3" fmla="*/ 31589 h 189575"/>
                <a:gd name="connsiteX4" fmla="*/ 675164 w 675311"/>
                <a:gd name="connsiteY4" fmla="*/ 157974 h 189575"/>
                <a:gd name="connsiteX5" fmla="*/ 643573 w 675311"/>
                <a:gd name="connsiteY5" fmla="*/ 189568 h 189575"/>
                <a:gd name="connsiteX6" fmla="*/ 31444 w 675311"/>
                <a:gd name="connsiteY6" fmla="*/ 189568 h 189575"/>
                <a:gd name="connsiteX7" fmla="*/ -147 w 675311"/>
                <a:gd name="connsiteY7" fmla="*/ 157974 h 18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5311" h="189575">
                  <a:moveTo>
                    <a:pt x="-147" y="31589"/>
                  </a:moveTo>
                  <a:cubicBezTo>
                    <a:pt x="-147" y="14139"/>
                    <a:pt x="13999" y="-8"/>
                    <a:pt x="31444" y="-8"/>
                  </a:cubicBezTo>
                  <a:lnTo>
                    <a:pt x="643573" y="-8"/>
                  </a:lnTo>
                  <a:cubicBezTo>
                    <a:pt x="661018" y="-8"/>
                    <a:pt x="675164" y="14139"/>
                    <a:pt x="675164" y="31589"/>
                  </a:cubicBezTo>
                  <a:lnTo>
                    <a:pt x="675164" y="157974"/>
                  </a:lnTo>
                  <a:cubicBezTo>
                    <a:pt x="675164" y="175421"/>
                    <a:pt x="661018" y="189568"/>
                    <a:pt x="643573" y="189568"/>
                  </a:cubicBezTo>
                  <a:lnTo>
                    <a:pt x="31444" y="189568"/>
                  </a:lnTo>
                  <a:cubicBezTo>
                    <a:pt x="13999" y="189568"/>
                    <a:pt x="-147" y="175421"/>
                    <a:pt x="-147" y="157974"/>
                  </a:cubicBezTo>
                  <a:close/>
                </a:path>
              </a:pathLst>
            </a:custGeom>
            <a:solidFill>
              <a:schemeClr val="tx1"/>
            </a:solidFill>
            <a:ln w="11844" cap="flat">
              <a:solidFill>
                <a:schemeClr val="bg1"/>
              </a:solidFill>
              <a:prstDash val="solid"/>
              <a:miter/>
            </a:ln>
          </p:spPr>
          <p:txBody>
            <a:bodyPr lIns="0" tIns="0" rIns="0" bIns="0" rtlCol="0" anchor="ctr"/>
            <a:lstStyle/>
            <a:p>
              <a:pPr algn="ctr"/>
              <a:r>
                <a:rPr lang="ru" sz="105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ПГ Гулистан</a:t>
              </a:r>
            </a:p>
          </p:txBody>
        </p:sp>
        <p:pic>
          <p:nvPicPr>
            <p:cNvPr id="132" name="Picture 131">
              <a:extLst>
                <a:ext uri="{FF2B5EF4-FFF2-40B4-BE49-F238E27FC236}">
                  <a16:creationId xmlns:a16="http://schemas.microsoft.com/office/drawing/2014/main" id="{AB8F5E74-8988-4986-8208-97F207B21A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1724381" y="4761397"/>
              <a:ext cx="208632" cy="171482"/>
            </a:xfrm>
            <a:prstGeom prst="rect">
              <a:avLst/>
            </a:prstGeom>
          </p:spPr>
        </p:pic>
        <p:pic>
          <p:nvPicPr>
            <p:cNvPr id="133" name="Picture 132">
              <a:extLst>
                <a:ext uri="{FF2B5EF4-FFF2-40B4-BE49-F238E27FC236}">
                  <a16:creationId xmlns:a16="http://schemas.microsoft.com/office/drawing/2014/main" id="{E915A995-C6D8-49CF-B07E-CAEBA89688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2568625" y="4854808"/>
              <a:ext cx="208632" cy="171482"/>
            </a:xfrm>
            <a:prstGeom prst="rect">
              <a:avLst/>
            </a:prstGeom>
          </p:spPr>
        </p:pic>
        <p:pic>
          <p:nvPicPr>
            <p:cNvPr id="134" name="Picture 133">
              <a:extLst>
                <a:ext uri="{FF2B5EF4-FFF2-40B4-BE49-F238E27FC236}">
                  <a16:creationId xmlns:a16="http://schemas.microsoft.com/office/drawing/2014/main" id="{4D8D4951-78F2-4279-9C21-6056CF1588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146727" y="4959663"/>
              <a:ext cx="229496" cy="188630"/>
            </a:xfrm>
            <a:prstGeom prst="rect">
              <a:avLst/>
            </a:prstGeom>
          </p:spPr>
        </p:pic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FD520ED6-350A-4334-AC41-B898BF5F3968}"/>
                </a:ext>
              </a:extLst>
            </p:cNvPr>
            <p:cNvSpPr/>
            <p:nvPr/>
          </p:nvSpPr>
          <p:spPr>
            <a:xfrm>
              <a:off x="1928112" y="5249438"/>
              <a:ext cx="107858" cy="8059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016DF484-5F9E-4060-A117-B2A5B12874DF}"/>
                </a:ext>
              </a:extLst>
            </p:cNvPr>
            <p:cNvSpPr/>
            <p:nvPr/>
          </p:nvSpPr>
          <p:spPr>
            <a:xfrm>
              <a:off x="2066033" y="5264605"/>
              <a:ext cx="107858" cy="8059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918B90F5-F145-48A9-BFB5-43049297F4B1}"/>
                </a:ext>
              </a:extLst>
            </p:cNvPr>
            <p:cNvSpPr/>
            <p:nvPr/>
          </p:nvSpPr>
          <p:spPr>
            <a:xfrm>
              <a:off x="2670103" y="4665155"/>
              <a:ext cx="396150" cy="143210"/>
            </a:xfrm>
            <a:prstGeom prst="rect">
              <a:avLst/>
            </a:prstGeom>
            <a:solidFill>
              <a:srgbClr val="EF7D3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 kern="120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80 км</a:t>
              </a:r>
              <a:endParaRPr lang="en-US" sz="110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graphicFrame>
        <p:nvGraphicFramePr>
          <p:cNvPr id="141" name="Table 5">
            <a:extLst>
              <a:ext uri="{FF2B5EF4-FFF2-40B4-BE49-F238E27FC236}">
                <a16:creationId xmlns:a16="http://schemas.microsoft.com/office/drawing/2014/main" id="{9F508A2C-A4BA-4CD8-91DE-FFE13E5D89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6020493"/>
              </p:ext>
            </p:extLst>
          </p:nvPr>
        </p:nvGraphicFramePr>
        <p:xfrm>
          <a:off x="5160762" y="1506701"/>
          <a:ext cx="6962412" cy="49526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213432">
                  <a:extLst>
                    <a:ext uri="{9D8B030D-6E8A-4147-A177-3AD203B41FA5}">
                      <a16:colId xmlns:a16="http://schemas.microsoft.com/office/drawing/2014/main" val="3112992089"/>
                    </a:ext>
                  </a:extLst>
                </a:gridCol>
                <a:gridCol w="2074606">
                  <a:extLst>
                    <a:ext uri="{9D8B030D-6E8A-4147-A177-3AD203B41FA5}">
                      <a16:colId xmlns:a16="http://schemas.microsoft.com/office/drawing/2014/main" val="3017882658"/>
                    </a:ext>
                  </a:extLst>
                </a:gridCol>
                <a:gridCol w="324465">
                  <a:extLst>
                    <a:ext uri="{9D8B030D-6E8A-4147-A177-3AD203B41FA5}">
                      <a16:colId xmlns:a16="http://schemas.microsoft.com/office/drawing/2014/main" val="2965123145"/>
                    </a:ext>
                  </a:extLst>
                </a:gridCol>
                <a:gridCol w="2005780">
                  <a:extLst>
                    <a:ext uri="{9D8B030D-6E8A-4147-A177-3AD203B41FA5}">
                      <a16:colId xmlns:a16="http://schemas.microsoft.com/office/drawing/2014/main" val="2983534675"/>
                    </a:ext>
                  </a:extLst>
                </a:gridCol>
                <a:gridCol w="344129">
                  <a:extLst>
                    <a:ext uri="{9D8B030D-6E8A-4147-A177-3AD203B41FA5}">
                      <a16:colId xmlns:a16="http://schemas.microsoft.com/office/drawing/2014/main" val="2137523748"/>
                    </a:ext>
                  </a:extLst>
                </a:gridCol>
              </a:tblGrid>
              <a:tr h="3680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" sz="1400" dirty="0">
                          <a:solidFill>
                            <a:schemeClr val="tx1"/>
                          </a:solidFill>
                        </a:rPr>
                        <a:t>Параметр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" sz="1400" dirty="0">
                          <a:solidFill>
                            <a:schemeClr val="tx1"/>
                          </a:solidFill>
                        </a:rPr>
                        <a:t>Казахстан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" sz="1400" dirty="0">
                          <a:solidFill>
                            <a:schemeClr val="tx1"/>
                          </a:solidFill>
                        </a:rPr>
                        <a:t>Узбекистан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/>
                </a:tc>
                <a:extLst>
                  <a:ext uri="{0D108BD9-81ED-4DB2-BD59-A6C34878D82A}">
                    <a16:rowId xmlns:a16="http://schemas.microsoft.com/office/drawing/2014/main" val="40721989"/>
                  </a:ext>
                </a:extLst>
              </a:tr>
              <a:tr h="6314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" sz="1200" b="1" dirty="0">
                          <a:solidFill>
                            <a:schemeClr val="tx1"/>
                          </a:solidFill>
                        </a:rPr>
                        <a:t>Расстояние от основных потребительских рынков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" sz="1200" b="0">
                          <a:solidFill>
                            <a:schemeClr val="tx1"/>
                          </a:solidFill>
                        </a:rPr>
                        <a:t>~267 км (г. Шымкент)</a:t>
                      </a:r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" sz="1200" b="0">
                          <a:solidFill>
                            <a:schemeClr val="tx1"/>
                          </a:solidFill>
                        </a:rPr>
                        <a:t>~80 км (г.Ташкент)</a:t>
                      </a:r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extLst>
                  <a:ext uri="{0D108BD9-81ED-4DB2-BD59-A6C34878D82A}">
                    <a16:rowId xmlns:a16="http://schemas.microsoft.com/office/drawing/2014/main" val="962750863"/>
                  </a:ext>
                </a:extLst>
              </a:tr>
              <a:tr h="6314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" sz="1200" b="1" dirty="0">
                          <a:solidFill>
                            <a:schemeClr val="tx1"/>
                          </a:solidFill>
                        </a:rPr>
                        <a:t>Железнодорожная связанность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" sz="1200" b="0">
                          <a:solidFill>
                            <a:schemeClr val="tx1"/>
                          </a:solidFill>
                        </a:rPr>
                        <a:t>~111 км (Сарыагашская железная дорога)</a:t>
                      </a:r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" sz="1200" b="0">
                          <a:solidFill>
                            <a:schemeClr val="tx1"/>
                          </a:solidFill>
                        </a:rPr>
                        <a:t>~80 км (Ташкентская железная дорога)</a:t>
                      </a:r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extLst>
                  <a:ext uri="{0D108BD9-81ED-4DB2-BD59-A6C34878D82A}">
                    <a16:rowId xmlns:a16="http://schemas.microsoft.com/office/drawing/2014/main" val="3187309361"/>
                  </a:ext>
                </a:extLst>
              </a:tr>
              <a:tr h="6314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" sz="1200" b="1" dirty="0">
                          <a:solidFill>
                            <a:schemeClr val="tx1"/>
                          </a:solidFill>
                        </a:rPr>
                        <a:t>Воздушная связанность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" sz="1200" b="0" dirty="0">
                          <a:solidFill>
                            <a:schemeClr val="tx1"/>
                          </a:solidFill>
                        </a:rPr>
                        <a:t>~237 км- (Аэропорт Шымкента)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" sz="1200" b="0" dirty="0">
                          <a:solidFill>
                            <a:schemeClr val="tx1"/>
                          </a:solidFill>
                        </a:rPr>
                        <a:t>~83 км (Аэропорт Ташкента)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extLst>
                  <a:ext uri="{0D108BD9-81ED-4DB2-BD59-A6C34878D82A}">
                    <a16:rowId xmlns:a16="http://schemas.microsoft.com/office/drawing/2014/main" val="1359845382"/>
                  </a:ext>
                </a:extLst>
              </a:tr>
              <a:tr h="522970">
                <a:tc>
                  <a:txBody>
                    <a:bodyPr/>
                    <a:lstStyle/>
                    <a:p>
                      <a:r>
                        <a:rPr lang="ru" sz="1200" b="1" dirty="0">
                          <a:solidFill>
                            <a:schemeClr val="tx1"/>
                          </a:solidFill>
                        </a:rPr>
                        <a:t>Ближайшая автомагистраль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r>
                        <a:rPr lang="ru" sz="1200" b="0">
                          <a:solidFill>
                            <a:schemeClr val="tx1"/>
                          </a:solidFill>
                        </a:rPr>
                        <a:t>~2 км</a:t>
                      </a:r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r>
                        <a:rPr lang="ru" sz="1200" b="0">
                          <a:solidFill>
                            <a:schemeClr val="tx1"/>
                          </a:solidFill>
                        </a:rPr>
                        <a:t>~4 км</a:t>
                      </a:r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extLst>
                  <a:ext uri="{0D108BD9-81ED-4DB2-BD59-A6C34878D82A}">
                    <a16:rowId xmlns:a16="http://schemas.microsoft.com/office/drawing/2014/main" val="2348814193"/>
                  </a:ext>
                </a:extLst>
              </a:tr>
              <a:tr h="631484">
                <a:tc>
                  <a:txBody>
                    <a:bodyPr/>
                    <a:lstStyle/>
                    <a:p>
                      <a:r>
                        <a:rPr lang="ru" sz="1200" b="1" dirty="0">
                          <a:solidFill>
                            <a:schemeClr val="tx1"/>
                          </a:solidFill>
                        </a:rPr>
                        <a:t>Ближайшее международное шоссе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r>
                        <a:rPr lang="ru" sz="1200" b="0">
                          <a:solidFill>
                            <a:schemeClr val="tx1"/>
                          </a:solidFill>
                        </a:rPr>
                        <a:t>Азиатское шоссе: 11 км.</a:t>
                      </a:r>
                    </a:p>
                    <a:p>
                      <a:r>
                        <a:rPr lang="ru" sz="1200" b="0">
                          <a:solidFill>
                            <a:schemeClr val="tx1"/>
                          </a:solidFill>
                        </a:rPr>
                        <a:t>Автомагистраль ЦАРЭС: 260 км.</a:t>
                      </a:r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r>
                        <a:rPr lang="ru" sz="1200" b="0" dirty="0">
                          <a:solidFill>
                            <a:schemeClr val="tx1"/>
                          </a:solidFill>
                        </a:rPr>
                        <a:t>Азиатское шоссе: 4 км.</a:t>
                      </a:r>
                    </a:p>
                    <a:p>
                      <a:r>
                        <a:rPr lang="ru" sz="1200" b="0" dirty="0">
                          <a:solidFill>
                            <a:schemeClr val="tx1"/>
                          </a:solidFill>
                        </a:rPr>
                        <a:t>Автомагистраль ЦАРЭС: 80 км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extLst>
                  <a:ext uri="{0D108BD9-81ED-4DB2-BD59-A6C34878D82A}">
                    <a16:rowId xmlns:a16="http://schemas.microsoft.com/office/drawing/2014/main" val="701753598"/>
                  </a:ext>
                </a:extLst>
              </a:tr>
              <a:tr h="1421742">
                <a:tc>
                  <a:txBody>
                    <a:bodyPr/>
                    <a:lstStyle/>
                    <a:p>
                      <a:r>
                        <a:rPr lang="ru" sz="1200" b="1" dirty="0">
                          <a:solidFill>
                            <a:schemeClr val="tx1"/>
                          </a:solidFill>
                        </a:rPr>
                        <a:t>Наличие квалифицированной рабочей силы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r>
                        <a:rPr lang="ru" sz="1200" b="0" dirty="0">
                          <a:solidFill>
                            <a:schemeClr val="tx1"/>
                          </a:solidFill>
                        </a:rPr>
                        <a:t>Недостаточно развитая экосистема навыков, поскольку определенный участок значительно удален от городских кластеров.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r>
                        <a:rPr lang="ru" sz="1200" b="0">
                          <a:solidFill>
                            <a:schemeClr val="tx1"/>
                          </a:solidFill>
                        </a:rPr>
                        <a:t>Имеется хорошая возможность предложения квалифицированной рабочей силы в секторах лёгкого машиностроения, текстиля, фармацевтики и т.д.</a:t>
                      </a:r>
                      <a:endParaRPr lang="en-US" sz="120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tc>
                  <a:txBody>
                    <a:bodyPr/>
                    <a:lstStyle/>
                    <a:p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651" marR="72651" marT="36325" marB="36325" anchor="ctr"/>
                </a:tc>
                <a:extLst>
                  <a:ext uri="{0D108BD9-81ED-4DB2-BD59-A6C34878D82A}">
                    <a16:rowId xmlns:a16="http://schemas.microsoft.com/office/drawing/2014/main" val="1586579140"/>
                  </a:ext>
                </a:extLst>
              </a:tr>
            </a:tbl>
          </a:graphicData>
        </a:graphic>
      </p:graphicFrame>
      <p:sp>
        <p:nvSpPr>
          <p:cNvPr id="142" name="Freeform 43">
            <a:extLst>
              <a:ext uri="{FF2B5EF4-FFF2-40B4-BE49-F238E27FC236}">
                <a16:creationId xmlns:a16="http://schemas.microsoft.com/office/drawing/2014/main" id="{47E880B2-0B24-4EFD-8F05-0033BFA2EB3F}"/>
              </a:ext>
            </a:extLst>
          </p:cNvPr>
          <p:cNvSpPr>
            <a:spLocks noChangeAspect="1" noEditPoints="1"/>
          </p:cNvSpPr>
          <p:nvPr/>
        </p:nvSpPr>
        <p:spPr bwMode="auto">
          <a:xfrm flipV="1">
            <a:off x="9509842" y="2087212"/>
            <a:ext cx="184092" cy="182880"/>
          </a:xfrm>
          <a:custGeom>
            <a:avLst/>
            <a:gdLst>
              <a:gd name="T0" fmla="*/ 30 w 200"/>
              <a:gd name="T1" fmla="*/ 77 h 199"/>
              <a:gd name="T2" fmla="*/ 7 w 200"/>
              <a:gd name="T3" fmla="*/ 77 h 199"/>
              <a:gd name="T4" fmla="*/ 0 w 200"/>
              <a:gd name="T5" fmla="*/ 83 h 199"/>
              <a:gd name="T6" fmla="*/ 0 w 200"/>
              <a:gd name="T7" fmla="*/ 188 h 199"/>
              <a:gd name="T8" fmla="*/ 7 w 200"/>
              <a:gd name="T9" fmla="*/ 195 h 199"/>
              <a:gd name="T10" fmla="*/ 18 w 200"/>
              <a:gd name="T11" fmla="*/ 195 h 199"/>
              <a:gd name="T12" fmla="*/ 36 w 200"/>
              <a:gd name="T13" fmla="*/ 177 h 199"/>
              <a:gd name="T14" fmla="*/ 36 w 200"/>
              <a:gd name="T15" fmla="*/ 83 h 199"/>
              <a:gd name="T16" fmla="*/ 30 w 200"/>
              <a:gd name="T17" fmla="*/ 77 h 199"/>
              <a:gd name="T18" fmla="*/ 182 w 200"/>
              <a:gd name="T19" fmla="*/ 82 h 199"/>
              <a:gd name="T20" fmla="*/ 154 w 200"/>
              <a:gd name="T21" fmla="*/ 82 h 199"/>
              <a:gd name="T22" fmla="*/ 136 w 200"/>
              <a:gd name="T23" fmla="*/ 63 h 199"/>
              <a:gd name="T24" fmla="*/ 136 w 200"/>
              <a:gd name="T25" fmla="*/ 18 h 199"/>
              <a:gd name="T26" fmla="*/ 118 w 200"/>
              <a:gd name="T27" fmla="*/ 0 h 199"/>
              <a:gd name="T28" fmla="*/ 107 w 200"/>
              <a:gd name="T29" fmla="*/ 0 h 199"/>
              <a:gd name="T30" fmla="*/ 100 w 200"/>
              <a:gd name="T31" fmla="*/ 6 h 199"/>
              <a:gd name="T32" fmla="*/ 100 w 200"/>
              <a:gd name="T33" fmla="*/ 34 h 199"/>
              <a:gd name="T34" fmla="*/ 61 w 200"/>
              <a:gd name="T35" fmla="*/ 82 h 199"/>
              <a:gd name="T36" fmla="*/ 54 w 200"/>
              <a:gd name="T37" fmla="*/ 88 h 199"/>
              <a:gd name="T38" fmla="*/ 54 w 200"/>
              <a:gd name="T39" fmla="*/ 179 h 199"/>
              <a:gd name="T40" fmla="*/ 61 w 200"/>
              <a:gd name="T41" fmla="*/ 185 h 199"/>
              <a:gd name="T42" fmla="*/ 134 w 200"/>
              <a:gd name="T43" fmla="*/ 199 h 199"/>
              <a:gd name="T44" fmla="*/ 200 w 200"/>
              <a:gd name="T45" fmla="*/ 156 h 199"/>
              <a:gd name="T46" fmla="*/ 200 w 200"/>
              <a:gd name="T47" fmla="*/ 99 h 199"/>
              <a:gd name="T48" fmla="*/ 182 w 200"/>
              <a:gd name="T49" fmla="*/ 82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00" h="199">
                <a:moveTo>
                  <a:pt x="30" y="77"/>
                </a:moveTo>
                <a:cubicBezTo>
                  <a:pt x="7" y="77"/>
                  <a:pt x="7" y="77"/>
                  <a:pt x="7" y="77"/>
                </a:cubicBezTo>
                <a:cubicBezTo>
                  <a:pt x="3" y="77"/>
                  <a:pt x="0" y="80"/>
                  <a:pt x="0" y="83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92"/>
                  <a:pt x="3" y="195"/>
                  <a:pt x="7" y="195"/>
                </a:cubicBezTo>
                <a:cubicBezTo>
                  <a:pt x="18" y="195"/>
                  <a:pt x="18" y="195"/>
                  <a:pt x="18" y="195"/>
                </a:cubicBezTo>
                <a:cubicBezTo>
                  <a:pt x="29" y="195"/>
                  <a:pt x="36" y="186"/>
                  <a:pt x="36" y="177"/>
                </a:cubicBezTo>
                <a:cubicBezTo>
                  <a:pt x="36" y="83"/>
                  <a:pt x="36" y="83"/>
                  <a:pt x="36" y="83"/>
                </a:cubicBezTo>
                <a:cubicBezTo>
                  <a:pt x="36" y="80"/>
                  <a:pt x="33" y="77"/>
                  <a:pt x="30" y="77"/>
                </a:cubicBezTo>
                <a:close/>
                <a:moveTo>
                  <a:pt x="182" y="82"/>
                </a:moveTo>
                <a:cubicBezTo>
                  <a:pt x="154" y="82"/>
                  <a:pt x="154" y="82"/>
                  <a:pt x="154" y="82"/>
                </a:cubicBezTo>
                <a:cubicBezTo>
                  <a:pt x="145" y="82"/>
                  <a:pt x="136" y="73"/>
                  <a:pt x="136" y="63"/>
                </a:cubicBezTo>
                <a:cubicBezTo>
                  <a:pt x="136" y="18"/>
                  <a:pt x="136" y="18"/>
                  <a:pt x="136" y="18"/>
                </a:cubicBezTo>
                <a:cubicBezTo>
                  <a:pt x="136" y="8"/>
                  <a:pt x="128" y="0"/>
                  <a:pt x="118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0"/>
                  <a:pt x="100" y="3"/>
                  <a:pt x="100" y="6"/>
                </a:cubicBezTo>
                <a:cubicBezTo>
                  <a:pt x="100" y="34"/>
                  <a:pt x="100" y="34"/>
                  <a:pt x="100" y="34"/>
                </a:cubicBezTo>
                <a:cubicBezTo>
                  <a:pt x="100" y="58"/>
                  <a:pt x="83" y="82"/>
                  <a:pt x="61" y="82"/>
                </a:cubicBezTo>
                <a:cubicBezTo>
                  <a:pt x="57" y="82"/>
                  <a:pt x="54" y="84"/>
                  <a:pt x="54" y="88"/>
                </a:cubicBezTo>
                <a:cubicBezTo>
                  <a:pt x="54" y="179"/>
                  <a:pt x="54" y="179"/>
                  <a:pt x="54" y="179"/>
                </a:cubicBezTo>
                <a:cubicBezTo>
                  <a:pt x="54" y="183"/>
                  <a:pt x="57" y="185"/>
                  <a:pt x="61" y="185"/>
                </a:cubicBezTo>
                <a:cubicBezTo>
                  <a:pt x="92" y="186"/>
                  <a:pt x="102" y="199"/>
                  <a:pt x="134" y="199"/>
                </a:cubicBezTo>
                <a:cubicBezTo>
                  <a:pt x="169" y="199"/>
                  <a:pt x="200" y="195"/>
                  <a:pt x="200" y="156"/>
                </a:cubicBezTo>
                <a:cubicBezTo>
                  <a:pt x="200" y="99"/>
                  <a:pt x="200" y="99"/>
                  <a:pt x="200" y="99"/>
                </a:cubicBezTo>
                <a:cubicBezTo>
                  <a:pt x="200" y="90"/>
                  <a:pt x="192" y="82"/>
                  <a:pt x="182" y="8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C177392-4D7A-4750-AEFA-AF7884344D9A}"/>
              </a:ext>
            </a:extLst>
          </p:cNvPr>
          <p:cNvCxnSpPr>
            <a:cxnSpLocks/>
          </p:cNvCxnSpPr>
          <p:nvPr/>
        </p:nvCxnSpPr>
        <p:spPr>
          <a:xfrm>
            <a:off x="9792930" y="1506701"/>
            <a:ext cx="0" cy="4838712"/>
          </a:xfrm>
          <a:prstGeom prst="line">
            <a:avLst/>
          </a:prstGeom>
          <a:ln w="12700">
            <a:solidFill>
              <a:srgbClr val="DC6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Freeform 43">
            <a:extLst>
              <a:ext uri="{FF2B5EF4-FFF2-40B4-BE49-F238E27FC236}">
                <a16:creationId xmlns:a16="http://schemas.microsoft.com/office/drawing/2014/main" id="{001C7D03-63EB-4FFE-8D9C-95095244951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865834" y="2087212"/>
            <a:ext cx="184092" cy="182880"/>
          </a:xfrm>
          <a:custGeom>
            <a:avLst/>
            <a:gdLst>
              <a:gd name="T0" fmla="*/ 30 w 200"/>
              <a:gd name="T1" fmla="*/ 77 h 199"/>
              <a:gd name="T2" fmla="*/ 7 w 200"/>
              <a:gd name="T3" fmla="*/ 77 h 199"/>
              <a:gd name="T4" fmla="*/ 0 w 200"/>
              <a:gd name="T5" fmla="*/ 83 h 199"/>
              <a:gd name="T6" fmla="*/ 0 w 200"/>
              <a:gd name="T7" fmla="*/ 188 h 199"/>
              <a:gd name="T8" fmla="*/ 7 w 200"/>
              <a:gd name="T9" fmla="*/ 195 h 199"/>
              <a:gd name="T10" fmla="*/ 18 w 200"/>
              <a:gd name="T11" fmla="*/ 195 h 199"/>
              <a:gd name="T12" fmla="*/ 36 w 200"/>
              <a:gd name="T13" fmla="*/ 177 h 199"/>
              <a:gd name="T14" fmla="*/ 36 w 200"/>
              <a:gd name="T15" fmla="*/ 83 h 199"/>
              <a:gd name="T16" fmla="*/ 30 w 200"/>
              <a:gd name="T17" fmla="*/ 77 h 199"/>
              <a:gd name="T18" fmla="*/ 182 w 200"/>
              <a:gd name="T19" fmla="*/ 82 h 199"/>
              <a:gd name="T20" fmla="*/ 154 w 200"/>
              <a:gd name="T21" fmla="*/ 82 h 199"/>
              <a:gd name="T22" fmla="*/ 136 w 200"/>
              <a:gd name="T23" fmla="*/ 63 h 199"/>
              <a:gd name="T24" fmla="*/ 136 w 200"/>
              <a:gd name="T25" fmla="*/ 18 h 199"/>
              <a:gd name="T26" fmla="*/ 118 w 200"/>
              <a:gd name="T27" fmla="*/ 0 h 199"/>
              <a:gd name="T28" fmla="*/ 107 w 200"/>
              <a:gd name="T29" fmla="*/ 0 h 199"/>
              <a:gd name="T30" fmla="*/ 100 w 200"/>
              <a:gd name="T31" fmla="*/ 6 h 199"/>
              <a:gd name="T32" fmla="*/ 100 w 200"/>
              <a:gd name="T33" fmla="*/ 34 h 199"/>
              <a:gd name="T34" fmla="*/ 61 w 200"/>
              <a:gd name="T35" fmla="*/ 82 h 199"/>
              <a:gd name="T36" fmla="*/ 54 w 200"/>
              <a:gd name="T37" fmla="*/ 88 h 199"/>
              <a:gd name="T38" fmla="*/ 54 w 200"/>
              <a:gd name="T39" fmla="*/ 179 h 199"/>
              <a:gd name="T40" fmla="*/ 61 w 200"/>
              <a:gd name="T41" fmla="*/ 185 h 199"/>
              <a:gd name="T42" fmla="*/ 134 w 200"/>
              <a:gd name="T43" fmla="*/ 199 h 199"/>
              <a:gd name="T44" fmla="*/ 200 w 200"/>
              <a:gd name="T45" fmla="*/ 156 h 199"/>
              <a:gd name="T46" fmla="*/ 200 w 200"/>
              <a:gd name="T47" fmla="*/ 99 h 199"/>
              <a:gd name="T48" fmla="*/ 182 w 200"/>
              <a:gd name="T49" fmla="*/ 82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00" h="199">
                <a:moveTo>
                  <a:pt x="30" y="77"/>
                </a:moveTo>
                <a:cubicBezTo>
                  <a:pt x="7" y="77"/>
                  <a:pt x="7" y="77"/>
                  <a:pt x="7" y="77"/>
                </a:cubicBezTo>
                <a:cubicBezTo>
                  <a:pt x="3" y="77"/>
                  <a:pt x="0" y="80"/>
                  <a:pt x="0" y="83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92"/>
                  <a:pt x="3" y="195"/>
                  <a:pt x="7" y="195"/>
                </a:cubicBezTo>
                <a:cubicBezTo>
                  <a:pt x="18" y="195"/>
                  <a:pt x="18" y="195"/>
                  <a:pt x="18" y="195"/>
                </a:cubicBezTo>
                <a:cubicBezTo>
                  <a:pt x="29" y="195"/>
                  <a:pt x="36" y="186"/>
                  <a:pt x="36" y="177"/>
                </a:cubicBezTo>
                <a:cubicBezTo>
                  <a:pt x="36" y="83"/>
                  <a:pt x="36" y="83"/>
                  <a:pt x="36" y="83"/>
                </a:cubicBezTo>
                <a:cubicBezTo>
                  <a:pt x="36" y="80"/>
                  <a:pt x="33" y="77"/>
                  <a:pt x="30" y="77"/>
                </a:cubicBezTo>
                <a:close/>
                <a:moveTo>
                  <a:pt x="182" y="82"/>
                </a:moveTo>
                <a:cubicBezTo>
                  <a:pt x="154" y="82"/>
                  <a:pt x="154" y="82"/>
                  <a:pt x="154" y="82"/>
                </a:cubicBezTo>
                <a:cubicBezTo>
                  <a:pt x="145" y="82"/>
                  <a:pt x="136" y="73"/>
                  <a:pt x="136" y="63"/>
                </a:cubicBezTo>
                <a:cubicBezTo>
                  <a:pt x="136" y="18"/>
                  <a:pt x="136" y="18"/>
                  <a:pt x="136" y="18"/>
                </a:cubicBezTo>
                <a:cubicBezTo>
                  <a:pt x="136" y="8"/>
                  <a:pt x="128" y="0"/>
                  <a:pt x="118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0"/>
                  <a:pt x="100" y="3"/>
                  <a:pt x="100" y="6"/>
                </a:cubicBezTo>
                <a:cubicBezTo>
                  <a:pt x="100" y="34"/>
                  <a:pt x="100" y="34"/>
                  <a:pt x="100" y="34"/>
                </a:cubicBezTo>
                <a:cubicBezTo>
                  <a:pt x="100" y="58"/>
                  <a:pt x="83" y="82"/>
                  <a:pt x="61" y="82"/>
                </a:cubicBezTo>
                <a:cubicBezTo>
                  <a:pt x="57" y="82"/>
                  <a:pt x="54" y="84"/>
                  <a:pt x="54" y="88"/>
                </a:cubicBezTo>
                <a:cubicBezTo>
                  <a:pt x="54" y="179"/>
                  <a:pt x="54" y="179"/>
                  <a:pt x="54" y="179"/>
                </a:cubicBezTo>
                <a:cubicBezTo>
                  <a:pt x="54" y="183"/>
                  <a:pt x="57" y="185"/>
                  <a:pt x="61" y="185"/>
                </a:cubicBezTo>
                <a:cubicBezTo>
                  <a:pt x="92" y="186"/>
                  <a:pt x="102" y="199"/>
                  <a:pt x="134" y="199"/>
                </a:cubicBezTo>
                <a:cubicBezTo>
                  <a:pt x="169" y="199"/>
                  <a:pt x="200" y="195"/>
                  <a:pt x="200" y="156"/>
                </a:cubicBezTo>
                <a:cubicBezTo>
                  <a:pt x="200" y="99"/>
                  <a:pt x="200" y="99"/>
                  <a:pt x="200" y="99"/>
                </a:cubicBezTo>
                <a:cubicBezTo>
                  <a:pt x="200" y="90"/>
                  <a:pt x="192" y="82"/>
                  <a:pt x="182" y="82"/>
                </a:cubicBezTo>
                <a:close/>
              </a:path>
            </a:pathLst>
          </a:custGeom>
          <a:solidFill>
            <a:srgbClr val="2C8646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144" name="Freeform 43">
            <a:extLst>
              <a:ext uri="{FF2B5EF4-FFF2-40B4-BE49-F238E27FC236}">
                <a16:creationId xmlns:a16="http://schemas.microsoft.com/office/drawing/2014/main" id="{4D6F7F94-6FD4-424B-A10C-46B5AC816435}"/>
              </a:ext>
            </a:extLst>
          </p:cNvPr>
          <p:cNvSpPr>
            <a:spLocks noChangeAspect="1" noEditPoints="1"/>
          </p:cNvSpPr>
          <p:nvPr/>
        </p:nvSpPr>
        <p:spPr bwMode="auto">
          <a:xfrm flipV="1">
            <a:off x="9509842" y="2734672"/>
            <a:ext cx="184092" cy="182880"/>
          </a:xfrm>
          <a:custGeom>
            <a:avLst/>
            <a:gdLst>
              <a:gd name="T0" fmla="*/ 30 w 200"/>
              <a:gd name="T1" fmla="*/ 77 h 199"/>
              <a:gd name="T2" fmla="*/ 7 w 200"/>
              <a:gd name="T3" fmla="*/ 77 h 199"/>
              <a:gd name="T4" fmla="*/ 0 w 200"/>
              <a:gd name="T5" fmla="*/ 83 h 199"/>
              <a:gd name="T6" fmla="*/ 0 w 200"/>
              <a:gd name="T7" fmla="*/ 188 h 199"/>
              <a:gd name="T8" fmla="*/ 7 w 200"/>
              <a:gd name="T9" fmla="*/ 195 h 199"/>
              <a:gd name="T10" fmla="*/ 18 w 200"/>
              <a:gd name="T11" fmla="*/ 195 h 199"/>
              <a:gd name="T12" fmla="*/ 36 w 200"/>
              <a:gd name="T13" fmla="*/ 177 h 199"/>
              <a:gd name="T14" fmla="*/ 36 w 200"/>
              <a:gd name="T15" fmla="*/ 83 h 199"/>
              <a:gd name="T16" fmla="*/ 30 w 200"/>
              <a:gd name="T17" fmla="*/ 77 h 199"/>
              <a:gd name="T18" fmla="*/ 182 w 200"/>
              <a:gd name="T19" fmla="*/ 82 h 199"/>
              <a:gd name="T20" fmla="*/ 154 w 200"/>
              <a:gd name="T21" fmla="*/ 82 h 199"/>
              <a:gd name="T22" fmla="*/ 136 w 200"/>
              <a:gd name="T23" fmla="*/ 63 h 199"/>
              <a:gd name="T24" fmla="*/ 136 w 200"/>
              <a:gd name="T25" fmla="*/ 18 h 199"/>
              <a:gd name="T26" fmla="*/ 118 w 200"/>
              <a:gd name="T27" fmla="*/ 0 h 199"/>
              <a:gd name="T28" fmla="*/ 107 w 200"/>
              <a:gd name="T29" fmla="*/ 0 h 199"/>
              <a:gd name="T30" fmla="*/ 100 w 200"/>
              <a:gd name="T31" fmla="*/ 6 h 199"/>
              <a:gd name="T32" fmla="*/ 100 w 200"/>
              <a:gd name="T33" fmla="*/ 34 h 199"/>
              <a:gd name="T34" fmla="*/ 61 w 200"/>
              <a:gd name="T35" fmla="*/ 82 h 199"/>
              <a:gd name="T36" fmla="*/ 54 w 200"/>
              <a:gd name="T37" fmla="*/ 88 h 199"/>
              <a:gd name="T38" fmla="*/ 54 w 200"/>
              <a:gd name="T39" fmla="*/ 179 h 199"/>
              <a:gd name="T40" fmla="*/ 61 w 200"/>
              <a:gd name="T41" fmla="*/ 185 h 199"/>
              <a:gd name="T42" fmla="*/ 134 w 200"/>
              <a:gd name="T43" fmla="*/ 199 h 199"/>
              <a:gd name="T44" fmla="*/ 200 w 200"/>
              <a:gd name="T45" fmla="*/ 156 h 199"/>
              <a:gd name="T46" fmla="*/ 200 w 200"/>
              <a:gd name="T47" fmla="*/ 99 h 199"/>
              <a:gd name="T48" fmla="*/ 182 w 200"/>
              <a:gd name="T49" fmla="*/ 82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00" h="199">
                <a:moveTo>
                  <a:pt x="30" y="77"/>
                </a:moveTo>
                <a:cubicBezTo>
                  <a:pt x="7" y="77"/>
                  <a:pt x="7" y="77"/>
                  <a:pt x="7" y="77"/>
                </a:cubicBezTo>
                <a:cubicBezTo>
                  <a:pt x="3" y="77"/>
                  <a:pt x="0" y="80"/>
                  <a:pt x="0" y="83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92"/>
                  <a:pt x="3" y="195"/>
                  <a:pt x="7" y="195"/>
                </a:cubicBezTo>
                <a:cubicBezTo>
                  <a:pt x="18" y="195"/>
                  <a:pt x="18" y="195"/>
                  <a:pt x="18" y="195"/>
                </a:cubicBezTo>
                <a:cubicBezTo>
                  <a:pt x="29" y="195"/>
                  <a:pt x="36" y="186"/>
                  <a:pt x="36" y="177"/>
                </a:cubicBezTo>
                <a:cubicBezTo>
                  <a:pt x="36" y="83"/>
                  <a:pt x="36" y="83"/>
                  <a:pt x="36" y="83"/>
                </a:cubicBezTo>
                <a:cubicBezTo>
                  <a:pt x="36" y="80"/>
                  <a:pt x="33" y="77"/>
                  <a:pt x="30" y="77"/>
                </a:cubicBezTo>
                <a:close/>
                <a:moveTo>
                  <a:pt x="182" y="82"/>
                </a:moveTo>
                <a:cubicBezTo>
                  <a:pt x="154" y="82"/>
                  <a:pt x="154" y="82"/>
                  <a:pt x="154" y="82"/>
                </a:cubicBezTo>
                <a:cubicBezTo>
                  <a:pt x="145" y="82"/>
                  <a:pt x="136" y="73"/>
                  <a:pt x="136" y="63"/>
                </a:cubicBezTo>
                <a:cubicBezTo>
                  <a:pt x="136" y="18"/>
                  <a:pt x="136" y="18"/>
                  <a:pt x="136" y="18"/>
                </a:cubicBezTo>
                <a:cubicBezTo>
                  <a:pt x="136" y="8"/>
                  <a:pt x="128" y="0"/>
                  <a:pt x="118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0"/>
                  <a:pt x="100" y="3"/>
                  <a:pt x="100" y="6"/>
                </a:cubicBezTo>
                <a:cubicBezTo>
                  <a:pt x="100" y="34"/>
                  <a:pt x="100" y="34"/>
                  <a:pt x="100" y="34"/>
                </a:cubicBezTo>
                <a:cubicBezTo>
                  <a:pt x="100" y="58"/>
                  <a:pt x="83" y="82"/>
                  <a:pt x="61" y="82"/>
                </a:cubicBezTo>
                <a:cubicBezTo>
                  <a:pt x="57" y="82"/>
                  <a:pt x="54" y="84"/>
                  <a:pt x="54" y="88"/>
                </a:cubicBezTo>
                <a:cubicBezTo>
                  <a:pt x="54" y="179"/>
                  <a:pt x="54" y="179"/>
                  <a:pt x="54" y="179"/>
                </a:cubicBezTo>
                <a:cubicBezTo>
                  <a:pt x="54" y="183"/>
                  <a:pt x="57" y="185"/>
                  <a:pt x="61" y="185"/>
                </a:cubicBezTo>
                <a:cubicBezTo>
                  <a:pt x="92" y="186"/>
                  <a:pt x="102" y="199"/>
                  <a:pt x="134" y="199"/>
                </a:cubicBezTo>
                <a:cubicBezTo>
                  <a:pt x="169" y="199"/>
                  <a:pt x="200" y="195"/>
                  <a:pt x="200" y="156"/>
                </a:cubicBezTo>
                <a:cubicBezTo>
                  <a:pt x="200" y="99"/>
                  <a:pt x="200" y="99"/>
                  <a:pt x="200" y="99"/>
                </a:cubicBezTo>
                <a:cubicBezTo>
                  <a:pt x="200" y="90"/>
                  <a:pt x="192" y="82"/>
                  <a:pt x="182" y="8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145" name="Freeform 43">
            <a:extLst>
              <a:ext uri="{FF2B5EF4-FFF2-40B4-BE49-F238E27FC236}">
                <a16:creationId xmlns:a16="http://schemas.microsoft.com/office/drawing/2014/main" id="{58AA7A6C-FF18-4D4C-A552-D0920DAEB93B}"/>
              </a:ext>
            </a:extLst>
          </p:cNvPr>
          <p:cNvSpPr>
            <a:spLocks noChangeAspect="1" noEditPoints="1"/>
          </p:cNvSpPr>
          <p:nvPr/>
        </p:nvSpPr>
        <p:spPr bwMode="auto">
          <a:xfrm flipV="1">
            <a:off x="11865834" y="2734672"/>
            <a:ext cx="184092" cy="182880"/>
          </a:xfrm>
          <a:custGeom>
            <a:avLst/>
            <a:gdLst>
              <a:gd name="T0" fmla="*/ 30 w 200"/>
              <a:gd name="T1" fmla="*/ 77 h 199"/>
              <a:gd name="T2" fmla="*/ 7 w 200"/>
              <a:gd name="T3" fmla="*/ 77 h 199"/>
              <a:gd name="T4" fmla="*/ 0 w 200"/>
              <a:gd name="T5" fmla="*/ 83 h 199"/>
              <a:gd name="T6" fmla="*/ 0 w 200"/>
              <a:gd name="T7" fmla="*/ 188 h 199"/>
              <a:gd name="T8" fmla="*/ 7 w 200"/>
              <a:gd name="T9" fmla="*/ 195 h 199"/>
              <a:gd name="T10" fmla="*/ 18 w 200"/>
              <a:gd name="T11" fmla="*/ 195 h 199"/>
              <a:gd name="T12" fmla="*/ 36 w 200"/>
              <a:gd name="T13" fmla="*/ 177 h 199"/>
              <a:gd name="T14" fmla="*/ 36 w 200"/>
              <a:gd name="T15" fmla="*/ 83 h 199"/>
              <a:gd name="T16" fmla="*/ 30 w 200"/>
              <a:gd name="T17" fmla="*/ 77 h 199"/>
              <a:gd name="T18" fmla="*/ 182 w 200"/>
              <a:gd name="T19" fmla="*/ 82 h 199"/>
              <a:gd name="T20" fmla="*/ 154 w 200"/>
              <a:gd name="T21" fmla="*/ 82 h 199"/>
              <a:gd name="T22" fmla="*/ 136 w 200"/>
              <a:gd name="T23" fmla="*/ 63 h 199"/>
              <a:gd name="T24" fmla="*/ 136 w 200"/>
              <a:gd name="T25" fmla="*/ 18 h 199"/>
              <a:gd name="T26" fmla="*/ 118 w 200"/>
              <a:gd name="T27" fmla="*/ 0 h 199"/>
              <a:gd name="T28" fmla="*/ 107 w 200"/>
              <a:gd name="T29" fmla="*/ 0 h 199"/>
              <a:gd name="T30" fmla="*/ 100 w 200"/>
              <a:gd name="T31" fmla="*/ 6 h 199"/>
              <a:gd name="T32" fmla="*/ 100 w 200"/>
              <a:gd name="T33" fmla="*/ 34 h 199"/>
              <a:gd name="T34" fmla="*/ 61 w 200"/>
              <a:gd name="T35" fmla="*/ 82 h 199"/>
              <a:gd name="T36" fmla="*/ 54 w 200"/>
              <a:gd name="T37" fmla="*/ 88 h 199"/>
              <a:gd name="T38" fmla="*/ 54 w 200"/>
              <a:gd name="T39" fmla="*/ 179 h 199"/>
              <a:gd name="T40" fmla="*/ 61 w 200"/>
              <a:gd name="T41" fmla="*/ 185 h 199"/>
              <a:gd name="T42" fmla="*/ 134 w 200"/>
              <a:gd name="T43" fmla="*/ 199 h 199"/>
              <a:gd name="T44" fmla="*/ 200 w 200"/>
              <a:gd name="T45" fmla="*/ 156 h 199"/>
              <a:gd name="T46" fmla="*/ 200 w 200"/>
              <a:gd name="T47" fmla="*/ 99 h 199"/>
              <a:gd name="T48" fmla="*/ 182 w 200"/>
              <a:gd name="T49" fmla="*/ 82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00" h="199">
                <a:moveTo>
                  <a:pt x="30" y="77"/>
                </a:moveTo>
                <a:cubicBezTo>
                  <a:pt x="7" y="77"/>
                  <a:pt x="7" y="77"/>
                  <a:pt x="7" y="77"/>
                </a:cubicBezTo>
                <a:cubicBezTo>
                  <a:pt x="3" y="77"/>
                  <a:pt x="0" y="80"/>
                  <a:pt x="0" y="83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92"/>
                  <a:pt x="3" y="195"/>
                  <a:pt x="7" y="195"/>
                </a:cubicBezTo>
                <a:cubicBezTo>
                  <a:pt x="18" y="195"/>
                  <a:pt x="18" y="195"/>
                  <a:pt x="18" y="195"/>
                </a:cubicBezTo>
                <a:cubicBezTo>
                  <a:pt x="29" y="195"/>
                  <a:pt x="36" y="186"/>
                  <a:pt x="36" y="177"/>
                </a:cubicBezTo>
                <a:cubicBezTo>
                  <a:pt x="36" y="83"/>
                  <a:pt x="36" y="83"/>
                  <a:pt x="36" y="83"/>
                </a:cubicBezTo>
                <a:cubicBezTo>
                  <a:pt x="36" y="80"/>
                  <a:pt x="33" y="77"/>
                  <a:pt x="30" y="77"/>
                </a:cubicBezTo>
                <a:close/>
                <a:moveTo>
                  <a:pt x="182" y="82"/>
                </a:moveTo>
                <a:cubicBezTo>
                  <a:pt x="154" y="82"/>
                  <a:pt x="154" y="82"/>
                  <a:pt x="154" y="82"/>
                </a:cubicBezTo>
                <a:cubicBezTo>
                  <a:pt x="145" y="82"/>
                  <a:pt x="136" y="73"/>
                  <a:pt x="136" y="63"/>
                </a:cubicBezTo>
                <a:cubicBezTo>
                  <a:pt x="136" y="18"/>
                  <a:pt x="136" y="18"/>
                  <a:pt x="136" y="18"/>
                </a:cubicBezTo>
                <a:cubicBezTo>
                  <a:pt x="136" y="8"/>
                  <a:pt x="128" y="0"/>
                  <a:pt x="118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0"/>
                  <a:pt x="100" y="3"/>
                  <a:pt x="100" y="6"/>
                </a:cubicBezTo>
                <a:cubicBezTo>
                  <a:pt x="100" y="34"/>
                  <a:pt x="100" y="34"/>
                  <a:pt x="100" y="34"/>
                </a:cubicBezTo>
                <a:cubicBezTo>
                  <a:pt x="100" y="58"/>
                  <a:pt x="83" y="82"/>
                  <a:pt x="61" y="82"/>
                </a:cubicBezTo>
                <a:cubicBezTo>
                  <a:pt x="57" y="82"/>
                  <a:pt x="54" y="84"/>
                  <a:pt x="54" y="88"/>
                </a:cubicBezTo>
                <a:cubicBezTo>
                  <a:pt x="54" y="179"/>
                  <a:pt x="54" y="179"/>
                  <a:pt x="54" y="179"/>
                </a:cubicBezTo>
                <a:cubicBezTo>
                  <a:pt x="54" y="183"/>
                  <a:pt x="57" y="185"/>
                  <a:pt x="61" y="185"/>
                </a:cubicBezTo>
                <a:cubicBezTo>
                  <a:pt x="92" y="186"/>
                  <a:pt x="102" y="199"/>
                  <a:pt x="134" y="199"/>
                </a:cubicBezTo>
                <a:cubicBezTo>
                  <a:pt x="169" y="199"/>
                  <a:pt x="200" y="195"/>
                  <a:pt x="200" y="156"/>
                </a:cubicBezTo>
                <a:cubicBezTo>
                  <a:pt x="200" y="99"/>
                  <a:pt x="200" y="99"/>
                  <a:pt x="200" y="99"/>
                </a:cubicBezTo>
                <a:cubicBezTo>
                  <a:pt x="200" y="90"/>
                  <a:pt x="192" y="82"/>
                  <a:pt x="182" y="8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146" name="Freeform 43">
            <a:extLst>
              <a:ext uri="{FF2B5EF4-FFF2-40B4-BE49-F238E27FC236}">
                <a16:creationId xmlns:a16="http://schemas.microsoft.com/office/drawing/2014/main" id="{377F191A-0C24-45A1-B0FF-4E4E7492B4CC}"/>
              </a:ext>
            </a:extLst>
          </p:cNvPr>
          <p:cNvSpPr>
            <a:spLocks noChangeAspect="1" noEditPoints="1"/>
          </p:cNvSpPr>
          <p:nvPr/>
        </p:nvSpPr>
        <p:spPr bwMode="auto">
          <a:xfrm flipV="1">
            <a:off x="9509842" y="3381383"/>
            <a:ext cx="184092" cy="182880"/>
          </a:xfrm>
          <a:custGeom>
            <a:avLst/>
            <a:gdLst>
              <a:gd name="T0" fmla="*/ 30 w 200"/>
              <a:gd name="T1" fmla="*/ 77 h 199"/>
              <a:gd name="T2" fmla="*/ 7 w 200"/>
              <a:gd name="T3" fmla="*/ 77 h 199"/>
              <a:gd name="T4" fmla="*/ 0 w 200"/>
              <a:gd name="T5" fmla="*/ 83 h 199"/>
              <a:gd name="T6" fmla="*/ 0 w 200"/>
              <a:gd name="T7" fmla="*/ 188 h 199"/>
              <a:gd name="T8" fmla="*/ 7 w 200"/>
              <a:gd name="T9" fmla="*/ 195 h 199"/>
              <a:gd name="T10" fmla="*/ 18 w 200"/>
              <a:gd name="T11" fmla="*/ 195 h 199"/>
              <a:gd name="T12" fmla="*/ 36 w 200"/>
              <a:gd name="T13" fmla="*/ 177 h 199"/>
              <a:gd name="T14" fmla="*/ 36 w 200"/>
              <a:gd name="T15" fmla="*/ 83 h 199"/>
              <a:gd name="T16" fmla="*/ 30 w 200"/>
              <a:gd name="T17" fmla="*/ 77 h 199"/>
              <a:gd name="T18" fmla="*/ 182 w 200"/>
              <a:gd name="T19" fmla="*/ 82 h 199"/>
              <a:gd name="T20" fmla="*/ 154 w 200"/>
              <a:gd name="T21" fmla="*/ 82 h 199"/>
              <a:gd name="T22" fmla="*/ 136 w 200"/>
              <a:gd name="T23" fmla="*/ 63 h 199"/>
              <a:gd name="T24" fmla="*/ 136 w 200"/>
              <a:gd name="T25" fmla="*/ 18 h 199"/>
              <a:gd name="T26" fmla="*/ 118 w 200"/>
              <a:gd name="T27" fmla="*/ 0 h 199"/>
              <a:gd name="T28" fmla="*/ 107 w 200"/>
              <a:gd name="T29" fmla="*/ 0 h 199"/>
              <a:gd name="T30" fmla="*/ 100 w 200"/>
              <a:gd name="T31" fmla="*/ 6 h 199"/>
              <a:gd name="T32" fmla="*/ 100 w 200"/>
              <a:gd name="T33" fmla="*/ 34 h 199"/>
              <a:gd name="T34" fmla="*/ 61 w 200"/>
              <a:gd name="T35" fmla="*/ 82 h 199"/>
              <a:gd name="T36" fmla="*/ 54 w 200"/>
              <a:gd name="T37" fmla="*/ 88 h 199"/>
              <a:gd name="T38" fmla="*/ 54 w 200"/>
              <a:gd name="T39" fmla="*/ 179 h 199"/>
              <a:gd name="T40" fmla="*/ 61 w 200"/>
              <a:gd name="T41" fmla="*/ 185 h 199"/>
              <a:gd name="T42" fmla="*/ 134 w 200"/>
              <a:gd name="T43" fmla="*/ 199 h 199"/>
              <a:gd name="T44" fmla="*/ 200 w 200"/>
              <a:gd name="T45" fmla="*/ 156 h 199"/>
              <a:gd name="T46" fmla="*/ 200 w 200"/>
              <a:gd name="T47" fmla="*/ 99 h 199"/>
              <a:gd name="T48" fmla="*/ 182 w 200"/>
              <a:gd name="T49" fmla="*/ 82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00" h="199">
                <a:moveTo>
                  <a:pt x="30" y="77"/>
                </a:moveTo>
                <a:cubicBezTo>
                  <a:pt x="7" y="77"/>
                  <a:pt x="7" y="77"/>
                  <a:pt x="7" y="77"/>
                </a:cubicBezTo>
                <a:cubicBezTo>
                  <a:pt x="3" y="77"/>
                  <a:pt x="0" y="80"/>
                  <a:pt x="0" y="83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92"/>
                  <a:pt x="3" y="195"/>
                  <a:pt x="7" y="195"/>
                </a:cubicBezTo>
                <a:cubicBezTo>
                  <a:pt x="18" y="195"/>
                  <a:pt x="18" y="195"/>
                  <a:pt x="18" y="195"/>
                </a:cubicBezTo>
                <a:cubicBezTo>
                  <a:pt x="29" y="195"/>
                  <a:pt x="36" y="186"/>
                  <a:pt x="36" y="177"/>
                </a:cubicBezTo>
                <a:cubicBezTo>
                  <a:pt x="36" y="83"/>
                  <a:pt x="36" y="83"/>
                  <a:pt x="36" y="83"/>
                </a:cubicBezTo>
                <a:cubicBezTo>
                  <a:pt x="36" y="80"/>
                  <a:pt x="33" y="77"/>
                  <a:pt x="30" y="77"/>
                </a:cubicBezTo>
                <a:close/>
                <a:moveTo>
                  <a:pt x="182" y="82"/>
                </a:moveTo>
                <a:cubicBezTo>
                  <a:pt x="154" y="82"/>
                  <a:pt x="154" y="82"/>
                  <a:pt x="154" y="82"/>
                </a:cubicBezTo>
                <a:cubicBezTo>
                  <a:pt x="145" y="82"/>
                  <a:pt x="136" y="73"/>
                  <a:pt x="136" y="63"/>
                </a:cubicBezTo>
                <a:cubicBezTo>
                  <a:pt x="136" y="18"/>
                  <a:pt x="136" y="18"/>
                  <a:pt x="136" y="18"/>
                </a:cubicBezTo>
                <a:cubicBezTo>
                  <a:pt x="136" y="8"/>
                  <a:pt x="128" y="0"/>
                  <a:pt x="118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0"/>
                  <a:pt x="100" y="3"/>
                  <a:pt x="100" y="6"/>
                </a:cubicBezTo>
                <a:cubicBezTo>
                  <a:pt x="100" y="34"/>
                  <a:pt x="100" y="34"/>
                  <a:pt x="100" y="34"/>
                </a:cubicBezTo>
                <a:cubicBezTo>
                  <a:pt x="100" y="58"/>
                  <a:pt x="83" y="82"/>
                  <a:pt x="61" y="82"/>
                </a:cubicBezTo>
                <a:cubicBezTo>
                  <a:pt x="57" y="82"/>
                  <a:pt x="54" y="84"/>
                  <a:pt x="54" y="88"/>
                </a:cubicBezTo>
                <a:cubicBezTo>
                  <a:pt x="54" y="179"/>
                  <a:pt x="54" y="179"/>
                  <a:pt x="54" y="179"/>
                </a:cubicBezTo>
                <a:cubicBezTo>
                  <a:pt x="54" y="183"/>
                  <a:pt x="57" y="185"/>
                  <a:pt x="61" y="185"/>
                </a:cubicBezTo>
                <a:cubicBezTo>
                  <a:pt x="92" y="186"/>
                  <a:pt x="102" y="199"/>
                  <a:pt x="134" y="199"/>
                </a:cubicBezTo>
                <a:cubicBezTo>
                  <a:pt x="169" y="199"/>
                  <a:pt x="200" y="195"/>
                  <a:pt x="200" y="156"/>
                </a:cubicBezTo>
                <a:cubicBezTo>
                  <a:pt x="200" y="99"/>
                  <a:pt x="200" y="99"/>
                  <a:pt x="200" y="99"/>
                </a:cubicBezTo>
                <a:cubicBezTo>
                  <a:pt x="200" y="90"/>
                  <a:pt x="192" y="82"/>
                  <a:pt x="182" y="8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148" name="Freeform 43">
            <a:extLst>
              <a:ext uri="{FF2B5EF4-FFF2-40B4-BE49-F238E27FC236}">
                <a16:creationId xmlns:a16="http://schemas.microsoft.com/office/drawing/2014/main" id="{A5A4211A-BF71-4733-8866-0EB943AABA2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09842" y="3950320"/>
            <a:ext cx="184092" cy="182880"/>
          </a:xfrm>
          <a:custGeom>
            <a:avLst/>
            <a:gdLst>
              <a:gd name="T0" fmla="*/ 30 w 200"/>
              <a:gd name="T1" fmla="*/ 77 h 199"/>
              <a:gd name="T2" fmla="*/ 7 w 200"/>
              <a:gd name="T3" fmla="*/ 77 h 199"/>
              <a:gd name="T4" fmla="*/ 0 w 200"/>
              <a:gd name="T5" fmla="*/ 83 h 199"/>
              <a:gd name="T6" fmla="*/ 0 w 200"/>
              <a:gd name="T7" fmla="*/ 188 h 199"/>
              <a:gd name="T8" fmla="*/ 7 w 200"/>
              <a:gd name="T9" fmla="*/ 195 h 199"/>
              <a:gd name="T10" fmla="*/ 18 w 200"/>
              <a:gd name="T11" fmla="*/ 195 h 199"/>
              <a:gd name="T12" fmla="*/ 36 w 200"/>
              <a:gd name="T13" fmla="*/ 177 h 199"/>
              <a:gd name="T14" fmla="*/ 36 w 200"/>
              <a:gd name="T15" fmla="*/ 83 h 199"/>
              <a:gd name="T16" fmla="*/ 30 w 200"/>
              <a:gd name="T17" fmla="*/ 77 h 199"/>
              <a:gd name="T18" fmla="*/ 182 w 200"/>
              <a:gd name="T19" fmla="*/ 82 h 199"/>
              <a:gd name="T20" fmla="*/ 154 w 200"/>
              <a:gd name="T21" fmla="*/ 82 h 199"/>
              <a:gd name="T22" fmla="*/ 136 w 200"/>
              <a:gd name="T23" fmla="*/ 63 h 199"/>
              <a:gd name="T24" fmla="*/ 136 w 200"/>
              <a:gd name="T25" fmla="*/ 18 h 199"/>
              <a:gd name="T26" fmla="*/ 118 w 200"/>
              <a:gd name="T27" fmla="*/ 0 h 199"/>
              <a:gd name="T28" fmla="*/ 107 w 200"/>
              <a:gd name="T29" fmla="*/ 0 h 199"/>
              <a:gd name="T30" fmla="*/ 100 w 200"/>
              <a:gd name="T31" fmla="*/ 6 h 199"/>
              <a:gd name="T32" fmla="*/ 100 w 200"/>
              <a:gd name="T33" fmla="*/ 34 h 199"/>
              <a:gd name="T34" fmla="*/ 61 w 200"/>
              <a:gd name="T35" fmla="*/ 82 h 199"/>
              <a:gd name="T36" fmla="*/ 54 w 200"/>
              <a:gd name="T37" fmla="*/ 88 h 199"/>
              <a:gd name="T38" fmla="*/ 54 w 200"/>
              <a:gd name="T39" fmla="*/ 179 h 199"/>
              <a:gd name="T40" fmla="*/ 61 w 200"/>
              <a:gd name="T41" fmla="*/ 185 h 199"/>
              <a:gd name="T42" fmla="*/ 134 w 200"/>
              <a:gd name="T43" fmla="*/ 199 h 199"/>
              <a:gd name="T44" fmla="*/ 200 w 200"/>
              <a:gd name="T45" fmla="*/ 156 h 199"/>
              <a:gd name="T46" fmla="*/ 200 w 200"/>
              <a:gd name="T47" fmla="*/ 99 h 199"/>
              <a:gd name="T48" fmla="*/ 182 w 200"/>
              <a:gd name="T49" fmla="*/ 82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00" h="199">
                <a:moveTo>
                  <a:pt x="30" y="77"/>
                </a:moveTo>
                <a:cubicBezTo>
                  <a:pt x="7" y="77"/>
                  <a:pt x="7" y="77"/>
                  <a:pt x="7" y="77"/>
                </a:cubicBezTo>
                <a:cubicBezTo>
                  <a:pt x="3" y="77"/>
                  <a:pt x="0" y="80"/>
                  <a:pt x="0" y="83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92"/>
                  <a:pt x="3" y="195"/>
                  <a:pt x="7" y="195"/>
                </a:cubicBezTo>
                <a:cubicBezTo>
                  <a:pt x="18" y="195"/>
                  <a:pt x="18" y="195"/>
                  <a:pt x="18" y="195"/>
                </a:cubicBezTo>
                <a:cubicBezTo>
                  <a:pt x="29" y="195"/>
                  <a:pt x="36" y="186"/>
                  <a:pt x="36" y="177"/>
                </a:cubicBezTo>
                <a:cubicBezTo>
                  <a:pt x="36" y="83"/>
                  <a:pt x="36" y="83"/>
                  <a:pt x="36" y="83"/>
                </a:cubicBezTo>
                <a:cubicBezTo>
                  <a:pt x="36" y="80"/>
                  <a:pt x="33" y="77"/>
                  <a:pt x="30" y="77"/>
                </a:cubicBezTo>
                <a:close/>
                <a:moveTo>
                  <a:pt x="182" y="82"/>
                </a:moveTo>
                <a:cubicBezTo>
                  <a:pt x="154" y="82"/>
                  <a:pt x="154" y="82"/>
                  <a:pt x="154" y="82"/>
                </a:cubicBezTo>
                <a:cubicBezTo>
                  <a:pt x="145" y="82"/>
                  <a:pt x="136" y="73"/>
                  <a:pt x="136" y="63"/>
                </a:cubicBezTo>
                <a:cubicBezTo>
                  <a:pt x="136" y="18"/>
                  <a:pt x="136" y="18"/>
                  <a:pt x="136" y="18"/>
                </a:cubicBezTo>
                <a:cubicBezTo>
                  <a:pt x="136" y="8"/>
                  <a:pt x="128" y="0"/>
                  <a:pt x="118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0"/>
                  <a:pt x="100" y="3"/>
                  <a:pt x="100" y="6"/>
                </a:cubicBezTo>
                <a:cubicBezTo>
                  <a:pt x="100" y="34"/>
                  <a:pt x="100" y="34"/>
                  <a:pt x="100" y="34"/>
                </a:cubicBezTo>
                <a:cubicBezTo>
                  <a:pt x="100" y="58"/>
                  <a:pt x="83" y="82"/>
                  <a:pt x="61" y="82"/>
                </a:cubicBezTo>
                <a:cubicBezTo>
                  <a:pt x="57" y="82"/>
                  <a:pt x="54" y="84"/>
                  <a:pt x="54" y="88"/>
                </a:cubicBezTo>
                <a:cubicBezTo>
                  <a:pt x="54" y="179"/>
                  <a:pt x="54" y="179"/>
                  <a:pt x="54" y="179"/>
                </a:cubicBezTo>
                <a:cubicBezTo>
                  <a:pt x="54" y="183"/>
                  <a:pt x="57" y="185"/>
                  <a:pt x="61" y="185"/>
                </a:cubicBezTo>
                <a:cubicBezTo>
                  <a:pt x="92" y="186"/>
                  <a:pt x="102" y="199"/>
                  <a:pt x="134" y="199"/>
                </a:cubicBezTo>
                <a:cubicBezTo>
                  <a:pt x="169" y="199"/>
                  <a:pt x="200" y="195"/>
                  <a:pt x="200" y="156"/>
                </a:cubicBezTo>
                <a:cubicBezTo>
                  <a:pt x="200" y="99"/>
                  <a:pt x="200" y="99"/>
                  <a:pt x="200" y="99"/>
                </a:cubicBezTo>
                <a:cubicBezTo>
                  <a:pt x="200" y="90"/>
                  <a:pt x="192" y="82"/>
                  <a:pt x="182" y="82"/>
                </a:cubicBezTo>
                <a:close/>
              </a:path>
            </a:pathLst>
          </a:custGeom>
          <a:solidFill>
            <a:srgbClr val="2C8646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149" name="Freeform 43">
            <a:extLst>
              <a:ext uri="{FF2B5EF4-FFF2-40B4-BE49-F238E27FC236}">
                <a16:creationId xmlns:a16="http://schemas.microsoft.com/office/drawing/2014/main" id="{61B5E39C-ACAC-4BD4-BF89-AC4BED9F8BF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865834" y="3950320"/>
            <a:ext cx="184092" cy="182880"/>
          </a:xfrm>
          <a:custGeom>
            <a:avLst/>
            <a:gdLst>
              <a:gd name="T0" fmla="*/ 30 w 200"/>
              <a:gd name="T1" fmla="*/ 77 h 199"/>
              <a:gd name="T2" fmla="*/ 7 w 200"/>
              <a:gd name="T3" fmla="*/ 77 h 199"/>
              <a:gd name="T4" fmla="*/ 0 w 200"/>
              <a:gd name="T5" fmla="*/ 83 h 199"/>
              <a:gd name="T6" fmla="*/ 0 w 200"/>
              <a:gd name="T7" fmla="*/ 188 h 199"/>
              <a:gd name="T8" fmla="*/ 7 w 200"/>
              <a:gd name="T9" fmla="*/ 195 h 199"/>
              <a:gd name="T10" fmla="*/ 18 w 200"/>
              <a:gd name="T11" fmla="*/ 195 h 199"/>
              <a:gd name="T12" fmla="*/ 36 w 200"/>
              <a:gd name="T13" fmla="*/ 177 h 199"/>
              <a:gd name="T14" fmla="*/ 36 w 200"/>
              <a:gd name="T15" fmla="*/ 83 h 199"/>
              <a:gd name="T16" fmla="*/ 30 w 200"/>
              <a:gd name="T17" fmla="*/ 77 h 199"/>
              <a:gd name="T18" fmla="*/ 182 w 200"/>
              <a:gd name="T19" fmla="*/ 82 h 199"/>
              <a:gd name="T20" fmla="*/ 154 w 200"/>
              <a:gd name="T21" fmla="*/ 82 h 199"/>
              <a:gd name="T22" fmla="*/ 136 w 200"/>
              <a:gd name="T23" fmla="*/ 63 h 199"/>
              <a:gd name="T24" fmla="*/ 136 w 200"/>
              <a:gd name="T25" fmla="*/ 18 h 199"/>
              <a:gd name="T26" fmla="*/ 118 w 200"/>
              <a:gd name="T27" fmla="*/ 0 h 199"/>
              <a:gd name="T28" fmla="*/ 107 w 200"/>
              <a:gd name="T29" fmla="*/ 0 h 199"/>
              <a:gd name="T30" fmla="*/ 100 w 200"/>
              <a:gd name="T31" fmla="*/ 6 h 199"/>
              <a:gd name="T32" fmla="*/ 100 w 200"/>
              <a:gd name="T33" fmla="*/ 34 h 199"/>
              <a:gd name="T34" fmla="*/ 61 w 200"/>
              <a:gd name="T35" fmla="*/ 82 h 199"/>
              <a:gd name="T36" fmla="*/ 54 w 200"/>
              <a:gd name="T37" fmla="*/ 88 h 199"/>
              <a:gd name="T38" fmla="*/ 54 w 200"/>
              <a:gd name="T39" fmla="*/ 179 h 199"/>
              <a:gd name="T40" fmla="*/ 61 w 200"/>
              <a:gd name="T41" fmla="*/ 185 h 199"/>
              <a:gd name="T42" fmla="*/ 134 w 200"/>
              <a:gd name="T43" fmla="*/ 199 h 199"/>
              <a:gd name="T44" fmla="*/ 200 w 200"/>
              <a:gd name="T45" fmla="*/ 156 h 199"/>
              <a:gd name="T46" fmla="*/ 200 w 200"/>
              <a:gd name="T47" fmla="*/ 99 h 199"/>
              <a:gd name="T48" fmla="*/ 182 w 200"/>
              <a:gd name="T49" fmla="*/ 82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00" h="199">
                <a:moveTo>
                  <a:pt x="30" y="77"/>
                </a:moveTo>
                <a:cubicBezTo>
                  <a:pt x="7" y="77"/>
                  <a:pt x="7" y="77"/>
                  <a:pt x="7" y="77"/>
                </a:cubicBezTo>
                <a:cubicBezTo>
                  <a:pt x="3" y="77"/>
                  <a:pt x="0" y="80"/>
                  <a:pt x="0" y="83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92"/>
                  <a:pt x="3" y="195"/>
                  <a:pt x="7" y="195"/>
                </a:cubicBezTo>
                <a:cubicBezTo>
                  <a:pt x="18" y="195"/>
                  <a:pt x="18" y="195"/>
                  <a:pt x="18" y="195"/>
                </a:cubicBezTo>
                <a:cubicBezTo>
                  <a:pt x="29" y="195"/>
                  <a:pt x="36" y="186"/>
                  <a:pt x="36" y="177"/>
                </a:cubicBezTo>
                <a:cubicBezTo>
                  <a:pt x="36" y="83"/>
                  <a:pt x="36" y="83"/>
                  <a:pt x="36" y="83"/>
                </a:cubicBezTo>
                <a:cubicBezTo>
                  <a:pt x="36" y="80"/>
                  <a:pt x="33" y="77"/>
                  <a:pt x="30" y="77"/>
                </a:cubicBezTo>
                <a:close/>
                <a:moveTo>
                  <a:pt x="182" y="82"/>
                </a:moveTo>
                <a:cubicBezTo>
                  <a:pt x="154" y="82"/>
                  <a:pt x="154" y="82"/>
                  <a:pt x="154" y="82"/>
                </a:cubicBezTo>
                <a:cubicBezTo>
                  <a:pt x="145" y="82"/>
                  <a:pt x="136" y="73"/>
                  <a:pt x="136" y="63"/>
                </a:cubicBezTo>
                <a:cubicBezTo>
                  <a:pt x="136" y="18"/>
                  <a:pt x="136" y="18"/>
                  <a:pt x="136" y="18"/>
                </a:cubicBezTo>
                <a:cubicBezTo>
                  <a:pt x="136" y="8"/>
                  <a:pt x="128" y="0"/>
                  <a:pt x="118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0"/>
                  <a:pt x="100" y="3"/>
                  <a:pt x="100" y="6"/>
                </a:cubicBezTo>
                <a:cubicBezTo>
                  <a:pt x="100" y="34"/>
                  <a:pt x="100" y="34"/>
                  <a:pt x="100" y="34"/>
                </a:cubicBezTo>
                <a:cubicBezTo>
                  <a:pt x="100" y="58"/>
                  <a:pt x="83" y="82"/>
                  <a:pt x="61" y="82"/>
                </a:cubicBezTo>
                <a:cubicBezTo>
                  <a:pt x="57" y="82"/>
                  <a:pt x="54" y="84"/>
                  <a:pt x="54" y="88"/>
                </a:cubicBezTo>
                <a:cubicBezTo>
                  <a:pt x="54" y="179"/>
                  <a:pt x="54" y="179"/>
                  <a:pt x="54" y="179"/>
                </a:cubicBezTo>
                <a:cubicBezTo>
                  <a:pt x="54" y="183"/>
                  <a:pt x="57" y="185"/>
                  <a:pt x="61" y="185"/>
                </a:cubicBezTo>
                <a:cubicBezTo>
                  <a:pt x="92" y="186"/>
                  <a:pt x="102" y="199"/>
                  <a:pt x="134" y="199"/>
                </a:cubicBezTo>
                <a:cubicBezTo>
                  <a:pt x="169" y="199"/>
                  <a:pt x="200" y="195"/>
                  <a:pt x="200" y="156"/>
                </a:cubicBezTo>
                <a:cubicBezTo>
                  <a:pt x="200" y="99"/>
                  <a:pt x="200" y="99"/>
                  <a:pt x="200" y="99"/>
                </a:cubicBezTo>
                <a:cubicBezTo>
                  <a:pt x="200" y="90"/>
                  <a:pt x="192" y="82"/>
                  <a:pt x="182" y="82"/>
                </a:cubicBezTo>
                <a:close/>
              </a:path>
            </a:pathLst>
          </a:custGeom>
          <a:solidFill>
            <a:srgbClr val="2C8646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150" name="Freeform 43">
            <a:extLst>
              <a:ext uri="{FF2B5EF4-FFF2-40B4-BE49-F238E27FC236}">
                <a16:creationId xmlns:a16="http://schemas.microsoft.com/office/drawing/2014/main" id="{E9761409-8045-474D-8EA7-8DB6AD5A4F7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09842" y="4558587"/>
            <a:ext cx="184092" cy="182880"/>
          </a:xfrm>
          <a:custGeom>
            <a:avLst/>
            <a:gdLst>
              <a:gd name="T0" fmla="*/ 30 w 200"/>
              <a:gd name="T1" fmla="*/ 77 h 199"/>
              <a:gd name="T2" fmla="*/ 7 w 200"/>
              <a:gd name="T3" fmla="*/ 77 h 199"/>
              <a:gd name="T4" fmla="*/ 0 w 200"/>
              <a:gd name="T5" fmla="*/ 83 h 199"/>
              <a:gd name="T6" fmla="*/ 0 w 200"/>
              <a:gd name="T7" fmla="*/ 188 h 199"/>
              <a:gd name="T8" fmla="*/ 7 w 200"/>
              <a:gd name="T9" fmla="*/ 195 h 199"/>
              <a:gd name="T10" fmla="*/ 18 w 200"/>
              <a:gd name="T11" fmla="*/ 195 h 199"/>
              <a:gd name="T12" fmla="*/ 36 w 200"/>
              <a:gd name="T13" fmla="*/ 177 h 199"/>
              <a:gd name="T14" fmla="*/ 36 w 200"/>
              <a:gd name="T15" fmla="*/ 83 h 199"/>
              <a:gd name="T16" fmla="*/ 30 w 200"/>
              <a:gd name="T17" fmla="*/ 77 h 199"/>
              <a:gd name="T18" fmla="*/ 182 w 200"/>
              <a:gd name="T19" fmla="*/ 82 h 199"/>
              <a:gd name="T20" fmla="*/ 154 w 200"/>
              <a:gd name="T21" fmla="*/ 82 h 199"/>
              <a:gd name="T22" fmla="*/ 136 w 200"/>
              <a:gd name="T23" fmla="*/ 63 h 199"/>
              <a:gd name="T24" fmla="*/ 136 w 200"/>
              <a:gd name="T25" fmla="*/ 18 h 199"/>
              <a:gd name="T26" fmla="*/ 118 w 200"/>
              <a:gd name="T27" fmla="*/ 0 h 199"/>
              <a:gd name="T28" fmla="*/ 107 w 200"/>
              <a:gd name="T29" fmla="*/ 0 h 199"/>
              <a:gd name="T30" fmla="*/ 100 w 200"/>
              <a:gd name="T31" fmla="*/ 6 h 199"/>
              <a:gd name="T32" fmla="*/ 100 w 200"/>
              <a:gd name="T33" fmla="*/ 34 h 199"/>
              <a:gd name="T34" fmla="*/ 61 w 200"/>
              <a:gd name="T35" fmla="*/ 82 h 199"/>
              <a:gd name="T36" fmla="*/ 54 w 200"/>
              <a:gd name="T37" fmla="*/ 88 h 199"/>
              <a:gd name="T38" fmla="*/ 54 w 200"/>
              <a:gd name="T39" fmla="*/ 179 h 199"/>
              <a:gd name="T40" fmla="*/ 61 w 200"/>
              <a:gd name="T41" fmla="*/ 185 h 199"/>
              <a:gd name="T42" fmla="*/ 134 w 200"/>
              <a:gd name="T43" fmla="*/ 199 h 199"/>
              <a:gd name="T44" fmla="*/ 200 w 200"/>
              <a:gd name="T45" fmla="*/ 156 h 199"/>
              <a:gd name="T46" fmla="*/ 200 w 200"/>
              <a:gd name="T47" fmla="*/ 99 h 199"/>
              <a:gd name="T48" fmla="*/ 182 w 200"/>
              <a:gd name="T49" fmla="*/ 82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00" h="199">
                <a:moveTo>
                  <a:pt x="30" y="77"/>
                </a:moveTo>
                <a:cubicBezTo>
                  <a:pt x="7" y="77"/>
                  <a:pt x="7" y="77"/>
                  <a:pt x="7" y="77"/>
                </a:cubicBezTo>
                <a:cubicBezTo>
                  <a:pt x="3" y="77"/>
                  <a:pt x="0" y="80"/>
                  <a:pt x="0" y="83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92"/>
                  <a:pt x="3" y="195"/>
                  <a:pt x="7" y="195"/>
                </a:cubicBezTo>
                <a:cubicBezTo>
                  <a:pt x="18" y="195"/>
                  <a:pt x="18" y="195"/>
                  <a:pt x="18" y="195"/>
                </a:cubicBezTo>
                <a:cubicBezTo>
                  <a:pt x="29" y="195"/>
                  <a:pt x="36" y="186"/>
                  <a:pt x="36" y="177"/>
                </a:cubicBezTo>
                <a:cubicBezTo>
                  <a:pt x="36" y="83"/>
                  <a:pt x="36" y="83"/>
                  <a:pt x="36" y="83"/>
                </a:cubicBezTo>
                <a:cubicBezTo>
                  <a:pt x="36" y="80"/>
                  <a:pt x="33" y="77"/>
                  <a:pt x="30" y="77"/>
                </a:cubicBezTo>
                <a:close/>
                <a:moveTo>
                  <a:pt x="182" y="82"/>
                </a:moveTo>
                <a:cubicBezTo>
                  <a:pt x="154" y="82"/>
                  <a:pt x="154" y="82"/>
                  <a:pt x="154" y="82"/>
                </a:cubicBezTo>
                <a:cubicBezTo>
                  <a:pt x="145" y="82"/>
                  <a:pt x="136" y="73"/>
                  <a:pt x="136" y="63"/>
                </a:cubicBezTo>
                <a:cubicBezTo>
                  <a:pt x="136" y="18"/>
                  <a:pt x="136" y="18"/>
                  <a:pt x="136" y="18"/>
                </a:cubicBezTo>
                <a:cubicBezTo>
                  <a:pt x="136" y="8"/>
                  <a:pt x="128" y="0"/>
                  <a:pt x="118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0"/>
                  <a:pt x="100" y="3"/>
                  <a:pt x="100" y="6"/>
                </a:cubicBezTo>
                <a:cubicBezTo>
                  <a:pt x="100" y="34"/>
                  <a:pt x="100" y="34"/>
                  <a:pt x="100" y="34"/>
                </a:cubicBezTo>
                <a:cubicBezTo>
                  <a:pt x="100" y="58"/>
                  <a:pt x="83" y="82"/>
                  <a:pt x="61" y="82"/>
                </a:cubicBezTo>
                <a:cubicBezTo>
                  <a:pt x="57" y="82"/>
                  <a:pt x="54" y="84"/>
                  <a:pt x="54" y="88"/>
                </a:cubicBezTo>
                <a:cubicBezTo>
                  <a:pt x="54" y="179"/>
                  <a:pt x="54" y="179"/>
                  <a:pt x="54" y="179"/>
                </a:cubicBezTo>
                <a:cubicBezTo>
                  <a:pt x="54" y="183"/>
                  <a:pt x="57" y="185"/>
                  <a:pt x="61" y="185"/>
                </a:cubicBezTo>
                <a:cubicBezTo>
                  <a:pt x="92" y="186"/>
                  <a:pt x="102" y="199"/>
                  <a:pt x="134" y="199"/>
                </a:cubicBezTo>
                <a:cubicBezTo>
                  <a:pt x="169" y="199"/>
                  <a:pt x="200" y="195"/>
                  <a:pt x="200" y="156"/>
                </a:cubicBezTo>
                <a:cubicBezTo>
                  <a:pt x="200" y="99"/>
                  <a:pt x="200" y="99"/>
                  <a:pt x="200" y="99"/>
                </a:cubicBezTo>
                <a:cubicBezTo>
                  <a:pt x="200" y="90"/>
                  <a:pt x="192" y="82"/>
                  <a:pt x="182" y="82"/>
                </a:cubicBezTo>
                <a:close/>
              </a:path>
            </a:pathLst>
          </a:custGeom>
          <a:solidFill>
            <a:srgbClr val="2C8646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151" name="Freeform 43">
            <a:extLst>
              <a:ext uri="{FF2B5EF4-FFF2-40B4-BE49-F238E27FC236}">
                <a16:creationId xmlns:a16="http://schemas.microsoft.com/office/drawing/2014/main" id="{1CA8E6FD-850E-4EC7-B5B0-0706202EB99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865834" y="4558587"/>
            <a:ext cx="184092" cy="182880"/>
          </a:xfrm>
          <a:custGeom>
            <a:avLst/>
            <a:gdLst>
              <a:gd name="T0" fmla="*/ 30 w 200"/>
              <a:gd name="T1" fmla="*/ 77 h 199"/>
              <a:gd name="T2" fmla="*/ 7 w 200"/>
              <a:gd name="T3" fmla="*/ 77 h 199"/>
              <a:gd name="T4" fmla="*/ 0 w 200"/>
              <a:gd name="T5" fmla="*/ 83 h 199"/>
              <a:gd name="T6" fmla="*/ 0 w 200"/>
              <a:gd name="T7" fmla="*/ 188 h 199"/>
              <a:gd name="T8" fmla="*/ 7 w 200"/>
              <a:gd name="T9" fmla="*/ 195 h 199"/>
              <a:gd name="T10" fmla="*/ 18 w 200"/>
              <a:gd name="T11" fmla="*/ 195 h 199"/>
              <a:gd name="T12" fmla="*/ 36 w 200"/>
              <a:gd name="T13" fmla="*/ 177 h 199"/>
              <a:gd name="T14" fmla="*/ 36 w 200"/>
              <a:gd name="T15" fmla="*/ 83 h 199"/>
              <a:gd name="T16" fmla="*/ 30 w 200"/>
              <a:gd name="T17" fmla="*/ 77 h 199"/>
              <a:gd name="T18" fmla="*/ 182 w 200"/>
              <a:gd name="T19" fmla="*/ 82 h 199"/>
              <a:gd name="T20" fmla="*/ 154 w 200"/>
              <a:gd name="T21" fmla="*/ 82 h 199"/>
              <a:gd name="T22" fmla="*/ 136 w 200"/>
              <a:gd name="T23" fmla="*/ 63 h 199"/>
              <a:gd name="T24" fmla="*/ 136 w 200"/>
              <a:gd name="T25" fmla="*/ 18 h 199"/>
              <a:gd name="T26" fmla="*/ 118 w 200"/>
              <a:gd name="T27" fmla="*/ 0 h 199"/>
              <a:gd name="T28" fmla="*/ 107 w 200"/>
              <a:gd name="T29" fmla="*/ 0 h 199"/>
              <a:gd name="T30" fmla="*/ 100 w 200"/>
              <a:gd name="T31" fmla="*/ 6 h 199"/>
              <a:gd name="T32" fmla="*/ 100 w 200"/>
              <a:gd name="T33" fmla="*/ 34 h 199"/>
              <a:gd name="T34" fmla="*/ 61 w 200"/>
              <a:gd name="T35" fmla="*/ 82 h 199"/>
              <a:gd name="T36" fmla="*/ 54 w 200"/>
              <a:gd name="T37" fmla="*/ 88 h 199"/>
              <a:gd name="T38" fmla="*/ 54 w 200"/>
              <a:gd name="T39" fmla="*/ 179 h 199"/>
              <a:gd name="T40" fmla="*/ 61 w 200"/>
              <a:gd name="T41" fmla="*/ 185 h 199"/>
              <a:gd name="T42" fmla="*/ 134 w 200"/>
              <a:gd name="T43" fmla="*/ 199 h 199"/>
              <a:gd name="T44" fmla="*/ 200 w 200"/>
              <a:gd name="T45" fmla="*/ 156 h 199"/>
              <a:gd name="T46" fmla="*/ 200 w 200"/>
              <a:gd name="T47" fmla="*/ 99 h 199"/>
              <a:gd name="T48" fmla="*/ 182 w 200"/>
              <a:gd name="T49" fmla="*/ 82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00" h="199">
                <a:moveTo>
                  <a:pt x="30" y="77"/>
                </a:moveTo>
                <a:cubicBezTo>
                  <a:pt x="7" y="77"/>
                  <a:pt x="7" y="77"/>
                  <a:pt x="7" y="77"/>
                </a:cubicBezTo>
                <a:cubicBezTo>
                  <a:pt x="3" y="77"/>
                  <a:pt x="0" y="80"/>
                  <a:pt x="0" y="83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92"/>
                  <a:pt x="3" y="195"/>
                  <a:pt x="7" y="195"/>
                </a:cubicBezTo>
                <a:cubicBezTo>
                  <a:pt x="18" y="195"/>
                  <a:pt x="18" y="195"/>
                  <a:pt x="18" y="195"/>
                </a:cubicBezTo>
                <a:cubicBezTo>
                  <a:pt x="29" y="195"/>
                  <a:pt x="36" y="186"/>
                  <a:pt x="36" y="177"/>
                </a:cubicBezTo>
                <a:cubicBezTo>
                  <a:pt x="36" y="83"/>
                  <a:pt x="36" y="83"/>
                  <a:pt x="36" y="83"/>
                </a:cubicBezTo>
                <a:cubicBezTo>
                  <a:pt x="36" y="80"/>
                  <a:pt x="33" y="77"/>
                  <a:pt x="30" y="77"/>
                </a:cubicBezTo>
                <a:close/>
                <a:moveTo>
                  <a:pt x="182" y="82"/>
                </a:moveTo>
                <a:cubicBezTo>
                  <a:pt x="154" y="82"/>
                  <a:pt x="154" y="82"/>
                  <a:pt x="154" y="82"/>
                </a:cubicBezTo>
                <a:cubicBezTo>
                  <a:pt x="145" y="82"/>
                  <a:pt x="136" y="73"/>
                  <a:pt x="136" y="63"/>
                </a:cubicBezTo>
                <a:cubicBezTo>
                  <a:pt x="136" y="18"/>
                  <a:pt x="136" y="18"/>
                  <a:pt x="136" y="18"/>
                </a:cubicBezTo>
                <a:cubicBezTo>
                  <a:pt x="136" y="8"/>
                  <a:pt x="128" y="0"/>
                  <a:pt x="118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0"/>
                  <a:pt x="100" y="3"/>
                  <a:pt x="100" y="6"/>
                </a:cubicBezTo>
                <a:cubicBezTo>
                  <a:pt x="100" y="34"/>
                  <a:pt x="100" y="34"/>
                  <a:pt x="100" y="34"/>
                </a:cubicBezTo>
                <a:cubicBezTo>
                  <a:pt x="100" y="58"/>
                  <a:pt x="83" y="82"/>
                  <a:pt x="61" y="82"/>
                </a:cubicBezTo>
                <a:cubicBezTo>
                  <a:pt x="57" y="82"/>
                  <a:pt x="54" y="84"/>
                  <a:pt x="54" y="88"/>
                </a:cubicBezTo>
                <a:cubicBezTo>
                  <a:pt x="54" y="179"/>
                  <a:pt x="54" y="179"/>
                  <a:pt x="54" y="179"/>
                </a:cubicBezTo>
                <a:cubicBezTo>
                  <a:pt x="54" y="183"/>
                  <a:pt x="57" y="185"/>
                  <a:pt x="61" y="185"/>
                </a:cubicBezTo>
                <a:cubicBezTo>
                  <a:pt x="92" y="186"/>
                  <a:pt x="102" y="199"/>
                  <a:pt x="134" y="199"/>
                </a:cubicBezTo>
                <a:cubicBezTo>
                  <a:pt x="169" y="199"/>
                  <a:pt x="200" y="195"/>
                  <a:pt x="200" y="156"/>
                </a:cubicBezTo>
                <a:cubicBezTo>
                  <a:pt x="200" y="99"/>
                  <a:pt x="200" y="99"/>
                  <a:pt x="200" y="99"/>
                </a:cubicBezTo>
                <a:cubicBezTo>
                  <a:pt x="200" y="90"/>
                  <a:pt x="192" y="82"/>
                  <a:pt x="182" y="82"/>
                </a:cubicBezTo>
                <a:close/>
              </a:path>
            </a:pathLst>
          </a:custGeom>
          <a:solidFill>
            <a:srgbClr val="2C8646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154" name="Freeform 43">
            <a:extLst>
              <a:ext uri="{FF2B5EF4-FFF2-40B4-BE49-F238E27FC236}">
                <a16:creationId xmlns:a16="http://schemas.microsoft.com/office/drawing/2014/main" id="{2108DEDE-F427-4E64-A71A-D8120FA1A54A}"/>
              </a:ext>
            </a:extLst>
          </p:cNvPr>
          <p:cNvSpPr>
            <a:spLocks noChangeAspect="1" noEditPoints="1"/>
          </p:cNvSpPr>
          <p:nvPr/>
        </p:nvSpPr>
        <p:spPr bwMode="auto">
          <a:xfrm flipV="1">
            <a:off x="9509842" y="5555217"/>
            <a:ext cx="184092" cy="182880"/>
          </a:xfrm>
          <a:custGeom>
            <a:avLst/>
            <a:gdLst>
              <a:gd name="T0" fmla="*/ 30 w 200"/>
              <a:gd name="T1" fmla="*/ 77 h 199"/>
              <a:gd name="T2" fmla="*/ 7 w 200"/>
              <a:gd name="T3" fmla="*/ 77 h 199"/>
              <a:gd name="T4" fmla="*/ 0 w 200"/>
              <a:gd name="T5" fmla="*/ 83 h 199"/>
              <a:gd name="T6" fmla="*/ 0 w 200"/>
              <a:gd name="T7" fmla="*/ 188 h 199"/>
              <a:gd name="T8" fmla="*/ 7 w 200"/>
              <a:gd name="T9" fmla="*/ 195 h 199"/>
              <a:gd name="T10" fmla="*/ 18 w 200"/>
              <a:gd name="T11" fmla="*/ 195 h 199"/>
              <a:gd name="T12" fmla="*/ 36 w 200"/>
              <a:gd name="T13" fmla="*/ 177 h 199"/>
              <a:gd name="T14" fmla="*/ 36 w 200"/>
              <a:gd name="T15" fmla="*/ 83 h 199"/>
              <a:gd name="T16" fmla="*/ 30 w 200"/>
              <a:gd name="T17" fmla="*/ 77 h 199"/>
              <a:gd name="T18" fmla="*/ 182 w 200"/>
              <a:gd name="T19" fmla="*/ 82 h 199"/>
              <a:gd name="T20" fmla="*/ 154 w 200"/>
              <a:gd name="T21" fmla="*/ 82 h 199"/>
              <a:gd name="T22" fmla="*/ 136 w 200"/>
              <a:gd name="T23" fmla="*/ 63 h 199"/>
              <a:gd name="T24" fmla="*/ 136 w 200"/>
              <a:gd name="T25" fmla="*/ 18 h 199"/>
              <a:gd name="T26" fmla="*/ 118 w 200"/>
              <a:gd name="T27" fmla="*/ 0 h 199"/>
              <a:gd name="T28" fmla="*/ 107 w 200"/>
              <a:gd name="T29" fmla="*/ 0 h 199"/>
              <a:gd name="T30" fmla="*/ 100 w 200"/>
              <a:gd name="T31" fmla="*/ 6 h 199"/>
              <a:gd name="T32" fmla="*/ 100 w 200"/>
              <a:gd name="T33" fmla="*/ 34 h 199"/>
              <a:gd name="T34" fmla="*/ 61 w 200"/>
              <a:gd name="T35" fmla="*/ 82 h 199"/>
              <a:gd name="T36" fmla="*/ 54 w 200"/>
              <a:gd name="T37" fmla="*/ 88 h 199"/>
              <a:gd name="T38" fmla="*/ 54 w 200"/>
              <a:gd name="T39" fmla="*/ 179 h 199"/>
              <a:gd name="T40" fmla="*/ 61 w 200"/>
              <a:gd name="T41" fmla="*/ 185 h 199"/>
              <a:gd name="T42" fmla="*/ 134 w 200"/>
              <a:gd name="T43" fmla="*/ 199 h 199"/>
              <a:gd name="T44" fmla="*/ 200 w 200"/>
              <a:gd name="T45" fmla="*/ 156 h 199"/>
              <a:gd name="T46" fmla="*/ 200 w 200"/>
              <a:gd name="T47" fmla="*/ 99 h 199"/>
              <a:gd name="T48" fmla="*/ 182 w 200"/>
              <a:gd name="T49" fmla="*/ 82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00" h="199">
                <a:moveTo>
                  <a:pt x="30" y="77"/>
                </a:moveTo>
                <a:cubicBezTo>
                  <a:pt x="7" y="77"/>
                  <a:pt x="7" y="77"/>
                  <a:pt x="7" y="77"/>
                </a:cubicBezTo>
                <a:cubicBezTo>
                  <a:pt x="3" y="77"/>
                  <a:pt x="0" y="80"/>
                  <a:pt x="0" y="83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92"/>
                  <a:pt x="3" y="195"/>
                  <a:pt x="7" y="195"/>
                </a:cubicBezTo>
                <a:cubicBezTo>
                  <a:pt x="18" y="195"/>
                  <a:pt x="18" y="195"/>
                  <a:pt x="18" y="195"/>
                </a:cubicBezTo>
                <a:cubicBezTo>
                  <a:pt x="29" y="195"/>
                  <a:pt x="36" y="186"/>
                  <a:pt x="36" y="177"/>
                </a:cubicBezTo>
                <a:cubicBezTo>
                  <a:pt x="36" y="83"/>
                  <a:pt x="36" y="83"/>
                  <a:pt x="36" y="83"/>
                </a:cubicBezTo>
                <a:cubicBezTo>
                  <a:pt x="36" y="80"/>
                  <a:pt x="33" y="77"/>
                  <a:pt x="30" y="77"/>
                </a:cubicBezTo>
                <a:close/>
                <a:moveTo>
                  <a:pt x="182" y="82"/>
                </a:moveTo>
                <a:cubicBezTo>
                  <a:pt x="154" y="82"/>
                  <a:pt x="154" y="82"/>
                  <a:pt x="154" y="82"/>
                </a:cubicBezTo>
                <a:cubicBezTo>
                  <a:pt x="145" y="82"/>
                  <a:pt x="136" y="73"/>
                  <a:pt x="136" y="63"/>
                </a:cubicBezTo>
                <a:cubicBezTo>
                  <a:pt x="136" y="18"/>
                  <a:pt x="136" y="18"/>
                  <a:pt x="136" y="18"/>
                </a:cubicBezTo>
                <a:cubicBezTo>
                  <a:pt x="136" y="8"/>
                  <a:pt x="128" y="0"/>
                  <a:pt x="118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0"/>
                  <a:pt x="100" y="3"/>
                  <a:pt x="100" y="6"/>
                </a:cubicBezTo>
                <a:cubicBezTo>
                  <a:pt x="100" y="34"/>
                  <a:pt x="100" y="34"/>
                  <a:pt x="100" y="34"/>
                </a:cubicBezTo>
                <a:cubicBezTo>
                  <a:pt x="100" y="58"/>
                  <a:pt x="83" y="82"/>
                  <a:pt x="61" y="82"/>
                </a:cubicBezTo>
                <a:cubicBezTo>
                  <a:pt x="57" y="82"/>
                  <a:pt x="54" y="84"/>
                  <a:pt x="54" y="88"/>
                </a:cubicBezTo>
                <a:cubicBezTo>
                  <a:pt x="54" y="179"/>
                  <a:pt x="54" y="179"/>
                  <a:pt x="54" y="179"/>
                </a:cubicBezTo>
                <a:cubicBezTo>
                  <a:pt x="54" y="183"/>
                  <a:pt x="57" y="185"/>
                  <a:pt x="61" y="185"/>
                </a:cubicBezTo>
                <a:cubicBezTo>
                  <a:pt x="92" y="186"/>
                  <a:pt x="102" y="199"/>
                  <a:pt x="134" y="199"/>
                </a:cubicBezTo>
                <a:cubicBezTo>
                  <a:pt x="169" y="199"/>
                  <a:pt x="200" y="195"/>
                  <a:pt x="200" y="156"/>
                </a:cubicBezTo>
                <a:cubicBezTo>
                  <a:pt x="200" y="99"/>
                  <a:pt x="200" y="99"/>
                  <a:pt x="200" y="99"/>
                </a:cubicBezTo>
                <a:cubicBezTo>
                  <a:pt x="200" y="90"/>
                  <a:pt x="192" y="82"/>
                  <a:pt x="182" y="8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155" name="Freeform 43">
            <a:extLst>
              <a:ext uri="{FF2B5EF4-FFF2-40B4-BE49-F238E27FC236}">
                <a16:creationId xmlns:a16="http://schemas.microsoft.com/office/drawing/2014/main" id="{AF0727E3-5DCD-4556-AA3F-0BD49C06589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865834" y="5555217"/>
            <a:ext cx="184092" cy="182880"/>
          </a:xfrm>
          <a:custGeom>
            <a:avLst/>
            <a:gdLst>
              <a:gd name="T0" fmla="*/ 30 w 200"/>
              <a:gd name="T1" fmla="*/ 77 h 199"/>
              <a:gd name="T2" fmla="*/ 7 w 200"/>
              <a:gd name="T3" fmla="*/ 77 h 199"/>
              <a:gd name="T4" fmla="*/ 0 w 200"/>
              <a:gd name="T5" fmla="*/ 83 h 199"/>
              <a:gd name="T6" fmla="*/ 0 w 200"/>
              <a:gd name="T7" fmla="*/ 188 h 199"/>
              <a:gd name="T8" fmla="*/ 7 w 200"/>
              <a:gd name="T9" fmla="*/ 195 h 199"/>
              <a:gd name="T10" fmla="*/ 18 w 200"/>
              <a:gd name="T11" fmla="*/ 195 h 199"/>
              <a:gd name="T12" fmla="*/ 36 w 200"/>
              <a:gd name="T13" fmla="*/ 177 h 199"/>
              <a:gd name="T14" fmla="*/ 36 w 200"/>
              <a:gd name="T15" fmla="*/ 83 h 199"/>
              <a:gd name="T16" fmla="*/ 30 w 200"/>
              <a:gd name="T17" fmla="*/ 77 h 199"/>
              <a:gd name="T18" fmla="*/ 182 w 200"/>
              <a:gd name="T19" fmla="*/ 82 h 199"/>
              <a:gd name="T20" fmla="*/ 154 w 200"/>
              <a:gd name="T21" fmla="*/ 82 h 199"/>
              <a:gd name="T22" fmla="*/ 136 w 200"/>
              <a:gd name="T23" fmla="*/ 63 h 199"/>
              <a:gd name="T24" fmla="*/ 136 w 200"/>
              <a:gd name="T25" fmla="*/ 18 h 199"/>
              <a:gd name="T26" fmla="*/ 118 w 200"/>
              <a:gd name="T27" fmla="*/ 0 h 199"/>
              <a:gd name="T28" fmla="*/ 107 w 200"/>
              <a:gd name="T29" fmla="*/ 0 h 199"/>
              <a:gd name="T30" fmla="*/ 100 w 200"/>
              <a:gd name="T31" fmla="*/ 6 h 199"/>
              <a:gd name="T32" fmla="*/ 100 w 200"/>
              <a:gd name="T33" fmla="*/ 34 h 199"/>
              <a:gd name="T34" fmla="*/ 61 w 200"/>
              <a:gd name="T35" fmla="*/ 82 h 199"/>
              <a:gd name="T36" fmla="*/ 54 w 200"/>
              <a:gd name="T37" fmla="*/ 88 h 199"/>
              <a:gd name="T38" fmla="*/ 54 w 200"/>
              <a:gd name="T39" fmla="*/ 179 h 199"/>
              <a:gd name="T40" fmla="*/ 61 w 200"/>
              <a:gd name="T41" fmla="*/ 185 h 199"/>
              <a:gd name="T42" fmla="*/ 134 w 200"/>
              <a:gd name="T43" fmla="*/ 199 h 199"/>
              <a:gd name="T44" fmla="*/ 200 w 200"/>
              <a:gd name="T45" fmla="*/ 156 h 199"/>
              <a:gd name="T46" fmla="*/ 200 w 200"/>
              <a:gd name="T47" fmla="*/ 99 h 199"/>
              <a:gd name="T48" fmla="*/ 182 w 200"/>
              <a:gd name="T49" fmla="*/ 82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00" h="199">
                <a:moveTo>
                  <a:pt x="30" y="77"/>
                </a:moveTo>
                <a:cubicBezTo>
                  <a:pt x="7" y="77"/>
                  <a:pt x="7" y="77"/>
                  <a:pt x="7" y="77"/>
                </a:cubicBezTo>
                <a:cubicBezTo>
                  <a:pt x="3" y="77"/>
                  <a:pt x="0" y="80"/>
                  <a:pt x="0" y="83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92"/>
                  <a:pt x="3" y="195"/>
                  <a:pt x="7" y="195"/>
                </a:cubicBezTo>
                <a:cubicBezTo>
                  <a:pt x="18" y="195"/>
                  <a:pt x="18" y="195"/>
                  <a:pt x="18" y="195"/>
                </a:cubicBezTo>
                <a:cubicBezTo>
                  <a:pt x="29" y="195"/>
                  <a:pt x="36" y="186"/>
                  <a:pt x="36" y="177"/>
                </a:cubicBezTo>
                <a:cubicBezTo>
                  <a:pt x="36" y="83"/>
                  <a:pt x="36" y="83"/>
                  <a:pt x="36" y="83"/>
                </a:cubicBezTo>
                <a:cubicBezTo>
                  <a:pt x="36" y="80"/>
                  <a:pt x="33" y="77"/>
                  <a:pt x="30" y="77"/>
                </a:cubicBezTo>
                <a:close/>
                <a:moveTo>
                  <a:pt x="182" y="82"/>
                </a:moveTo>
                <a:cubicBezTo>
                  <a:pt x="154" y="82"/>
                  <a:pt x="154" y="82"/>
                  <a:pt x="154" y="82"/>
                </a:cubicBezTo>
                <a:cubicBezTo>
                  <a:pt x="145" y="82"/>
                  <a:pt x="136" y="73"/>
                  <a:pt x="136" y="63"/>
                </a:cubicBezTo>
                <a:cubicBezTo>
                  <a:pt x="136" y="18"/>
                  <a:pt x="136" y="18"/>
                  <a:pt x="136" y="18"/>
                </a:cubicBezTo>
                <a:cubicBezTo>
                  <a:pt x="136" y="8"/>
                  <a:pt x="128" y="0"/>
                  <a:pt x="118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0"/>
                  <a:pt x="100" y="3"/>
                  <a:pt x="100" y="6"/>
                </a:cubicBezTo>
                <a:cubicBezTo>
                  <a:pt x="100" y="34"/>
                  <a:pt x="100" y="34"/>
                  <a:pt x="100" y="34"/>
                </a:cubicBezTo>
                <a:cubicBezTo>
                  <a:pt x="100" y="58"/>
                  <a:pt x="83" y="82"/>
                  <a:pt x="61" y="82"/>
                </a:cubicBezTo>
                <a:cubicBezTo>
                  <a:pt x="57" y="82"/>
                  <a:pt x="54" y="84"/>
                  <a:pt x="54" y="88"/>
                </a:cubicBezTo>
                <a:cubicBezTo>
                  <a:pt x="54" y="179"/>
                  <a:pt x="54" y="179"/>
                  <a:pt x="54" y="179"/>
                </a:cubicBezTo>
                <a:cubicBezTo>
                  <a:pt x="54" y="183"/>
                  <a:pt x="57" y="185"/>
                  <a:pt x="61" y="185"/>
                </a:cubicBezTo>
                <a:cubicBezTo>
                  <a:pt x="92" y="186"/>
                  <a:pt x="102" y="199"/>
                  <a:pt x="134" y="199"/>
                </a:cubicBezTo>
                <a:cubicBezTo>
                  <a:pt x="169" y="199"/>
                  <a:pt x="200" y="195"/>
                  <a:pt x="200" y="156"/>
                </a:cubicBezTo>
                <a:cubicBezTo>
                  <a:pt x="200" y="99"/>
                  <a:pt x="200" y="99"/>
                  <a:pt x="200" y="99"/>
                </a:cubicBezTo>
                <a:cubicBezTo>
                  <a:pt x="200" y="90"/>
                  <a:pt x="192" y="82"/>
                  <a:pt x="182" y="82"/>
                </a:cubicBezTo>
                <a:close/>
              </a:path>
            </a:pathLst>
          </a:custGeom>
          <a:solidFill>
            <a:srgbClr val="2C8646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34DAB83-957A-4D89-B4A3-13FC72FF5D68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/>
              <a:t>сентябрь 2023</a:t>
            </a:r>
            <a:endParaRPr lang="ru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B436AA4-F414-46FE-BD99-2411DE4E9AC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en-US" smtClean="0"/>
              <a:pPr lvl="0"/>
              <a:t>13</a:t>
            </a:fld>
            <a:endParaRPr lang="en-US"/>
          </a:p>
        </p:txBody>
      </p:sp>
      <p:sp>
        <p:nvSpPr>
          <p:cNvPr id="157" name="Footer Placeholder 11">
            <a:extLst>
              <a:ext uri="{FF2B5EF4-FFF2-40B4-BE49-F238E27FC236}">
                <a16:creationId xmlns:a16="http://schemas.microsoft.com/office/drawing/2014/main" id="{96E38300-A83E-4DD6-996A-CAD01DA806B0}"/>
              </a:ext>
            </a:extLst>
          </p:cNvPr>
          <p:cNvSpPr txBox="1">
            <a:spLocks/>
          </p:cNvSpPr>
          <p:nvPr/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едварительное технико-экономическое обоснование создания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ЦПК</a:t>
            </a: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ри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КШТХ</a:t>
            </a:r>
            <a:endParaRPr kumimoji="0" lang="ru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Freeform 43">
            <a:extLst>
              <a:ext uri="{FF2B5EF4-FFF2-40B4-BE49-F238E27FC236}">
                <a16:creationId xmlns:a16="http://schemas.microsoft.com/office/drawing/2014/main" id="{70735080-8BAE-4FCC-847D-354D744F0D9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865834" y="3381383"/>
            <a:ext cx="184092" cy="182880"/>
          </a:xfrm>
          <a:custGeom>
            <a:avLst/>
            <a:gdLst>
              <a:gd name="T0" fmla="*/ 30 w 200"/>
              <a:gd name="T1" fmla="*/ 77 h 199"/>
              <a:gd name="T2" fmla="*/ 7 w 200"/>
              <a:gd name="T3" fmla="*/ 77 h 199"/>
              <a:gd name="T4" fmla="*/ 0 w 200"/>
              <a:gd name="T5" fmla="*/ 83 h 199"/>
              <a:gd name="T6" fmla="*/ 0 w 200"/>
              <a:gd name="T7" fmla="*/ 188 h 199"/>
              <a:gd name="T8" fmla="*/ 7 w 200"/>
              <a:gd name="T9" fmla="*/ 195 h 199"/>
              <a:gd name="T10" fmla="*/ 18 w 200"/>
              <a:gd name="T11" fmla="*/ 195 h 199"/>
              <a:gd name="T12" fmla="*/ 36 w 200"/>
              <a:gd name="T13" fmla="*/ 177 h 199"/>
              <a:gd name="T14" fmla="*/ 36 w 200"/>
              <a:gd name="T15" fmla="*/ 83 h 199"/>
              <a:gd name="T16" fmla="*/ 30 w 200"/>
              <a:gd name="T17" fmla="*/ 77 h 199"/>
              <a:gd name="T18" fmla="*/ 182 w 200"/>
              <a:gd name="T19" fmla="*/ 82 h 199"/>
              <a:gd name="T20" fmla="*/ 154 w 200"/>
              <a:gd name="T21" fmla="*/ 82 h 199"/>
              <a:gd name="T22" fmla="*/ 136 w 200"/>
              <a:gd name="T23" fmla="*/ 63 h 199"/>
              <a:gd name="T24" fmla="*/ 136 w 200"/>
              <a:gd name="T25" fmla="*/ 18 h 199"/>
              <a:gd name="T26" fmla="*/ 118 w 200"/>
              <a:gd name="T27" fmla="*/ 0 h 199"/>
              <a:gd name="T28" fmla="*/ 107 w 200"/>
              <a:gd name="T29" fmla="*/ 0 h 199"/>
              <a:gd name="T30" fmla="*/ 100 w 200"/>
              <a:gd name="T31" fmla="*/ 6 h 199"/>
              <a:gd name="T32" fmla="*/ 100 w 200"/>
              <a:gd name="T33" fmla="*/ 34 h 199"/>
              <a:gd name="T34" fmla="*/ 61 w 200"/>
              <a:gd name="T35" fmla="*/ 82 h 199"/>
              <a:gd name="T36" fmla="*/ 54 w 200"/>
              <a:gd name="T37" fmla="*/ 88 h 199"/>
              <a:gd name="T38" fmla="*/ 54 w 200"/>
              <a:gd name="T39" fmla="*/ 179 h 199"/>
              <a:gd name="T40" fmla="*/ 61 w 200"/>
              <a:gd name="T41" fmla="*/ 185 h 199"/>
              <a:gd name="T42" fmla="*/ 134 w 200"/>
              <a:gd name="T43" fmla="*/ 199 h 199"/>
              <a:gd name="T44" fmla="*/ 200 w 200"/>
              <a:gd name="T45" fmla="*/ 156 h 199"/>
              <a:gd name="T46" fmla="*/ 200 w 200"/>
              <a:gd name="T47" fmla="*/ 99 h 199"/>
              <a:gd name="T48" fmla="*/ 182 w 200"/>
              <a:gd name="T49" fmla="*/ 82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00" h="199">
                <a:moveTo>
                  <a:pt x="30" y="77"/>
                </a:moveTo>
                <a:cubicBezTo>
                  <a:pt x="7" y="77"/>
                  <a:pt x="7" y="77"/>
                  <a:pt x="7" y="77"/>
                </a:cubicBezTo>
                <a:cubicBezTo>
                  <a:pt x="3" y="77"/>
                  <a:pt x="0" y="80"/>
                  <a:pt x="0" y="83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92"/>
                  <a:pt x="3" y="195"/>
                  <a:pt x="7" y="195"/>
                </a:cubicBezTo>
                <a:cubicBezTo>
                  <a:pt x="18" y="195"/>
                  <a:pt x="18" y="195"/>
                  <a:pt x="18" y="195"/>
                </a:cubicBezTo>
                <a:cubicBezTo>
                  <a:pt x="29" y="195"/>
                  <a:pt x="36" y="186"/>
                  <a:pt x="36" y="177"/>
                </a:cubicBezTo>
                <a:cubicBezTo>
                  <a:pt x="36" y="83"/>
                  <a:pt x="36" y="83"/>
                  <a:pt x="36" y="83"/>
                </a:cubicBezTo>
                <a:cubicBezTo>
                  <a:pt x="36" y="80"/>
                  <a:pt x="33" y="77"/>
                  <a:pt x="30" y="77"/>
                </a:cubicBezTo>
                <a:close/>
                <a:moveTo>
                  <a:pt x="182" y="82"/>
                </a:moveTo>
                <a:cubicBezTo>
                  <a:pt x="154" y="82"/>
                  <a:pt x="154" y="82"/>
                  <a:pt x="154" y="82"/>
                </a:cubicBezTo>
                <a:cubicBezTo>
                  <a:pt x="145" y="82"/>
                  <a:pt x="136" y="73"/>
                  <a:pt x="136" y="63"/>
                </a:cubicBezTo>
                <a:cubicBezTo>
                  <a:pt x="136" y="18"/>
                  <a:pt x="136" y="18"/>
                  <a:pt x="136" y="18"/>
                </a:cubicBezTo>
                <a:cubicBezTo>
                  <a:pt x="136" y="8"/>
                  <a:pt x="128" y="0"/>
                  <a:pt x="118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03" y="0"/>
                  <a:pt x="100" y="3"/>
                  <a:pt x="100" y="6"/>
                </a:cubicBezTo>
                <a:cubicBezTo>
                  <a:pt x="100" y="34"/>
                  <a:pt x="100" y="34"/>
                  <a:pt x="100" y="34"/>
                </a:cubicBezTo>
                <a:cubicBezTo>
                  <a:pt x="100" y="58"/>
                  <a:pt x="83" y="82"/>
                  <a:pt x="61" y="82"/>
                </a:cubicBezTo>
                <a:cubicBezTo>
                  <a:pt x="57" y="82"/>
                  <a:pt x="54" y="84"/>
                  <a:pt x="54" y="88"/>
                </a:cubicBezTo>
                <a:cubicBezTo>
                  <a:pt x="54" y="179"/>
                  <a:pt x="54" y="179"/>
                  <a:pt x="54" y="179"/>
                </a:cubicBezTo>
                <a:cubicBezTo>
                  <a:pt x="54" y="183"/>
                  <a:pt x="57" y="185"/>
                  <a:pt x="61" y="185"/>
                </a:cubicBezTo>
                <a:cubicBezTo>
                  <a:pt x="92" y="186"/>
                  <a:pt x="102" y="199"/>
                  <a:pt x="134" y="199"/>
                </a:cubicBezTo>
                <a:cubicBezTo>
                  <a:pt x="169" y="199"/>
                  <a:pt x="200" y="195"/>
                  <a:pt x="200" y="156"/>
                </a:cubicBezTo>
                <a:cubicBezTo>
                  <a:pt x="200" y="99"/>
                  <a:pt x="200" y="99"/>
                  <a:pt x="200" y="99"/>
                </a:cubicBezTo>
                <a:cubicBezTo>
                  <a:pt x="200" y="90"/>
                  <a:pt x="192" y="82"/>
                  <a:pt x="182" y="82"/>
                </a:cubicBezTo>
                <a:close/>
              </a:path>
            </a:pathLst>
          </a:custGeom>
          <a:solidFill>
            <a:srgbClr val="2C8646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9253443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095B41-810A-40B0-8ED6-F81B04F66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6663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532" imgH="532" progId="TCLayout.ActiveDocument.1">
                  <p:embed/>
                </p:oleObj>
              </mc:Choice>
              <mc:Fallback>
                <p:oleObj name="think-cell Slide" r:id="rId28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095B41-810A-40B0-8ED6-F81B04F66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2"/>
          <p:cNvSpPr txBox="1">
            <a:spLocks noGrp="1"/>
          </p:cNvSpPr>
          <p:nvPr>
            <p:ph type="title"/>
          </p:nvPr>
        </p:nvSpPr>
        <p:spPr>
          <a:xfrm>
            <a:off x="442914" y="345559"/>
            <a:ext cx="11306175" cy="369332"/>
          </a:xfrm>
        </p:spPr>
        <p:txBody>
          <a:bodyPr anchor="ctr" anchorCtr="0">
            <a:normAutofit/>
          </a:bodyPr>
          <a:lstStyle/>
          <a:p>
            <a:pPr lvl="0"/>
            <a:r>
              <a:rPr lang="ru" sz="2400" b="0" dirty="0">
                <a:latin typeface="Georgia" panose="02040502050405020303" pitchFamily="18" charset="0"/>
              </a:rPr>
              <a:t>Отрасли, включенные в шорт-лист для развития </a:t>
            </a:r>
            <a:r>
              <a:rPr lang="ru-RU" sz="2400" b="0" dirty="0">
                <a:latin typeface="Georgia" panose="02040502050405020303" pitchFamily="18" charset="0"/>
              </a:rPr>
              <a:t>МЦПК</a:t>
            </a:r>
            <a:endParaRPr lang="ru" sz="2400" b="0" dirty="0">
              <a:latin typeface="Georgia" panose="02040502050405020303" pitchFamily="18" charset="0"/>
            </a:endParaRPr>
          </a:p>
        </p:txBody>
      </p:sp>
      <p:sp>
        <p:nvSpPr>
          <p:cNvPr id="6" name="Google Shape;1022;p95">
            <a:extLst>
              <a:ext uri="{FF2B5EF4-FFF2-40B4-BE49-F238E27FC236}">
                <a16:creationId xmlns:a16="http://schemas.microsoft.com/office/drawing/2014/main" id="{1849CC3C-3475-485E-AA2C-11D1094C32AF}"/>
              </a:ext>
            </a:extLst>
          </p:cNvPr>
          <p:cNvSpPr txBox="1"/>
          <p:nvPr/>
        </p:nvSpPr>
        <p:spPr>
          <a:xfrm>
            <a:off x="282870" y="1186144"/>
            <a:ext cx="6322718" cy="487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ru" sz="1400" b="1" i="1" dirty="0">
                <a:cs typeface="Arial" pitchFamily="34" charset="0"/>
                <a:sym typeface="Arial"/>
              </a:rPr>
              <a:t>Шаг 1: </a:t>
            </a:r>
            <a:r>
              <a:rPr lang="ru" sz="1400" i="1" dirty="0">
                <a:cs typeface="Arial" pitchFamily="34" charset="0"/>
                <a:sym typeface="Arial"/>
              </a:rPr>
              <a:t>На основе короткого списка секторов </a:t>
            </a:r>
            <a:r>
              <a:rPr lang="ru" sz="1400" i="1" dirty="0">
                <a:cs typeface="Arial" pitchFamily="34" charset="0"/>
              </a:rPr>
              <a:t>для дальнейшего рассмотрения выбрано 7 секторов.</a:t>
            </a:r>
            <a:endParaRPr lang="en-US" sz="1400" i="1" dirty="0">
              <a:cs typeface="Arial" pitchFamily="34" charset="0"/>
              <a:sym typeface="Arial"/>
            </a:endParaRPr>
          </a:p>
        </p:txBody>
      </p:sp>
      <p:graphicFrame>
        <p:nvGraphicFramePr>
          <p:cNvPr id="76" name="Chart 75">
            <a:extLst>
              <a:ext uri="{FF2B5EF4-FFF2-40B4-BE49-F238E27FC236}">
                <a16:creationId xmlns:a16="http://schemas.microsoft.com/office/drawing/2014/main" id="{F60E9977-3B01-44CA-8B11-5FF813CB2D9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79510245"/>
              </p:ext>
            </p:extLst>
          </p:nvPr>
        </p:nvGraphicFramePr>
        <p:xfrm>
          <a:off x="236538" y="1849438"/>
          <a:ext cx="6313487" cy="4492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E586A458-2827-44AE-9F0B-B76249500F00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2438400" y="1976438"/>
            <a:ext cx="0" cy="40132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8" name="Straight Connector 407">
            <a:extLst>
              <a:ext uri="{FF2B5EF4-FFF2-40B4-BE49-F238E27FC236}">
                <a16:creationId xmlns:a16="http://schemas.microsoft.com/office/drawing/2014/main" id="{2F59780C-137E-464F-A4E6-F167FC005B7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69913" y="4386263"/>
            <a:ext cx="5773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F5E635B5-2854-4552-BEDC-351761DFB88A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5702300" y="4132263"/>
            <a:ext cx="187325" cy="1889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2837E7E-2F9F-4DBF-8290-04D1F05308B7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V="1">
            <a:off x="3063875" y="4635500"/>
            <a:ext cx="0" cy="1825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0BFC3B26-09F8-46E4-AF66-9BF9561C387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303837" y="6244903"/>
            <a:ext cx="11207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Сравнительный потенциал</a:t>
            </a:r>
            <a:endParaRPr lang="en-US" sz="800" b="1" noProof="0" dirty="0"/>
          </a:p>
        </p:txBody>
      </p:sp>
      <p:sp>
        <p:nvSpPr>
          <p:cNvPr id="295" name="Text Placeholder 2">
            <a:extLst>
              <a:ext uri="{FF2B5EF4-FFF2-40B4-BE49-F238E27FC236}">
                <a16:creationId xmlns:a16="http://schemas.microsoft.com/office/drawing/2014/main" id="{272C4D62-788D-4599-9241-DB179683A4D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82563" y="1712913"/>
            <a:ext cx="7747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Будущий потенциал</a:t>
            </a:r>
            <a:endParaRPr lang="en-US" sz="800" b="1" noProof="0" dirty="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003D78D4-2C4D-4CCC-9856-F3448DAFA58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210175" y="3365500"/>
            <a:ext cx="6540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>
                <a:solidFill>
                  <a:schemeClr val="bg1"/>
                </a:solidFill>
              </a:rPr>
              <a:t>Основные </a:t>
            </a:r>
          </a:p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>
                <a:solidFill>
                  <a:schemeClr val="bg1"/>
                </a:solidFill>
              </a:rPr>
              <a:t>металлы</a:t>
            </a:r>
            <a:endParaRPr lang="en-US" sz="800" b="1" noProof="0" dirty="0">
              <a:solidFill>
                <a:schemeClr val="bg1"/>
              </a:solidFill>
            </a:endParaRPr>
          </a:p>
        </p:txBody>
      </p:sp>
      <p:sp useBgFill="1">
        <p:nvSpPr>
          <p:cNvPr id="180" name="Text Placeholder 2">
            <a:extLst>
              <a:ext uri="{FF2B5EF4-FFF2-40B4-BE49-F238E27FC236}">
                <a16:creationId xmlns:a16="http://schemas.microsoft.com/office/drawing/2014/main" id="{2ABEFAA9-9A16-44E4-893A-D85536616A1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37125" y="4321175"/>
            <a:ext cx="1406525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Текстиль и одежда</a:t>
            </a:r>
            <a:endParaRPr lang="en-US" sz="800" b="1" noProof="0" dirty="0"/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532A8569-D6D7-4CF0-8AEE-48A6882FBBA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064000" y="3852863"/>
            <a:ext cx="862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Переработка </a:t>
            </a:r>
          </a:p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пищевых продуктов</a:t>
            </a:r>
            <a:endParaRPr lang="en-US" sz="800" b="1" noProof="0" dirty="0"/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F373F504-8F5F-4013-82F4-49CDD56C743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149600" y="3222625"/>
            <a:ext cx="8477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Фармацевтика</a:t>
            </a:r>
            <a:endParaRPr lang="en-US" sz="800" b="1" noProof="0" dirty="0"/>
          </a:p>
        </p:txBody>
      </p:sp>
      <p:sp useBgFill="1">
        <p:nvSpPr>
          <p:cNvPr id="228" name="Text Placeholder 2">
            <a:extLst>
              <a:ext uri="{FF2B5EF4-FFF2-40B4-BE49-F238E27FC236}">
                <a16:creationId xmlns:a16="http://schemas.microsoft.com/office/drawing/2014/main" id="{C5C90CAF-AF94-43D8-AF05-362DC2DFB03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166938" y="4818063"/>
            <a:ext cx="1795463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Другие неметаллические минеральные продукты</a:t>
            </a:r>
            <a:endParaRPr lang="en-US" sz="800" b="1" noProof="0" dirty="0"/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59E3AD42-1C51-4BF9-A280-42631B00001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059363" y="2225675"/>
            <a:ext cx="5937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Автомобили</a:t>
            </a:r>
            <a:endParaRPr lang="en-US" sz="800" b="1" noProof="0" dirty="0"/>
          </a:p>
        </p:txBody>
      </p:sp>
      <p:sp useBgFill="1">
        <p:nvSpPr>
          <p:cNvPr id="272" name="Text Placeholder 2">
            <a:extLst>
              <a:ext uri="{FF2B5EF4-FFF2-40B4-BE49-F238E27FC236}">
                <a16:creationId xmlns:a16="http://schemas.microsoft.com/office/drawing/2014/main" id="{1B92E6FD-BF8C-4771-A01A-EB1D3392978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7725" y="3944938"/>
            <a:ext cx="1708150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Химия и химические продукты</a:t>
            </a:r>
            <a:endParaRPr lang="en-US" sz="800" b="1" noProof="0" dirty="0"/>
          </a:p>
        </p:txBody>
      </p:sp>
      <p:sp>
        <p:nvSpPr>
          <p:cNvPr id="321" name="Text Placeholder 2">
            <a:extLst>
              <a:ext uri="{FF2B5EF4-FFF2-40B4-BE49-F238E27FC236}">
                <a16:creationId xmlns:a16="http://schemas.microsoft.com/office/drawing/2014/main" id="{3A89537E-9DC0-4AA2-B325-0D7E282E6F7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87425" y="5124450"/>
            <a:ext cx="13716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Кожа и сопутствующие товары</a:t>
            </a:r>
            <a:endParaRPr lang="en-US" sz="800" b="1" noProof="0" dirty="0"/>
          </a:p>
        </p:txBody>
      </p:sp>
      <p:sp useBgFill="1">
        <p:nvSpPr>
          <p:cNvPr id="322" name="Text Placeholder 2">
            <a:extLst>
              <a:ext uri="{FF2B5EF4-FFF2-40B4-BE49-F238E27FC236}">
                <a16:creationId xmlns:a16="http://schemas.microsoft.com/office/drawing/2014/main" id="{395CFC67-4292-4C7D-8834-DA0237DF8C7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720850" y="5284788"/>
            <a:ext cx="1990725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Древесина и изделия из дерева и пробки</a:t>
            </a:r>
            <a:endParaRPr lang="en-US" sz="800" b="1" noProof="0" dirty="0"/>
          </a:p>
        </p:txBody>
      </p:sp>
      <p:sp useBgFill="1">
        <p:nvSpPr>
          <p:cNvPr id="323" name="Text Placeholder 2">
            <a:extLst>
              <a:ext uri="{FF2B5EF4-FFF2-40B4-BE49-F238E27FC236}">
                <a16:creationId xmlns:a16="http://schemas.microsoft.com/office/drawing/2014/main" id="{DE50A271-8247-4E39-B4BD-3A4DB1BDC4A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182813" y="4965700"/>
            <a:ext cx="1311275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Бумага и бумажные изделия</a:t>
            </a:r>
            <a:endParaRPr lang="en-US" sz="800" b="1" noProof="0" dirty="0"/>
          </a:p>
        </p:txBody>
      </p:sp>
      <p:sp useBgFill="1">
        <p:nvSpPr>
          <p:cNvPr id="326" name="Text Placeholder 2">
            <a:extLst>
              <a:ext uri="{FF2B5EF4-FFF2-40B4-BE49-F238E27FC236}">
                <a16:creationId xmlns:a16="http://schemas.microsoft.com/office/drawing/2014/main" id="{99DE3A48-2760-4DD6-9EA5-EF04D6C3A3D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241425" y="4695825"/>
            <a:ext cx="1485900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Резиновые и пластмассовые изделия</a:t>
            </a:r>
            <a:endParaRPr lang="en-US" sz="800" b="1" noProof="0" dirty="0"/>
          </a:p>
        </p:txBody>
      </p:sp>
      <p:sp useBgFill="1">
        <p:nvSpPr>
          <p:cNvPr id="329" name="Text Placeholder 2">
            <a:extLst>
              <a:ext uri="{FF2B5EF4-FFF2-40B4-BE49-F238E27FC236}">
                <a16:creationId xmlns:a16="http://schemas.microsoft.com/office/drawing/2014/main" id="{D2605C81-8BAF-4885-B715-6EB03491173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154113" y="4191000"/>
            <a:ext cx="1309688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Готовые металлические изделия</a:t>
            </a:r>
            <a:endParaRPr lang="en-US" sz="800" b="1" noProof="0" dirty="0"/>
          </a:p>
        </p:txBody>
      </p:sp>
      <p:sp>
        <p:nvSpPr>
          <p:cNvPr id="330" name="Text Placeholder 2">
            <a:extLst>
              <a:ext uri="{FF2B5EF4-FFF2-40B4-BE49-F238E27FC236}">
                <a16:creationId xmlns:a16="http://schemas.microsoft.com/office/drawing/2014/main" id="{CD4999A1-2C00-4687-B04F-335306E001F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530475" y="2586038"/>
            <a:ext cx="21193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Компьютерная, электронная и оптическая продукция</a:t>
            </a:r>
            <a:endParaRPr lang="en-US" sz="800" b="1" noProof="0" dirty="0"/>
          </a:p>
        </p:txBody>
      </p:sp>
      <p:sp>
        <p:nvSpPr>
          <p:cNvPr id="331" name="Text Placeholder 2">
            <a:extLst>
              <a:ext uri="{FF2B5EF4-FFF2-40B4-BE49-F238E27FC236}">
                <a16:creationId xmlns:a16="http://schemas.microsoft.com/office/drawing/2014/main" id="{A27D3657-5423-444D-92B5-DA09C463546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509838" y="2755900"/>
            <a:ext cx="10445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Электрическое оборудование</a:t>
            </a:r>
            <a:endParaRPr lang="en-US" sz="800" b="1" noProof="0" dirty="0"/>
          </a:p>
        </p:txBody>
      </p:sp>
      <p:sp>
        <p:nvSpPr>
          <p:cNvPr id="332" name="Text Placeholder 2">
            <a:extLst>
              <a:ext uri="{FF2B5EF4-FFF2-40B4-BE49-F238E27FC236}">
                <a16:creationId xmlns:a16="http://schemas.microsoft.com/office/drawing/2014/main" id="{FEE6F6CC-2875-4D24-BE05-59FE3CBDA64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76263" y="2771775"/>
            <a:ext cx="1631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машины и оборудование, </a:t>
            </a:r>
          </a:p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не </a:t>
            </a:r>
            <a:r>
              <a:rPr lang="ru-RU" altLang="en-US" sz="800" b="1" dirty="0" err="1"/>
              <a:t>вкл</a:t>
            </a:r>
            <a:r>
              <a:rPr lang="ru-RU" altLang="en-US" sz="800" b="1" dirty="0"/>
              <a:t> в </a:t>
            </a:r>
            <a:r>
              <a:rPr lang="ru-RU" altLang="en-US" sz="800" b="1" dirty="0" err="1"/>
              <a:t>др</a:t>
            </a:r>
            <a:r>
              <a:rPr lang="ru-RU" altLang="en-US" sz="800" b="1" dirty="0"/>
              <a:t> категории</a:t>
            </a:r>
            <a:endParaRPr lang="en-US" sz="800" b="1" noProof="0" dirty="0"/>
          </a:p>
        </p:txBody>
      </p:sp>
      <p:sp useBgFill="1">
        <p:nvSpPr>
          <p:cNvPr id="335" name="Text Placeholder 2">
            <a:extLst>
              <a:ext uri="{FF2B5EF4-FFF2-40B4-BE49-F238E27FC236}">
                <a16:creationId xmlns:a16="http://schemas.microsoft.com/office/drawing/2014/main" id="{5AFC8D8B-E425-4A70-95B6-1BD10EAC432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389063" y="4329113"/>
            <a:ext cx="481013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800" b="1" dirty="0"/>
              <a:t>Мебель</a:t>
            </a:r>
            <a:endParaRPr lang="en-US" sz="800" b="1" noProof="0" dirty="0"/>
          </a:p>
        </p:txBody>
      </p:sp>
      <p:cxnSp>
        <p:nvCxnSpPr>
          <p:cNvPr id="429" name="Straight Connector 428">
            <a:extLst>
              <a:ext uri="{FF2B5EF4-FFF2-40B4-BE49-F238E27FC236}">
                <a16:creationId xmlns:a16="http://schemas.microsoft.com/office/drawing/2014/main" id="{29B3A99A-BBAC-4BA6-BB7C-45253DC28811}"/>
              </a:ext>
            </a:extLst>
          </p:cNvPr>
          <p:cNvCxnSpPr>
            <a:cxnSpLocks/>
          </p:cNvCxnSpPr>
          <p:nvPr/>
        </p:nvCxnSpPr>
        <p:spPr>
          <a:xfrm>
            <a:off x="6587284" y="1186144"/>
            <a:ext cx="0" cy="5557557"/>
          </a:xfrm>
          <a:prstGeom prst="line">
            <a:avLst/>
          </a:prstGeom>
          <a:ln w="12700">
            <a:solidFill>
              <a:srgbClr val="DC6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Isosceles Triangle 123">
            <a:extLst>
              <a:ext uri="{FF2B5EF4-FFF2-40B4-BE49-F238E27FC236}">
                <a16:creationId xmlns:a16="http://schemas.microsoft.com/office/drawing/2014/main" id="{80C7596B-EF4B-40B8-8BD7-9514CF580CEC}"/>
              </a:ext>
            </a:extLst>
          </p:cNvPr>
          <p:cNvSpPr/>
          <p:nvPr/>
        </p:nvSpPr>
        <p:spPr>
          <a:xfrm rot="5400000">
            <a:off x="5307106" y="3912733"/>
            <a:ext cx="2712756" cy="104378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1" name="Google Shape;1022;p95">
            <a:extLst>
              <a:ext uri="{FF2B5EF4-FFF2-40B4-BE49-F238E27FC236}">
                <a16:creationId xmlns:a16="http://schemas.microsoft.com/office/drawing/2014/main" id="{BC22DC37-3E35-4C52-98FC-8B47D5AF9CAA}"/>
              </a:ext>
            </a:extLst>
          </p:cNvPr>
          <p:cNvSpPr txBox="1"/>
          <p:nvPr/>
        </p:nvSpPr>
        <p:spPr>
          <a:xfrm>
            <a:off x="7263484" y="1329020"/>
            <a:ext cx="4849745" cy="179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ru" sz="1400" b="1" i="1" dirty="0">
                <a:cs typeface="Arial" pitchFamily="34" charset="0"/>
                <a:sym typeface="Arial"/>
              </a:rPr>
              <a:t>Шаг 2: </a:t>
            </a:r>
            <a:r>
              <a:rPr lang="ru" sz="1400" i="1" dirty="0">
                <a:cs typeface="Arial" pitchFamily="34" charset="0"/>
                <a:sym typeface="Arial"/>
              </a:rPr>
              <a:t>После дальнейшего составления шорт-листа были окончательно определены 4 сектора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32F3568-8E85-4345-B26B-6BA6C3C3FACB}"/>
              </a:ext>
            </a:extLst>
          </p:cNvPr>
          <p:cNvGrpSpPr/>
          <p:nvPr/>
        </p:nvGrpSpPr>
        <p:grpSpPr>
          <a:xfrm>
            <a:off x="6887704" y="1739203"/>
            <a:ext cx="5206475" cy="2589908"/>
            <a:chOff x="7467600" y="5286175"/>
            <a:chExt cx="4635357" cy="1320529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59E854C9-1A74-413A-8A94-5DF786202B96}"/>
                </a:ext>
              </a:extLst>
            </p:cNvPr>
            <p:cNvGrpSpPr/>
            <p:nvPr/>
          </p:nvGrpSpPr>
          <p:grpSpPr>
            <a:xfrm>
              <a:off x="7583885" y="5605925"/>
              <a:ext cx="4188266" cy="903135"/>
              <a:chOff x="7583885" y="5605932"/>
              <a:chExt cx="4188266" cy="903140"/>
            </a:xfrm>
          </p:grpSpPr>
          <p:sp>
            <p:nvSpPr>
              <p:cNvPr id="274" name="Rectangle: Rounded Corners 273">
                <a:extLst>
                  <a:ext uri="{FF2B5EF4-FFF2-40B4-BE49-F238E27FC236}">
                    <a16:creationId xmlns:a16="http://schemas.microsoft.com/office/drawing/2014/main" id="{C1F74464-E24C-4603-90D3-F9B21F25BAFF}"/>
                  </a:ext>
                </a:extLst>
              </p:cNvPr>
              <p:cNvSpPr/>
              <p:nvPr/>
            </p:nvSpPr>
            <p:spPr>
              <a:xfrm>
                <a:off x="8086726" y="5622502"/>
                <a:ext cx="1513725" cy="370728"/>
              </a:xfrm>
              <a:prstGeom prst="roundRect">
                <a:avLst/>
              </a:prstGeom>
              <a:solidFill>
                <a:schemeClr val="accent3"/>
              </a:solidFill>
              <a:ln w="6350">
                <a:solidFill>
                  <a:sysClr val="window" lastClr="FFFFFF"/>
                </a:solidFill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Переработка пищевых продуктов</a:t>
                </a:r>
              </a:p>
            </p:txBody>
          </p:sp>
          <p:sp>
            <p:nvSpPr>
              <p:cNvPr id="275" name="Rectangle: Rounded Corners 274">
                <a:extLst>
                  <a:ext uri="{FF2B5EF4-FFF2-40B4-BE49-F238E27FC236}">
                    <a16:creationId xmlns:a16="http://schemas.microsoft.com/office/drawing/2014/main" id="{37CEC687-CB0E-45BD-B3E3-02FBCA818BC0}"/>
                  </a:ext>
                </a:extLst>
              </p:cNvPr>
              <p:cNvSpPr/>
              <p:nvPr/>
            </p:nvSpPr>
            <p:spPr>
              <a:xfrm>
                <a:off x="7583885" y="5622502"/>
                <a:ext cx="453232" cy="370728"/>
              </a:xfrm>
              <a:prstGeom prst="roundRect">
                <a:avLst/>
              </a:prstGeom>
              <a:solidFill>
                <a:srgbClr val="ED7D31">
                  <a:lumMod val="20000"/>
                  <a:lumOff val="8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76" name="Graphic 275" descr="Lunch Box with solid fill">
                <a:extLst>
                  <a:ext uri="{FF2B5EF4-FFF2-40B4-BE49-F238E27FC236}">
                    <a16:creationId xmlns:a16="http://schemas.microsoft.com/office/drawing/2014/main" id="{D43BC098-665D-45F6-9392-C803AF4331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>
                <a:extLst>
                  <a:ext uri="{96DAC541-7B7A-43D3-8B79-37D633B846F1}">
                    <asvg:svgBlip xmlns:asvg="http://schemas.microsoft.com/office/drawing/2016/SVG/main" r:embed="rId32"/>
                  </a:ext>
                </a:extLst>
              </a:blip>
              <a:stretch>
                <a:fillRect/>
              </a:stretch>
            </p:blipFill>
            <p:spPr>
              <a:xfrm>
                <a:off x="7609297" y="5620521"/>
                <a:ext cx="354013" cy="354013"/>
              </a:xfrm>
              <a:prstGeom prst="rect">
                <a:avLst/>
              </a:prstGeom>
            </p:spPr>
          </p:pic>
          <p:sp>
            <p:nvSpPr>
              <p:cNvPr id="277" name="Rectangle: Rounded Corners 276">
                <a:extLst>
                  <a:ext uri="{FF2B5EF4-FFF2-40B4-BE49-F238E27FC236}">
                    <a16:creationId xmlns:a16="http://schemas.microsoft.com/office/drawing/2014/main" id="{E4CFCE75-7A2D-4199-952C-B040DD50ABA1}"/>
                  </a:ext>
                </a:extLst>
              </p:cNvPr>
              <p:cNvSpPr/>
              <p:nvPr/>
            </p:nvSpPr>
            <p:spPr>
              <a:xfrm>
                <a:off x="10258426" y="5620521"/>
                <a:ext cx="1513725" cy="370728"/>
              </a:xfrm>
              <a:prstGeom prst="roundRect">
                <a:avLst/>
              </a:prstGeom>
              <a:solidFill>
                <a:schemeClr val="accent3"/>
              </a:solidFill>
              <a:ln w="6350">
                <a:solidFill>
                  <a:sysClr val="window" lastClr="FFFFFF"/>
                </a:solidFill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Фармацевтика</a:t>
                </a:r>
              </a:p>
            </p:txBody>
          </p:sp>
          <p:sp>
            <p:nvSpPr>
              <p:cNvPr id="278" name="Rectangle: Rounded Corners 277">
                <a:extLst>
                  <a:ext uri="{FF2B5EF4-FFF2-40B4-BE49-F238E27FC236}">
                    <a16:creationId xmlns:a16="http://schemas.microsoft.com/office/drawing/2014/main" id="{92B27EE2-4D80-4171-B6DC-ED5ACB583C9C}"/>
                  </a:ext>
                </a:extLst>
              </p:cNvPr>
              <p:cNvSpPr/>
              <p:nvPr/>
            </p:nvSpPr>
            <p:spPr>
              <a:xfrm>
                <a:off x="9755585" y="5620521"/>
                <a:ext cx="453232" cy="370728"/>
              </a:xfrm>
              <a:prstGeom prst="roundRect">
                <a:avLst/>
              </a:prstGeom>
              <a:solidFill>
                <a:srgbClr val="ED7D31">
                  <a:lumMod val="20000"/>
                  <a:lumOff val="8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79" name="Graphic 278" descr="Heartbeat with solid fill">
                <a:extLst>
                  <a:ext uri="{FF2B5EF4-FFF2-40B4-BE49-F238E27FC236}">
                    <a16:creationId xmlns:a16="http://schemas.microsoft.com/office/drawing/2014/main" id="{4664A60E-600D-45FD-AA18-A831849837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>
                <a:extLst>
                  <a:ext uri="{96DAC541-7B7A-43D3-8B79-37D633B846F1}">
                    <asvg:svgBlip xmlns:asvg="http://schemas.microsoft.com/office/drawing/2016/SVG/main" r:embed="rId34"/>
                  </a:ext>
                </a:extLst>
              </a:blip>
              <a:stretch>
                <a:fillRect/>
              </a:stretch>
            </p:blipFill>
            <p:spPr>
              <a:xfrm>
                <a:off x="9805192" y="5605932"/>
                <a:ext cx="354013" cy="354013"/>
              </a:xfrm>
              <a:prstGeom prst="rect">
                <a:avLst/>
              </a:prstGeom>
            </p:spPr>
          </p:pic>
          <p:sp>
            <p:nvSpPr>
              <p:cNvPr id="280" name="Rectangle: Rounded Corners 279">
                <a:extLst>
                  <a:ext uri="{FF2B5EF4-FFF2-40B4-BE49-F238E27FC236}">
                    <a16:creationId xmlns:a16="http://schemas.microsoft.com/office/drawing/2014/main" id="{86FEA137-0407-43A1-B0FA-3B47FE555E5A}"/>
                  </a:ext>
                </a:extLst>
              </p:cNvPr>
              <p:cNvSpPr/>
              <p:nvPr/>
            </p:nvSpPr>
            <p:spPr>
              <a:xfrm>
                <a:off x="8086726" y="6118780"/>
                <a:ext cx="1513725" cy="370728"/>
              </a:xfrm>
              <a:prstGeom prst="roundRect">
                <a:avLst/>
              </a:prstGeom>
              <a:solidFill>
                <a:schemeClr val="accent3"/>
              </a:solidFill>
              <a:ln w="6350">
                <a:solidFill>
                  <a:sysClr val="window" lastClr="FFFFFF"/>
                </a:solidFill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Текстиль и одежда</a:t>
                </a:r>
              </a:p>
            </p:txBody>
          </p:sp>
          <p:sp>
            <p:nvSpPr>
              <p:cNvPr id="281" name="Rectangle: Rounded Corners 280">
                <a:extLst>
                  <a:ext uri="{FF2B5EF4-FFF2-40B4-BE49-F238E27FC236}">
                    <a16:creationId xmlns:a16="http://schemas.microsoft.com/office/drawing/2014/main" id="{6F37149E-4DF7-479F-9068-C037F122C96E}"/>
                  </a:ext>
                </a:extLst>
              </p:cNvPr>
              <p:cNvSpPr/>
              <p:nvPr/>
            </p:nvSpPr>
            <p:spPr>
              <a:xfrm>
                <a:off x="7583885" y="6118781"/>
                <a:ext cx="453232" cy="370728"/>
              </a:xfrm>
              <a:prstGeom prst="roundRect">
                <a:avLst/>
              </a:prstGeom>
              <a:solidFill>
                <a:srgbClr val="ED7D31">
                  <a:lumMod val="20000"/>
                  <a:lumOff val="8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82" name="Graphic 281" descr="Suit with solid fill">
                <a:extLst>
                  <a:ext uri="{FF2B5EF4-FFF2-40B4-BE49-F238E27FC236}">
                    <a16:creationId xmlns:a16="http://schemas.microsoft.com/office/drawing/2014/main" id="{72DAFA71-8073-42FB-8D7F-8CA32D51BA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5">
                <a:extLst>
                  <a:ext uri="{96DAC541-7B7A-43D3-8B79-37D633B846F1}">
                    <asvg:svgBlip xmlns:asvg="http://schemas.microsoft.com/office/drawing/2016/SVG/main" r:embed="rId36"/>
                  </a:ext>
                </a:extLst>
              </a:blip>
              <a:stretch>
                <a:fillRect/>
              </a:stretch>
            </p:blipFill>
            <p:spPr>
              <a:xfrm>
                <a:off x="7633493" y="6138344"/>
                <a:ext cx="354013" cy="354013"/>
              </a:xfrm>
              <a:prstGeom prst="rect">
                <a:avLst/>
              </a:prstGeom>
            </p:spPr>
          </p:pic>
          <p:sp>
            <p:nvSpPr>
              <p:cNvPr id="283" name="Rectangle: Rounded Corners 282">
                <a:extLst>
                  <a:ext uri="{FF2B5EF4-FFF2-40B4-BE49-F238E27FC236}">
                    <a16:creationId xmlns:a16="http://schemas.microsoft.com/office/drawing/2014/main" id="{F436215F-D6DC-4F88-9D8E-BA5786417697}"/>
                  </a:ext>
                </a:extLst>
              </p:cNvPr>
              <p:cNvSpPr/>
              <p:nvPr/>
            </p:nvSpPr>
            <p:spPr>
              <a:xfrm>
                <a:off x="10258426" y="6138344"/>
                <a:ext cx="1513725" cy="370728"/>
              </a:xfrm>
              <a:prstGeom prst="roundRect">
                <a:avLst/>
              </a:prstGeom>
              <a:solidFill>
                <a:schemeClr val="accent3"/>
              </a:solidFill>
              <a:ln w="6350">
                <a:solidFill>
                  <a:sysClr val="window" lastClr="FFFFFF"/>
                </a:solidFill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Повседневные потребительские товары (FMCG)</a:t>
                </a:r>
              </a:p>
            </p:txBody>
          </p:sp>
          <p:sp>
            <p:nvSpPr>
              <p:cNvPr id="284" name="Rectangle: Rounded Corners 283">
                <a:extLst>
                  <a:ext uri="{FF2B5EF4-FFF2-40B4-BE49-F238E27FC236}">
                    <a16:creationId xmlns:a16="http://schemas.microsoft.com/office/drawing/2014/main" id="{AC7D4E80-5C0F-4D14-98D6-03CA9A4816E2}"/>
                  </a:ext>
                </a:extLst>
              </p:cNvPr>
              <p:cNvSpPr/>
              <p:nvPr/>
            </p:nvSpPr>
            <p:spPr>
              <a:xfrm>
                <a:off x="9758935" y="6138344"/>
                <a:ext cx="453232" cy="370728"/>
              </a:xfrm>
              <a:prstGeom prst="roundRect">
                <a:avLst/>
              </a:prstGeom>
              <a:solidFill>
                <a:srgbClr val="ED7D31">
                  <a:lumMod val="20000"/>
                  <a:lumOff val="8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85" name="Graphic 284" descr="Soap with solid fill">
                <a:extLst>
                  <a:ext uri="{FF2B5EF4-FFF2-40B4-BE49-F238E27FC236}">
                    <a16:creationId xmlns:a16="http://schemas.microsoft.com/office/drawing/2014/main" id="{22655475-649B-4C15-8088-AB68B96EBB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7">
                <a:extLst>
                  <a:ext uri="{96DAC541-7B7A-43D3-8B79-37D633B846F1}">
                    <asvg:svgBlip xmlns:asvg="http://schemas.microsoft.com/office/drawing/2016/SVG/main" r:embed="rId38"/>
                  </a:ext>
                </a:extLst>
              </a:blip>
              <a:stretch>
                <a:fillRect/>
              </a:stretch>
            </p:blipFill>
            <p:spPr>
              <a:xfrm>
                <a:off x="9803203" y="6153065"/>
                <a:ext cx="356002" cy="356002"/>
              </a:xfrm>
              <a:prstGeom prst="rect">
                <a:avLst/>
              </a:prstGeom>
            </p:spPr>
          </p:pic>
        </p:grpSp>
        <p:sp>
          <p:nvSpPr>
            <p:cNvPr id="287" name="Rectangle 286">
              <a:extLst>
                <a:ext uri="{FF2B5EF4-FFF2-40B4-BE49-F238E27FC236}">
                  <a16:creationId xmlns:a16="http://schemas.microsoft.com/office/drawing/2014/main" id="{9DE6F3C1-684A-46CD-8DA3-C9047501AF0A}"/>
                </a:ext>
              </a:extLst>
            </p:cNvPr>
            <p:cNvSpPr/>
            <p:nvPr/>
          </p:nvSpPr>
          <p:spPr>
            <a:xfrm>
              <a:off x="7467600" y="5395719"/>
              <a:ext cx="4635357" cy="1210985"/>
            </a:xfrm>
            <a:prstGeom prst="rect">
              <a:avLst/>
            </a:prstGeom>
            <a:noFill/>
            <a:ln>
              <a:solidFill>
                <a:schemeClr val="accent5">
                  <a:lumMod val="75000"/>
                </a:schemeClr>
              </a:solidFill>
              <a:prstDash val="dash"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05D5328E-76FD-4D78-ACF9-52896C1D146A}"/>
                </a:ext>
              </a:extLst>
            </p:cNvPr>
            <p:cNvSpPr txBox="1"/>
            <p:nvPr/>
          </p:nvSpPr>
          <p:spPr>
            <a:xfrm>
              <a:off x="8994479" y="5286175"/>
              <a:ext cx="1926948" cy="21969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wrap="square" anchor="ctr">
              <a:spAutoFit/>
            </a:bodyPr>
            <a:lstStyle/>
            <a:p>
              <a:r>
                <a:rPr lang="ru" sz="1100" b="1" i="1" dirty="0">
                  <a:latin typeface="Arial"/>
                  <a:cs typeface="Arial"/>
                  <a:sym typeface="Arial"/>
                </a:rPr>
                <a:t>Окончательный</a:t>
              </a:r>
              <a:r>
                <a:rPr lang="en-US" sz="1100" b="1" i="1" dirty="0">
                  <a:latin typeface="Arial"/>
                  <a:cs typeface="Arial"/>
                  <a:sym typeface="Arial"/>
                </a:rPr>
                <a:t> </a:t>
              </a:r>
              <a:r>
                <a:rPr lang="ru-RU" sz="1100" b="1" i="1" dirty="0">
                  <a:latin typeface="Arial"/>
                  <a:cs typeface="Arial"/>
                  <a:sym typeface="Arial"/>
                </a:rPr>
                <a:t>короткий</a:t>
              </a:r>
              <a:r>
                <a:rPr lang="ru" sz="1100" b="1" i="1" dirty="0">
                  <a:latin typeface="Arial"/>
                  <a:cs typeface="Arial"/>
                  <a:sym typeface="Arial"/>
                </a:rPr>
                <a:t> список секторов</a:t>
              </a:r>
              <a:endParaRPr lang="en-US" sz="1100" b="1" i="1" dirty="0"/>
            </a:p>
          </p:txBody>
        </p:sp>
      </p:grpSp>
      <p:sp>
        <p:nvSpPr>
          <p:cNvPr id="302" name="TextBox 301">
            <a:extLst>
              <a:ext uri="{FF2B5EF4-FFF2-40B4-BE49-F238E27FC236}">
                <a16:creationId xmlns:a16="http://schemas.microsoft.com/office/drawing/2014/main" id="{49AC2B24-8FC5-490D-95F4-BCA724C35AEB}"/>
              </a:ext>
            </a:extLst>
          </p:cNvPr>
          <p:cNvSpPr txBox="1"/>
          <p:nvPr/>
        </p:nvSpPr>
        <p:spPr>
          <a:xfrm>
            <a:off x="442913" y="6714880"/>
            <a:ext cx="627275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ru" sz="1000" noProof="0" dirty="0">
                <a:solidFill>
                  <a:schemeClr val="tx1"/>
                </a:solidFill>
                <a:cs typeface="Arial" pitchFamily="34" charset="0"/>
              </a:rPr>
              <a:t>Размер кружка представляет текущий выпуск сектора в Казахстане и Узбекистане.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C0990C7A-AC7C-4934-A49D-4043BD1E7D69}"/>
              </a:ext>
            </a:extLst>
          </p:cNvPr>
          <p:cNvSpPr/>
          <p:nvPr/>
        </p:nvSpPr>
        <p:spPr>
          <a:xfrm>
            <a:off x="535540" y="6353125"/>
            <a:ext cx="274320" cy="274320"/>
          </a:xfrm>
          <a:prstGeom prst="ellipse">
            <a:avLst/>
          </a:prstGeom>
          <a:solidFill>
            <a:srgbClr val="D04A02"/>
          </a:solidFill>
          <a:ln w="6350">
            <a:solidFill>
              <a:srgbClr val="A3202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3676BA91-1125-42C0-880B-03678F948B5D}"/>
              </a:ext>
            </a:extLst>
          </p:cNvPr>
          <p:cNvSpPr txBox="1"/>
          <p:nvPr/>
        </p:nvSpPr>
        <p:spPr>
          <a:xfrm>
            <a:off x="834600" y="6364387"/>
            <a:ext cx="2011680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ru" sz="1000" i="1" noProof="0" dirty="0">
                <a:solidFill>
                  <a:schemeClr val="tx1"/>
                </a:solidFill>
                <a:cs typeface="Arial" pitchFamily="34" charset="0"/>
              </a:rPr>
              <a:t>Отрасли</a:t>
            </a:r>
            <a:r>
              <a:rPr lang="ru" sz="1000" i="1" dirty="0">
                <a:cs typeface="Arial" pitchFamily="34" charset="0"/>
              </a:rPr>
              <a:t> </a:t>
            </a:r>
            <a:r>
              <a:rPr lang="ru" sz="1000" i="1" noProof="0" dirty="0">
                <a:solidFill>
                  <a:schemeClr val="tx1"/>
                </a:solidFill>
                <a:cs typeface="Arial" pitchFamily="34" charset="0"/>
              </a:rPr>
              <a:t>в </a:t>
            </a:r>
          </a:p>
          <a:p>
            <a:r>
              <a:rPr lang="ru" sz="1000" i="1" noProof="0" dirty="0">
                <a:solidFill>
                  <a:schemeClr val="tx1"/>
                </a:solidFill>
                <a:cs typeface="Arial" pitchFamily="34" charset="0"/>
              </a:rPr>
              <a:t>шорт-листе</a:t>
            </a:r>
          </a:p>
        </p:txBody>
      </p:sp>
      <p:sp>
        <p:nvSpPr>
          <p:cNvPr id="306" name="Oval 305">
            <a:extLst>
              <a:ext uri="{FF2B5EF4-FFF2-40B4-BE49-F238E27FC236}">
                <a16:creationId xmlns:a16="http://schemas.microsoft.com/office/drawing/2014/main" id="{B782013D-43E2-49E8-BA99-FDA5BABE3350}"/>
              </a:ext>
            </a:extLst>
          </p:cNvPr>
          <p:cNvSpPr/>
          <p:nvPr/>
        </p:nvSpPr>
        <p:spPr>
          <a:xfrm>
            <a:off x="2266591" y="6353125"/>
            <a:ext cx="274320" cy="274320"/>
          </a:xfrm>
          <a:prstGeom prst="ellipse">
            <a:avLst/>
          </a:prstGeom>
          <a:solidFill>
            <a:srgbClr val="FFB600"/>
          </a:solidFill>
          <a:ln w="6350">
            <a:solidFill>
              <a:srgbClr val="FFB60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C25D11D5-811F-404E-8EDC-964543399609}"/>
              </a:ext>
            </a:extLst>
          </p:cNvPr>
          <p:cNvSpPr txBox="1"/>
          <p:nvPr/>
        </p:nvSpPr>
        <p:spPr>
          <a:xfrm>
            <a:off x="2572385" y="6369894"/>
            <a:ext cx="3291840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ru" sz="1000" i="1" noProof="0" dirty="0">
                <a:solidFill>
                  <a:schemeClr val="tx1"/>
                </a:solidFill>
                <a:cs typeface="Arial" pitchFamily="34" charset="0"/>
              </a:rPr>
              <a:t>Секторы не рассматривались для первоначального развития</a:t>
            </a:r>
          </a:p>
        </p:txBody>
      </p:sp>
      <p:graphicFrame>
        <p:nvGraphicFramePr>
          <p:cNvPr id="101" name="Diagram 100">
            <a:extLst>
              <a:ext uri="{FF2B5EF4-FFF2-40B4-BE49-F238E27FC236}">
                <a16:creationId xmlns:a16="http://schemas.microsoft.com/office/drawing/2014/main" id="{48923AD0-65B1-4D8D-ABEF-D021BD136F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5838456"/>
              </p:ext>
            </p:extLst>
          </p:nvPr>
        </p:nvGraphicFramePr>
        <p:xfrm>
          <a:off x="442915" y="0"/>
          <a:ext cx="11749086" cy="223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9" r:lo="rId40" r:qs="rId41" r:cs="rId42"/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A7C030-3B19-4B2D-B4A6-29F4F3A77478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/>
              <a:t>сентябрь 2023</a:t>
            </a:r>
            <a:endParaRPr lang="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8040C6-BD43-45D2-B294-833A7D09E9F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en-US" smtClean="0"/>
              <a:pPr lvl="0"/>
              <a:t>14</a:t>
            </a:fld>
            <a:endParaRPr lang="en-US"/>
          </a:p>
        </p:txBody>
      </p:sp>
      <p:sp>
        <p:nvSpPr>
          <p:cNvPr id="72" name="Google Shape;1022;p95">
            <a:extLst>
              <a:ext uri="{FF2B5EF4-FFF2-40B4-BE49-F238E27FC236}">
                <a16:creationId xmlns:a16="http://schemas.microsoft.com/office/drawing/2014/main" id="{523D13FD-09E5-4C15-9AD4-6D6E04B6BE93}"/>
              </a:ext>
            </a:extLst>
          </p:cNvPr>
          <p:cNvSpPr txBox="1"/>
          <p:nvPr/>
        </p:nvSpPr>
        <p:spPr>
          <a:xfrm>
            <a:off x="6906751" y="4344987"/>
            <a:ext cx="5206475" cy="1512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ru" sz="1200" i="1" dirty="0">
                <a:cs typeface="Arial" pitchFamily="34" charset="0"/>
                <a:sym typeface="Arial"/>
              </a:rPr>
              <a:t>Были включены в шорт-лист на основе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sz="1200" i="1" dirty="0">
              <a:cs typeface="Arial" pitchFamily="34" charset="0"/>
              <a:sym typeface="Arial"/>
            </a:endParaRPr>
          </a:p>
          <a:p>
            <a:pPr>
              <a:buClr>
                <a:srgbClr val="000000"/>
              </a:buClr>
              <a:defRPr/>
            </a:pPr>
            <a:r>
              <a:rPr lang="ru" sz="1200" b="1" i="1" dirty="0">
                <a:cs typeface="Arial"/>
                <a:sym typeface="Arial"/>
              </a:rPr>
              <a:t>1) </a:t>
            </a:r>
            <a:r>
              <a:rPr lang="ru-RU" sz="1200" b="1" i="1" dirty="0">
                <a:cs typeface="Arial"/>
                <a:sym typeface="Arial"/>
              </a:rPr>
              <a:t>Требование торгового соответствия</a:t>
            </a:r>
            <a:r>
              <a:rPr lang="ru" sz="1200" b="1" i="1" dirty="0">
                <a:cs typeface="Arial"/>
                <a:sym typeface="Arial"/>
              </a:rPr>
              <a:t>: </a:t>
            </a:r>
            <a:r>
              <a:rPr lang="ru" sz="1200" i="1" noProof="0" dirty="0">
                <a:cs typeface="Arial" pitchFamily="34" charset="0"/>
              </a:rPr>
              <a:t>секторы с высоким соблюдением требований получат выгоду от </a:t>
            </a:r>
            <a:r>
              <a:rPr lang="ru-RU" sz="1200" i="1" noProof="0" dirty="0">
                <a:cs typeface="Arial" pitchFamily="34" charset="0"/>
              </a:rPr>
              <a:t>МЦПК</a:t>
            </a:r>
            <a:r>
              <a:rPr lang="ru" sz="1200" i="1" noProof="0" dirty="0">
                <a:cs typeface="Arial" pitchFamily="34" charset="0"/>
              </a:rPr>
              <a:t>.</a:t>
            </a:r>
          </a:p>
          <a:p>
            <a:pPr>
              <a:buClr>
                <a:srgbClr val="000000"/>
              </a:buClr>
              <a:defRPr/>
            </a:pPr>
            <a:r>
              <a:rPr lang="ru" sz="1200" b="1" i="1" dirty="0">
                <a:cs typeface="Arial"/>
                <a:sym typeface="Arial"/>
              </a:rPr>
              <a:t> </a:t>
            </a:r>
            <a:endParaRPr lang="en-US" sz="1200" b="1" i="1" dirty="0"/>
          </a:p>
          <a:p>
            <a:pPr>
              <a:buClr>
                <a:srgbClr val="000000"/>
              </a:buClr>
              <a:defRPr/>
            </a:pPr>
            <a:r>
              <a:rPr lang="ru" sz="1200" b="1" i="1" dirty="0">
                <a:cs typeface="Arial"/>
                <a:sym typeface="Arial"/>
              </a:rPr>
              <a:t>2) Чувствительность товаров ко времени: </a:t>
            </a:r>
            <a:r>
              <a:rPr lang="ru" sz="1200" i="1" noProof="0" dirty="0">
                <a:cs typeface="Arial" pitchFamily="34" charset="0"/>
              </a:rPr>
              <a:t>секторы с соответственно более коротким жизненным циклом получат </a:t>
            </a:r>
            <a:r>
              <a:rPr lang="ru" sz="1200" i="1" dirty="0">
                <a:cs typeface="Arial" pitchFamily="34" charset="0"/>
              </a:rPr>
              <a:t>выгоду от </a:t>
            </a:r>
            <a:r>
              <a:rPr lang="ru-RU" sz="1200" i="1" dirty="0">
                <a:cs typeface="Arial" pitchFamily="34" charset="0"/>
              </a:rPr>
              <a:t>МЦПК</a:t>
            </a:r>
            <a:r>
              <a:rPr lang="ru" sz="1200" i="1" dirty="0">
                <a:cs typeface="Arial" pitchFamily="34" charset="0"/>
              </a:rPr>
              <a:t>.</a:t>
            </a:r>
            <a:r>
              <a:rPr lang="ru" sz="1200" i="1" noProof="0" dirty="0">
                <a:cs typeface="Arial" pitchFamily="34" charset="0"/>
              </a:rPr>
              <a:t> </a:t>
            </a:r>
            <a:endParaRPr lang="en-US" sz="1200" b="1" i="1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2898423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095B41-810A-40B0-8ED6-F81B04F66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937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2" imgH="532" progId="TCLayout.ActiveDocument.1">
                  <p:embed/>
                </p:oleObj>
              </mc:Choice>
              <mc:Fallback>
                <p:oleObj name="think-cell Slide" r:id="rId5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095B41-810A-40B0-8ED6-F81B04F66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2"/>
          <p:cNvSpPr txBox="1">
            <a:spLocks noGrp="1"/>
          </p:cNvSpPr>
          <p:nvPr>
            <p:ph type="title"/>
          </p:nvPr>
        </p:nvSpPr>
        <p:spPr>
          <a:xfrm>
            <a:off x="442914" y="345559"/>
            <a:ext cx="11306175" cy="369332"/>
          </a:xfrm>
        </p:spPr>
        <p:txBody>
          <a:bodyPr anchor="ctr" anchorCtr="0">
            <a:normAutofit/>
          </a:bodyPr>
          <a:lstStyle/>
          <a:p>
            <a:pPr lvl="0"/>
            <a:r>
              <a:rPr lang="ru" sz="2400" b="0" dirty="0">
                <a:latin typeface="Georgia" panose="02040502050405020303" pitchFamily="18" charset="0"/>
              </a:rPr>
              <a:t>Фискальные и нефискальные стимулы для инвесторов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AD7844C-F302-4880-9FD6-AB8C906C3B77}"/>
              </a:ext>
            </a:extLst>
          </p:cNvPr>
          <p:cNvSpPr/>
          <p:nvPr/>
        </p:nvSpPr>
        <p:spPr>
          <a:xfrm>
            <a:off x="442912" y="1318410"/>
            <a:ext cx="10549577" cy="228601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>
              <a:lnSpc>
                <a:spcPct val="100000"/>
              </a:lnSpc>
            </a:pPr>
            <a:r>
              <a:rPr lang="ru" sz="1400" b="1" dirty="0">
                <a:solidFill>
                  <a:srgbClr val="FF0000"/>
                </a:solidFill>
              </a:rPr>
              <a:t>Для привлечения инвесторов в </a:t>
            </a:r>
            <a:r>
              <a:rPr lang="ru-RU" sz="1400" b="1" dirty="0">
                <a:solidFill>
                  <a:srgbClr val="FF0000"/>
                </a:solidFill>
              </a:rPr>
              <a:t>МЦПК</a:t>
            </a:r>
            <a:r>
              <a:rPr lang="ru" sz="1400" b="1" dirty="0">
                <a:solidFill>
                  <a:srgbClr val="FF0000"/>
                </a:solidFill>
              </a:rPr>
              <a:t> предлагаются следующие стимулы</a:t>
            </a:r>
          </a:p>
        </p:txBody>
      </p:sp>
      <p:sp>
        <p:nvSpPr>
          <p:cNvPr id="7" name="Google Shape;2235;p293">
            <a:extLst>
              <a:ext uri="{FF2B5EF4-FFF2-40B4-BE49-F238E27FC236}">
                <a16:creationId xmlns:a16="http://schemas.microsoft.com/office/drawing/2014/main" id="{673857C2-5CAB-4667-BB7D-131044649C11}"/>
              </a:ext>
            </a:extLst>
          </p:cNvPr>
          <p:cNvSpPr/>
          <p:nvPr/>
        </p:nvSpPr>
        <p:spPr>
          <a:xfrm>
            <a:off x="464586" y="1627794"/>
            <a:ext cx="11206858" cy="22860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ru" sz="1400" b="1" dirty="0">
                <a:solidFill>
                  <a:schemeClr val="bg1"/>
                </a:solidFill>
                <a:sym typeface="Helvetica Neue"/>
              </a:rPr>
              <a:t>Индивидуальный пакет стимулов</a:t>
            </a:r>
            <a:endParaRPr lang="en-GB" dirty="0">
              <a:solidFill>
                <a:schemeClr val="bg1"/>
              </a:solidFill>
            </a:endParaRPr>
          </a:p>
        </p:txBody>
      </p:sp>
      <p:graphicFrame>
        <p:nvGraphicFramePr>
          <p:cNvPr id="16" name="Google Shape;2236;p293">
            <a:extLst>
              <a:ext uri="{FF2B5EF4-FFF2-40B4-BE49-F238E27FC236}">
                <a16:creationId xmlns:a16="http://schemas.microsoft.com/office/drawing/2014/main" id="{5E218DC0-DC9C-4423-94C4-A98753DBFB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8163816"/>
              </p:ext>
            </p:extLst>
          </p:nvPr>
        </p:nvGraphicFramePr>
        <p:xfrm>
          <a:off x="453198" y="2373330"/>
          <a:ext cx="3445846" cy="4045240"/>
        </p:xfrm>
        <a:graphic>
          <a:graphicData uri="http://schemas.openxmlformats.org/drawingml/2006/table">
            <a:tbl>
              <a:tblPr bandRow="1"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  <a:tableStyleId>{0E3FDE45-AF77-4B5C-9715-49D594BDF05E}</a:tableStyleId>
              </a:tblPr>
              <a:tblGrid>
                <a:gridCol w="34458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056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200" dirty="0"/>
                        <a:t>Прямые налоговые льготы</a:t>
                      </a:r>
                      <a:endParaRPr sz="1200" dirty="0">
                        <a:latin typeface="Arial "/>
                        <a:cs typeface="Arial" panose="020B0604020202020204" pitchFamily="34" charset="0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2360420061"/>
                  </a:ext>
                </a:extLst>
              </a:tr>
              <a:tr h="50565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" sz="1200" dirty="0"/>
                        <a:t>Субсидируемая стоимость земли и льготы по регистрационным пошлинам</a:t>
                      </a:r>
                      <a:endParaRPr sz="1200" dirty="0">
                        <a:latin typeface="Arial "/>
                        <a:cs typeface="Arial" panose="020B0604020202020204" pitchFamily="34" charset="0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3529080229"/>
                  </a:ext>
                </a:extLst>
              </a:tr>
              <a:tr h="50565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" sz="1200" dirty="0"/>
                        <a:t>Отраслевые стимулы, связанные с производством</a:t>
                      </a:r>
                      <a:endParaRPr sz="1200" dirty="0">
                        <a:latin typeface="Arial "/>
                        <a:cs typeface="Arial" panose="020B0604020202020204" pitchFamily="34" charset="0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736674040"/>
                  </a:ext>
                </a:extLst>
              </a:tr>
              <a:tr h="50565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" sz="1200" dirty="0"/>
                        <a:t>Капитальные субсидии на создание новых объектов</a:t>
                      </a:r>
                      <a:endParaRPr lang="en-US" sz="1200" dirty="0">
                        <a:latin typeface="Arial "/>
                        <a:cs typeface="Arial" panose="020B0604020202020204" pitchFamily="34" charset="0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343982693"/>
                  </a:ext>
                </a:extLst>
              </a:tr>
              <a:tr h="505655">
                <a:tc>
                  <a:txBody>
                    <a:bodyPr/>
                    <a:lstStyle/>
                    <a:p>
                      <a:pPr marL="0" marR="0" lvl="0" indent="0" algn="l" defTabSz="8990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200" dirty="0"/>
                        <a:t>Стимулы для внедрения новых технологий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2197740471"/>
                  </a:ext>
                </a:extLst>
              </a:tr>
              <a:tr h="505655">
                <a:tc>
                  <a:txBody>
                    <a:bodyPr/>
                    <a:lstStyle/>
                    <a:p>
                      <a:pPr marL="0" marR="0" lvl="0" indent="0" algn="l" defTabSz="8990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бсидия на создание рабочих мест</a:t>
                      </a: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259328571"/>
                  </a:ext>
                </a:extLst>
              </a:tr>
              <a:tr h="50565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" sz="1200" dirty="0"/>
                        <a:t>Скидки на коммунальные услуги</a:t>
                      </a:r>
                      <a:endParaRPr sz="1200" dirty="0">
                        <a:latin typeface="Arial "/>
                        <a:cs typeface="Arial" panose="020B0604020202020204" pitchFamily="34" charset="0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3574465482"/>
                  </a:ext>
                </a:extLst>
              </a:tr>
              <a:tr h="50565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" sz="1200" dirty="0"/>
                        <a:t>Снижение затрат на логистику</a:t>
                      </a:r>
                      <a:endParaRPr sz="1200" dirty="0">
                        <a:latin typeface="Arial "/>
                        <a:cs typeface="Arial" panose="020B0604020202020204" pitchFamily="34" charset="0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1766CB6B-6F72-4854-A66A-5C5278497C4E}"/>
              </a:ext>
            </a:extLst>
          </p:cNvPr>
          <p:cNvSpPr/>
          <p:nvPr/>
        </p:nvSpPr>
        <p:spPr>
          <a:xfrm>
            <a:off x="453198" y="1937179"/>
            <a:ext cx="3445846" cy="318499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" sz="1400">
                <a:solidFill>
                  <a:schemeClr val="tx1"/>
                </a:solidFill>
              </a:rPr>
              <a:t>Фискальные стимулы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87139CE-397A-4E39-A472-B7E49E459F65}"/>
              </a:ext>
            </a:extLst>
          </p:cNvPr>
          <p:cNvCxnSpPr>
            <a:cxnSpLocks/>
          </p:cNvCxnSpPr>
          <p:nvPr/>
        </p:nvCxnSpPr>
        <p:spPr>
          <a:xfrm>
            <a:off x="4053477" y="1971920"/>
            <a:ext cx="0" cy="4481391"/>
          </a:xfrm>
          <a:prstGeom prst="line">
            <a:avLst/>
          </a:prstGeom>
          <a:ln w="12700">
            <a:solidFill>
              <a:srgbClr val="DC6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Diagram 20">
            <a:extLst>
              <a:ext uri="{FF2B5EF4-FFF2-40B4-BE49-F238E27FC236}">
                <a16:creationId xmlns:a16="http://schemas.microsoft.com/office/drawing/2014/main" id="{E7C3B9C3-D94F-4478-9333-3A681F3CCD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8193972"/>
              </p:ext>
            </p:extLst>
          </p:nvPr>
        </p:nvGraphicFramePr>
        <p:xfrm>
          <a:off x="442915" y="0"/>
          <a:ext cx="11749086" cy="223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AA787C-F432-4079-A821-7FF8A1BEE1EA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/>
              <a:t>сентябрь 2023</a:t>
            </a:r>
            <a:endParaRPr lang="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4FD92A-9DC5-459B-A44D-4F735DC666D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en-US" smtClean="0"/>
              <a:pPr lvl="0"/>
              <a:t>15</a:t>
            </a:fld>
            <a:endParaRPr lang="en-US"/>
          </a:p>
        </p:txBody>
      </p:sp>
      <p:sp>
        <p:nvSpPr>
          <p:cNvPr id="23" name="Footer Placeholder 11">
            <a:extLst>
              <a:ext uri="{FF2B5EF4-FFF2-40B4-BE49-F238E27FC236}">
                <a16:creationId xmlns:a16="http://schemas.microsoft.com/office/drawing/2014/main" id="{8C17CD34-F70A-4524-A0B5-BB346ACB2C3A}"/>
              </a:ext>
            </a:extLst>
          </p:cNvPr>
          <p:cNvSpPr txBox="1">
            <a:spLocks/>
          </p:cNvSpPr>
          <p:nvPr/>
        </p:nvSpPr>
        <p:spPr>
          <a:xfrm>
            <a:off x="442912" y="6492731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едварительное технико-экономическое обоснование создания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ЦПК</a:t>
            </a: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ри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КШТХ</a:t>
            </a:r>
            <a:endParaRPr kumimoji="0" lang="ru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9" name="Google Shape;2236;p293">
            <a:extLst>
              <a:ext uri="{FF2B5EF4-FFF2-40B4-BE49-F238E27FC236}">
                <a16:creationId xmlns:a16="http://schemas.microsoft.com/office/drawing/2014/main" id="{92AA3D01-5DC5-478F-9FE8-4CE13EC8B0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4660158"/>
              </p:ext>
            </p:extLst>
          </p:nvPr>
        </p:nvGraphicFramePr>
        <p:xfrm>
          <a:off x="4207910" y="2373331"/>
          <a:ext cx="3542020" cy="4045240"/>
        </p:xfrm>
        <a:graphic>
          <a:graphicData uri="http://schemas.openxmlformats.org/drawingml/2006/table">
            <a:tbl>
              <a:tblPr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D27102A9-8310-4765-A935-A1911B00CA55}</a:tableStyleId>
              </a:tblPr>
              <a:tblGrid>
                <a:gridCol w="3542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0113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200" dirty="0"/>
                        <a:t>Коммунальные услуги и внутренняя инфраструктура</a:t>
                      </a:r>
                      <a:endParaRPr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2360420061"/>
                  </a:ext>
                </a:extLst>
              </a:tr>
              <a:tr h="101131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" sz="1200" dirty="0"/>
                        <a:t>Обеспечение жилья для работников</a:t>
                      </a:r>
                      <a:endParaRPr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3529080229"/>
                  </a:ext>
                </a:extLst>
              </a:tr>
              <a:tr h="101131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" sz="1200" dirty="0"/>
                        <a:t>Обеспечение современной складской и холодильной инфраструктурой.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736674040"/>
                  </a:ext>
                </a:extLst>
              </a:tr>
              <a:tr h="101131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" sz="1200" dirty="0"/>
                        <a:t>Внутренние сертификаты качества и документация, предоставленные собственными лабораториями.</a:t>
                      </a:r>
                      <a:endParaRPr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3574465482"/>
                  </a:ext>
                </a:extLst>
              </a:tr>
            </a:tbl>
          </a:graphicData>
        </a:graphic>
      </p:graphicFrame>
      <p:graphicFrame>
        <p:nvGraphicFramePr>
          <p:cNvPr id="20" name="Google Shape;2236;p293">
            <a:extLst>
              <a:ext uri="{FF2B5EF4-FFF2-40B4-BE49-F238E27FC236}">
                <a16:creationId xmlns:a16="http://schemas.microsoft.com/office/drawing/2014/main" id="{E32DF19C-D39F-45D8-9DA3-2A291674C9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70703533"/>
              </p:ext>
            </p:extLst>
          </p:nvPr>
        </p:nvGraphicFramePr>
        <p:xfrm>
          <a:off x="8077583" y="2373331"/>
          <a:ext cx="3800652" cy="4045240"/>
        </p:xfrm>
        <a:graphic>
          <a:graphicData uri="http://schemas.openxmlformats.org/drawingml/2006/table">
            <a:tbl>
              <a:tblPr bandRow="1"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  <a:tableStyleId>{C083E6E3-FA7D-4D7B-A595-EF9225AFEA82}</a:tableStyleId>
              </a:tblPr>
              <a:tblGrid>
                <a:gridCol w="38006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01131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" sz="1200" dirty="0"/>
                        <a:t>Автоматическое оформление доступа в страны ССТ с Казахстаном и Узбекистаном</a:t>
                      </a:r>
                      <a:endParaRPr sz="1200" dirty="0">
                        <a:latin typeface="Arial "/>
                        <a:cs typeface="Arial" panose="020B0604020202020204" pitchFamily="34" charset="0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3529080229"/>
                  </a:ext>
                </a:extLst>
              </a:tr>
              <a:tr h="101131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" sz="1200" dirty="0"/>
                        <a:t>Оформление в рамках единого окна для создания новых объектов</a:t>
                      </a:r>
                      <a:endParaRPr sz="1200" dirty="0">
                        <a:latin typeface="Arial "/>
                        <a:cs typeface="Arial" panose="020B0604020202020204" pitchFamily="34" charset="0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736674040"/>
                  </a:ext>
                </a:extLst>
              </a:tr>
              <a:tr h="101131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" sz="1200" dirty="0"/>
                        <a:t>Возможность совершать сделки в иностранной валюте.</a:t>
                      </a:r>
                      <a:endParaRPr sz="1200" dirty="0">
                        <a:latin typeface="Arial "/>
                        <a:cs typeface="Arial" panose="020B0604020202020204" pitchFamily="34" charset="0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3574465482"/>
                  </a:ext>
                </a:extLst>
              </a:tr>
              <a:tr h="101131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" sz="1200" kern="1200" dirty="0">
                          <a:solidFill>
                            <a:schemeClr val="tx1"/>
                          </a:solidFill>
                          <a:effectLst/>
                        </a:rPr>
                        <a:t>Совместн</a:t>
                      </a:r>
                      <a:r>
                        <a:rPr lang="ru-RU" sz="1200" kern="1200" dirty="0" err="1">
                          <a:solidFill>
                            <a:schemeClr val="tx1"/>
                          </a:solidFill>
                          <a:effectLst/>
                        </a:rPr>
                        <a:t>ый</a:t>
                      </a:r>
                      <a:r>
                        <a:rPr lang="ru" sz="1200" kern="1200" dirty="0">
                          <a:solidFill>
                            <a:schemeClr val="tx1"/>
                          </a:solidFill>
                          <a:effectLst/>
                        </a:rPr>
                        <a:t> инвестиционный офис Казахстана и Узбекистана</a:t>
                      </a:r>
                      <a:endParaRPr sz="1200" dirty="0">
                        <a:latin typeface="Arial "/>
                        <a:cs typeface="Arial" panose="020B0604020202020204" pitchFamily="34" charset="0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2EE411D9-9B27-4F9F-8063-F606430CA497}"/>
              </a:ext>
            </a:extLst>
          </p:cNvPr>
          <p:cNvSpPr/>
          <p:nvPr/>
        </p:nvSpPr>
        <p:spPr>
          <a:xfrm>
            <a:off x="4207911" y="1937179"/>
            <a:ext cx="3584556" cy="318499"/>
          </a:xfrm>
          <a:prstGeom prst="roundRect">
            <a:avLst/>
          </a:prstGeom>
          <a:solidFill>
            <a:srgbClr val="C28A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Стимулы для развития инфраструктуры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19F473E-0EC2-4760-A2AF-CE7AA50B06C5}"/>
              </a:ext>
            </a:extLst>
          </p:cNvPr>
          <p:cNvSpPr/>
          <p:nvPr/>
        </p:nvSpPr>
        <p:spPr>
          <a:xfrm>
            <a:off x="8077581" y="1937179"/>
            <a:ext cx="3584556" cy="318499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Стимулы для деловых возможностей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5EA4B40-6281-4F67-9525-92CE703ADFEC}"/>
              </a:ext>
            </a:extLst>
          </p:cNvPr>
          <p:cNvCxnSpPr>
            <a:cxnSpLocks/>
          </p:cNvCxnSpPr>
          <p:nvPr/>
        </p:nvCxnSpPr>
        <p:spPr>
          <a:xfrm>
            <a:off x="7917393" y="1971920"/>
            <a:ext cx="0" cy="4481391"/>
          </a:xfrm>
          <a:prstGeom prst="line">
            <a:avLst/>
          </a:prstGeom>
          <a:ln w="12700">
            <a:solidFill>
              <a:srgbClr val="DC6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</p:custDataLst>
    <p:extLst>
      <p:ext uri="{BB962C8B-B14F-4D97-AF65-F5344CB8AC3E}">
        <p14:creationId xmlns:p14="http://schemas.microsoft.com/office/powerpoint/2010/main" val="12094870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095B41-810A-40B0-8ED6-F81B04F66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1823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2" imgH="532" progId="TCLayout.ActiveDocument.1">
                  <p:embed/>
                </p:oleObj>
              </mc:Choice>
              <mc:Fallback>
                <p:oleObj name="think-cell Slide" r:id="rId5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095B41-810A-40B0-8ED6-F81B04F66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2"/>
          <p:cNvSpPr txBox="1">
            <a:spLocks noGrp="1"/>
          </p:cNvSpPr>
          <p:nvPr>
            <p:ph type="title"/>
          </p:nvPr>
        </p:nvSpPr>
        <p:spPr>
          <a:xfrm>
            <a:off x="429917" y="273767"/>
            <a:ext cx="11571734" cy="581503"/>
          </a:xfrm>
        </p:spPr>
        <p:txBody>
          <a:bodyPr anchor="ctr" anchorCtr="0">
            <a:normAutofit/>
          </a:bodyPr>
          <a:lstStyle/>
          <a:p>
            <a:pPr lvl="0"/>
            <a:r>
              <a:rPr lang="ru" sz="2400" b="0" dirty="0">
                <a:latin typeface="Georgia" panose="02040502050405020303" pitchFamily="18" charset="0"/>
              </a:rPr>
              <a:t>Институциональная структура </a:t>
            </a:r>
            <a:r>
              <a:rPr lang="ru-RU" sz="2400" b="0" dirty="0">
                <a:latin typeface="Georgia" panose="02040502050405020303" pitchFamily="18" charset="0"/>
              </a:rPr>
              <a:t>МЦПК</a:t>
            </a:r>
            <a:endParaRPr lang="ru" sz="2400" b="0" dirty="0">
              <a:latin typeface="Georgia" panose="02040502050405020303" pitchFamily="18" charset="0"/>
            </a:endParaRPr>
          </a:p>
        </p:txBody>
      </p:sp>
      <p:sp>
        <p:nvSpPr>
          <p:cNvPr id="162" name="Arrow: Down 161">
            <a:extLst>
              <a:ext uri="{FF2B5EF4-FFF2-40B4-BE49-F238E27FC236}">
                <a16:creationId xmlns:a16="http://schemas.microsoft.com/office/drawing/2014/main" id="{FCFB130B-2016-4241-856E-601B589E9841}"/>
              </a:ext>
            </a:extLst>
          </p:cNvPr>
          <p:cNvSpPr/>
          <p:nvPr/>
        </p:nvSpPr>
        <p:spPr>
          <a:xfrm rot="16200000">
            <a:off x="1518165" y="7196426"/>
            <a:ext cx="420423" cy="309032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73" name="Arrow: Down 172">
            <a:extLst>
              <a:ext uri="{FF2B5EF4-FFF2-40B4-BE49-F238E27FC236}">
                <a16:creationId xmlns:a16="http://schemas.microsoft.com/office/drawing/2014/main" id="{BBBB7B6A-4F3D-40F7-9EBB-2EFB39722F07}"/>
              </a:ext>
            </a:extLst>
          </p:cNvPr>
          <p:cNvSpPr/>
          <p:nvPr/>
        </p:nvSpPr>
        <p:spPr>
          <a:xfrm rot="16200000">
            <a:off x="4632867" y="7196426"/>
            <a:ext cx="420423" cy="309032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75" name="Arrow: Down 174">
            <a:extLst>
              <a:ext uri="{FF2B5EF4-FFF2-40B4-BE49-F238E27FC236}">
                <a16:creationId xmlns:a16="http://schemas.microsoft.com/office/drawing/2014/main" id="{BD71D246-F177-4AED-8AD6-13A210A0FF5F}"/>
              </a:ext>
            </a:extLst>
          </p:cNvPr>
          <p:cNvSpPr/>
          <p:nvPr/>
        </p:nvSpPr>
        <p:spPr>
          <a:xfrm rot="16200000">
            <a:off x="6009431" y="7208760"/>
            <a:ext cx="420423" cy="309032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9BA4F64-A1EC-4813-8A32-74A412FD710D}"/>
              </a:ext>
            </a:extLst>
          </p:cNvPr>
          <p:cNvGrpSpPr/>
          <p:nvPr/>
        </p:nvGrpSpPr>
        <p:grpSpPr>
          <a:xfrm>
            <a:off x="87341" y="1219089"/>
            <a:ext cx="12045689" cy="4965401"/>
            <a:chOff x="87341" y="1219089"/>
            <a:chExt cx="12045689" cy="5551581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B7E6350-C4B3-42DE-A8DF-326D481523DE}"/>
                </a:ext>
              </a:extLst>
            </p:cNvPr>
            <p:cNvGrpSpPr/>
            <p:nvPr/>
          </p:nvGrpSpPr>
          <p:grpSpPr>
            <a:xfrm>
              <a:off x="176349" y="2802884"/>
              <a:ext cx="5245129" cy="2682326"/>
              <a:chOff x="176349" y="2802884"/>
              <a:chExt cx="5245129" cy="2682326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86D4D0C7-438C-4BBB-B1BB-8CFFBF1AC4E8}"/>
                  </a:ext>
                </a:extLst>
              </p:cNvPr>
              <p:cNvSpPr/>
              <p:nvPr/>
            </p:nvSpPr>
            <p:spPr>
              <a:xfrm>
                <a:off x="2220712" y="4199219"/>
                <a:ext cx="1244094" cy="387357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b="1" kern="1200">
                    <a:solidFill>
                      <a:srgbClr val="FFFFFF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Руководители операций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CF790024-2FE6-4663-AAF5-55F5692480B7}"/>
                  </a:ext>
                </a:extLst>
              </p:cNvPr>
              <p:cNvSpPr/>
              <p:nvPr/>
            </p:nvSpPr>
            <p:spPr>
              <a:xfrm>
                <a:off x="3810607" y="4992441"/>
                <a:ext cx="639306" cy="482290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Юридический</a:t>
                </a:r>
                <a:endParaRPr lang="en-US" sz="11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588FBE0A-445E-4B94-AE3F-F48BC72B8624}"/>
                  </a:ext>
                </a:extLst>
              </p:cNvPr>
              <p:cNvSpPr/>
              <p:nvPr/>
            </p:nvSpPr>
            <p:spPr>
              <a:xfrm>
                <a:off x="176349" y="4991578"/>
                <a:ext cx="853832" cy="483438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Продажи и маркетинг</a:t>
                </a:r>
                <a:endParaRPr lang="en-US" sz="11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A79FC7D-BD93-47A5-889B-172A6156CF76}"/>
                  </a:ext>
                </a:extLst>
              </p:cNvPr>
              <p:cNvSpPr/>
              <p:nvPr/>
            </p:nvSpPr>
            <p:spPr>
              <a:xfrm>
                <a:off x="1122276" y="4993548"/>
                <a:ext cx="725786" cy="447631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Финансы</a:t>
                </a:r>
                <a:endParaRPr lang="en-US" sz="11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9C8969F2-1B13-4680-9DEB-393F11B8CAD5}"/>
                  </a:ext>
                </a:extLst>
              </p:cNvPr>
              <p:cNvSpPr/>
              <p:nvPr/>
            </p:nvSpPr>
            <p:spPr>
              <a:xfrm>
                <a:off x="1899491" y="5002594"/>
                <a:ext cx="923279" cy="482616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Инвестиционное продвижение</a:t>
                </a:r>
                <a:endParaRPr lang="en-US" sz="11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1C2E4E27-515C-4E57-AF06-0BC46F4C2E8A}"/>
                  </a:ext>
                </a:extLst>
              </p:cNvPr>
              <p:cNvSpPr/>
              <p:nvPr/>
            </p:nvSpPr>
            <p:spPr>
              <a:xfrm>
                <a:off x="2867124" y="4993445"/>
                <a:ext cx="885056" cy="481429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Городское управление</a:t>
                </a:r>
                <a:endParaRPr lang="en-US" sz="11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30C67D86-8672-40B5-A46F-77BFF69B437C}"/>
                  </a:ext>
                </a:extLst>
              </p:cNvPr>
              <p:cNvSpPr/>
              <p:nvPr/>
            </p:nvSpPr>
            <p:spPr>
              <a:xfrm>
                <a:off x="4508340" y="4978937"/>
                <a:ext cx="913138" cy="481076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Администрация</a:t>
                </a:r>
                <a:endParaRPr lang="en-US" sz="11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71" name="Connector: Elbow 70">
                <a:extLst>
                  <a:ext uri="{FF2B5EF4-FFF2-40B4-BE49-F238E27FC236}">
                    <a16:creationId xmlns:a16="http://schemas.microsoft.com/office/drawing/2014/main" id="{C353FCAA-C759-463E-82CE-A2172DAD069D}"/>
                  </a:ext>
                </a:extLst>
              </p:cNvPr>
              <p:cNvCxnSpPr>
                <a:cxnSpLocks/>
                <a:stCxn id="55" idx="2"/>
                <a:endCxn id="69" idx="0"/>
              </p:cNvCxnSpPr>
              <p:nvPr/>
            </p:nvCxnSpPr>
            <p:spPr>
              <a:xfrm rot="16200000" flipH="1">
                <a:off x="2872771" y="4556564"/>
                <a:ext cx="406868" cy="466893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Connector: Elbow 71">
                <a:extLst>
                  <a:ext uri="{FF2B5EF4-FFF2-40B4-BE49-F238E27FC236}">
                    <a16:creationId xmlns:a16="http://schemas.microsoft.com/office/drawing/2014/main" id="{362BAB83-0FE1-419F-85CF-8AB286023D22}"/>
                  </a:ext>
                </a:extLst>
              </p:cNvPr>
              <p:cNvCxnSpPr>
                <a:cxnSpLocks/>
                <a:endCxn id="66" idx="0"/>
              </p:cNvCxnSpPr>
              <p:nvPr/>
            </p:nvCxnSpPr>
            <p:spPr>
              <a:xfrm rot="10800000" flipV="1">
                <a:off x="2361131" y="4789913"/>
                <a:ext cx="461648" cy="212680"/>
              </a:xfrm>
              <a:prstGeom prst="bentConnector2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Connector: Elbow 72">
                <a:extLst>
                  <a:ext uri="{FF2B5EF4-FFF2-40B4-BE49-F238E27FC236}">
                    <a16:creationId xmlns:a16="http://schemas.microsoft.com/office/drawing/2014/main" id="{E5CF005D-1306-4258-A7C6-886353E3B3FE}"/>
                  </a:ext>
                </a:extLst>
              </p:cNvPr>
              <p:cNvCxnSpPr>
                <a:cxnSpLocks/>
                <a:stCxn id="55" idx="2"/>
                <a:endCxn id="65" idx="0"/>
              </p:cNvCxnSpPr>
              <p:nvPr/>
            </p:nvCxnSpPr>
            <p:spPr>
              <a:xfrm rot="5400000">
                <a:off x="1960478" y="4111267"/>
                <a:ext cx="406971" cy="1357590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Connector: Elbow 73">
                <a:extLst>
                  <a:ext uri="{FF2B5EF4-FFF2-40B4-BE49-F238E27FC236}">
                    <a16:creationId xmlns:a16="http://schemas.microsoft.com/office/drawing/2014/main" id="{804CC052-191E-4417-956C-D753FD155937}"/>
                  </a:ext>
                </a:extLst>
              </p:cNvPr>
              <p:cNvCxnSpPr>
                <a:cxnSpLocks/>
                <a:stCxn id="55" idx="2"/>
                <a:endCxn id="60" idx="0"/>
              </p:cNvCxnSpPr>
              <p:nvPr/>
            </p:nvCxnSpPr>
            <p:spPr>
              <a:xfrm rot="5400000">
                <a:off x="1520511" y="3669330"/>
                <a:ext cx="405002" cy="2239494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Connector: Elbow 74">
                <a:extLst>
                  <a:ext uri="{FF2B5EF4-FFF2-40B4-BE49-F238E27FC236}">
                    <a16:creationId xmlns:a16="http://schemas.microsoft.com/office/drawing/2014/main" id="{617D19CA-1B4F-4BF4-A749-8E698932CAE6}"/>
                  </a:ext>
                </a:extLst>
              </p:cNvPr>
              <p:cNvCxnSpPr>
                <a:cxnSpLocks/>
                <a:stCxn id="55" idx="2"/>
                <a:endCxn id="70" idx="0"/>
              </p:cNvCxnSpPr>
              <p:nvPr/>
            </p:nvCxnSpPr>
            <p:spPr>
              <a:xfrm rot="16200000" flipH="1">
                <a:off x="3707654" y="3721682"/>
                <a:ext cx="392361" cy="2122150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Connector: Elbow 75">
                <a:extLst>
                  <a:ext uri="{FF2B5EF4-FFF2-40B4-BE49-F238E27FC236}">
                    <a16:creationId xmlns:a16="http://schemas.microsoft.com/office/drawing/2014/main" id="{1A8462BC-B719-41F8-8648-AD78CA7382A8}"/>
                  </a:ext>
                </a:extLst>
              </p:cNvPr>
              <p:cNvCxnSpPr>
                <a:cxnSpLocks/>
                <a:stCxn id="55" idx="2"/>
                <a:endCxn id="58" idx="0"/>
              </p:cNvCxnSpPr>
              <p:nvPr/>
            </p:nvCxnSpPr>
            <p:spPr>
              <a:xfrm rot="16200000" flipH="1">
                <a:off x="3283577" y="4145758"/>
                <a:ext cx="405864" cy="1287501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B09A6CAC-FDCA-425B-B098-2F2C98B0E4D3}"/>
                  </a:ext>
                </a:extLst>
              </p:cNvPr>
              <p:cNvSpPr/>
              <p:nvPr/>
            </p:nvSpPr>
            <p:spPr>
              <a:xfrm>
                <a:off x="2437236" y="2802884"/>
                <a:ext cx="1181179" cy="260185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b="1" kern="1200">
                    <a:solidFill>
                      <a:srgbClr val="FFFFFF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Председатель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000CBB93-3998-47F3-993E-ED459937B14B}"/>
                  </a:ext>
                </a:extLst>
              </p:cNvPr>
              <p:cNvSpPr/>
              <p:nvPr/>
            </p:nvSpPr>
            <p:spPr>
              <a:xfrm>
                <a:off x="1537717" y="3150937"/>
                <a:ext cx="1181179" cy="319353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b="1" kern="1200">
                    <a:solidFill>
                      <a:srgbClr val="FFFFFF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Вице-председатель 1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DE80FE34-2343-43AA-A40E-12FA4DF75A8E}"/>
                  </a:ext>
                </a:extLst>
              </p:cNvPr>
              <p:cNvSpPr/>
              <p:nvPr/>
            </p:nvSpPr>
            <p:spPr>
              <a:xfrm>
                <a:off x="1469808" y="3727792"/>
                <a:ext cx="2822717" cy="363335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b="1" kern="1200">
                    <a:solidFill>
                      <a:srgbClr val="FFFFFF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Межправительственный наблюдательный совет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D8B7236D-BE26-47B1-AF7B-56A1E62E3F8B}"/>
                  </a:ext>
                </a:extLst>
              </p:cNvPr>
              <p:cNvSpPr/>
              <p:nvPr/>
            </p:nvSpPr>
            <p:spPr>
              <a:xfrm>
                <a:off x="3305838" y="3158105"/>
                <a:ext cx="1098670" cy="328119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b="1" kern="1200">
                    <a:solidFill>
                      <a:srgbClr val="FFFFFF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Вице-председатель 2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81" name="Connector: Elbow 80">
                <a:extLst>
                  <a:ext uri="{FF2B5EF4-FFF2-40B4-BE49-F238E27FC236}">
                    <a16:creationId xmlns:a16="http://schemas.microsoft.com/office/drawing/2014/main" id="{7DDB7EDA-A14B-453B-8913-C9FBCA3418E2}"/>
                  </a:ext>
                </a:extLst>
              </p:cNvPr>
              <p:cNvCxnSpPr>
                <a:cxnSpLocks/>
                <a:stCxn id="77" idx="2"/>
                <a:endCxn id="80" idx="0"/>
              </p:cNvCxnSpPr>
              <p:nvPr/>
            </p:nvCxnSpPr>
            <p:spPr>
              <a:xfrm rot="16200000" flipH="1">
                <a:off x="3393982" y="2696913"/>
                <a:ext cx="95036" cy="827347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Connector: Elbow 81">
                <a:extLst>
                  <a:ext uri="{FF2B5EF4-FFF2-40B4-BE49-F238E27FC236}">
                    <a16:creationId xmlns:a16="http://schemas.microsoft.com/office/drawing/2014/main" id="{32900AC2-75FD-40DE-8D0B-B5832528B58F}"/>
                  </a:ext>
                </a:extLst>
              </p:cNvPr>
              <p:cNvCxnSpPr>
                <a:cxnSpLocks/>
                <a:stCxn id="77" idx="2"/>
                <a:endCxn id="78" idx="0"/>
              </p:cNvCxnSpPr>
              <p:nvPr/>
            </p:nvCxnSpPr>
            <p:spPr>
              <a:xfrm rot="5400000">
                <a:off x="2534133" y="2657244"/>
                <a:ext cx="87868" cy="899519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Connector: Elbow 82">
                <a:extLst>
                  <a:ext uri="{FF2B5EF4-FFF2-40B4-BE49-F238E27FC236}">
                    <a16:creationId xmlns:a16="http://schemas.microsoft.com/office/drawing/2014/main" id="{64215F37-9C81-4445-A4DA-31737075C8AB}"/>
                  </a:ext>
                </a:extLst>
              </p:cNvPr>
              <p:cNvCxnSpPr>
                <a:cxnSpLocks/>
                <a:stCxn id="80" idx="2"/>
                <a:endCxn id="79" idx="0"/>
              </p:cNvCxnSpPr>
              <p:nvPr/>
            </p:nvCxnSpPr>
            <p:spPr>
              <a:xfrm rot="5400000">
                <a:off x="3247386" y="3120005"/>
                <a:ext cx="241568" cy="974006"/>
              </a:xfrm>
              <a:prstGeom prst="bentConnector3">
                <a:avLst>
                  <a:gd name="adj1" fmla="val 45930"/>
                </a:avLst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Connector: Elbow 83">
                <a:extLst>
                  <a:ext uri="{FF2B5EF4-FFF2-40B4-BE49-F238E27FC236}">
                    <a16:creationId xmlns:a16="http://schemas.microsoft.com/office/drawing/2014/main" id="{12C0BE9D-E52F-44E3-914B-B6447D5F0DAE}"/>
                  </a:ext>
                </a:extLst>
              </p:cNvPr>
              <p:cNvCxnSpPr>
                <a:cxnSpLocks/>
                <a:stCxn id="78" idx="2"/>
                <a:endCxn id="79" idx="0"/>
              </p:cNvCxnSpPr>
              <p:nvPr/>
            </p:nvCxnSpPr>
            <p:spPr>
              <a:xfrm rot="16200000" flipH="1">
                <a:off x="2375986" y="3222611"/>
                <a:ext cx="257502" cy="752860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Arrow Connector 107">
                <a:extLst>
                  <a:ext uri="{FF2B5EF4-FFF2-40B4-BE49-F238E27FC236}">
                    <a16:creationId xmlns:a16="http://schemas.microsoft.com/office/drawing/2014/main" id="{E89F5B8F-34DD-46A9-8E3B-EBD4328E03CE}"/>
                  </a:ext>
                </a:extLst>
              </p:cNvPr>
              <p:cNvCxnSpPr/>
              <p:nvPr/>
            </p:nvCxnSpPr>
            <p:spPr>
              <a:xfrm>
                <a:off x="2881167" y="4042402"/>
                <a:ext cx="0" cy="175594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3B90ED71-0B81-48A1-8849-8F3CF246959F}"/>
                </a:ext>
              </a:extLst>
            </p:cNvPr>
            <p:cNvSpPr txBox="1"/>
            <p:nvPr/>
          </p:nvSpPr>
          <p:spPr>
            <a:xfrm>
              <a:off x="176349" y="1540792"/>
              <a:ext cx="5104567" cy="4817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" sz="1400" i="1" dirty="0">
                  <a:cs typeface="Arial" pitchFamily="34" charset="0"/>
                </a:rPr>
                <a:t>В </a:t>
              </a:r>
              <a:r>
                <a:rPr lang="ru" sz="1400" i="1" noProof="0" dirty="0">
                  <a:solidFill>
                    <a:schemeClr val="tx1"/>
                  </a:solidFill>
                  <a:cs typeface="Arial" pitchFamily="34" charset="0"/>
                </a:rPr>
                <a:t>этой модели </a:t>
              </a:r>
              <a:r>
                <a:rPr lang="ru-RU" sz="1400" i="1" noProof="0" dirty="0">
                  <a:solidFill>
                    <a:schemeClr val="tx1"/>
                  </a:solidFill>
                  <a:cs typeface="Arial" pitchFamily="34" charset="0"/>
                </a:rPr>
                <a:t>МЦПК</a:t>
              </a:r>
              <a:r>
                <a:rPr lang="ru" sz="1400" i="1" noProof="0" dirty="0">
                  <a:solidFill>
                    <a:schemeClr val="tx1"/>
                  </a:solidFill>
                  <a:cs typeface="Arial" pitchFamily="34" charset="0"/>
                </a:rPr>
                <a:t> будет создан как совместное предприятие Казахстана и Узбекистана.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017390D2-809A-4C5D-A228-CF7AE6467EBB}"/>
                </a:ext>
              </a:extLst>
            </p:cNvPr>
            <p:cNvSpPr txBox="1"/>
            <p:nvPr/>
          </p:nvSpPr>
          <p:spPr>
            <a:xfrm>
              <a:off x="203489" y="2089419"/>
              <a:ext cx="5104567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" sz="1400" i="1" dirty="0">
                  <a:cs typeface="Arial" pitchFamily="34" charset="0"/>
                </a:rPr>
                <a:t>Совет состоит из одного председателя, назначаемого на ротационной основе, и двух заместителей председателя, по одному от каждой страны.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AE876DD9-FA58-42DD-B766-2DD5A41BC8F2}"/>
                </a:ext>
              </a:extLst>
            </p:cNvPr>
            <p:cNvGrpSpPr/>
            <p:nvPr/>
          </p:nvGrpSpPr>
          <p:grpSpPr>
            <a:xfrm>
              <a:off x="5631367" y="1540792"/>
              <a:ext cx="6383328" cy="4013936"/>
              <a:chOff x="5631367" y="1540792"/>
              <a:chExt cx="6383328" cy="4013936"/>
            </a:xfrm>
          </p:grpSpPr>
          <p:cxnSp>
            <p:nvCxnSpPr>
              <p:cNvPr id="121" name="Connector: Elbow 120">
                <a:extLst>
                  <a:ext uri="{FF2B5EF4-FFF2-40B4-BE49-F238E27FC236}">
                    <a16:creationId xmlns:a16="http://schemas.microsoft.com/office/drawing/2014/main" id="{588FE7C8-9714-44A2-B89A-D3AAD51B6D77}"/>
                  </a:ext>
                </a:extLst>
              </p:cNvPr>
              <p:cNvCxnSpPr>
                <a:cxnSpLocks/>
                <a:stCxn id="150" idx="3"/>
                <a:endCxn id="122" idx="0"/>
              </p:cNvCxnSpPr>
              <p:nvPr/>
            </p:nvCxnSpPr>
            <p:spPr>
              <a:xfrm>
                <a:off x="8412244" y="3655011"/>
                <a:ext cx="573419" cy="1211835"/>
              </a:xfrm>
              <a:prstGeom prst="bentConnector3">
                <a:avLst>
                  <a:gd name="adj1" fmla="val 50000"/>
                </a:avLst>
              </a:prstGeom>
              <a:ln w="19050">
                <a:solidFill>
                  <a:srgbClr val="00B0F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C3699B6D-7651-4EC1-A65A-E6949FBAF170}"/>
                  </a:ext>
                </a:extLst>
              </p:cNvPr>
              <p:cNvSpPr/>
              <p:nvPr/>
            </p:nvSpPr>
            <p:spPr>
              <a:xfrm rot="16200000">
                <a:off x="8552261" y="4651396"/>
                <a:ext cx="1297705" cy="4309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Адм. совет </a:t>
                </a:r>
                <a:r>
                  <a:rPr lang="ru" sz="900" dirty="0">
                    <a:solidFill>
                      <a:srgbClr val="000000"/>
                    </a:solidFill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области</a:t>
                </a:r>
                <a:r>
                  <a:rPr lang="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/региона</a:t>
                </a:r>
                <a:endParaRPr lang="en-US" sz="11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9566701A-2A0C-46A8-B79B-139AFD57A08D}"/>
                  </a:ext>
                </a:extLst>
              </p:cNvPr>
              <p:cNvSpPr/>
              <p:nvPr/>
            </p:nvSpPr>
            <p:spPr>
              <a:xfrm>
                <a:off x="9529647" y="4436598"/>
                <a:ext cx="1166038" cy="1118130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Хокимият Сырдарьинской области</a:t>
                </a:r>
                <a:endParaRPr lang="en-US" sz="11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46846221-8C18-441D-912B-FABEDB82A0B2}"/>
                  </a:ext>
                </a:extLst>
              </p:cNvPr>
              <p:cNvSpPr/>
              <p:nvPr/>
            </p:nvSpPr>
            <p:spPr>
              <a:xfrm>
                <a:off x="10772598" y="5100697"/>
                <a:ext cx="1242097" cy="415006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Акимат города Шымкент</a:t>
                </a:r>
                <a:endParaRPr lang="en-US" sz="11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BF6FEBC9-4D84-4429-87D9-C4414C503187}"/>
                  </a:ext>
                </a:extLst>
              </p:cNvPr>
              <p:cNvSpPr/>
              <p:nvPr/>
            </p:nvSpPr>
            <p:spPr>
              <a:xfrm>
                <a:off x="9529647" y="3385058"/>
                <a:ext cx="1166038" cy="415006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Министерство финансов</a:t>
                </a:r>
                <a:endParaRPr lang="en-US" sz="110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3EC1AF70-3FE6-4A1C-9D9B-B1AD53EBD950}"/>
                  </a:ext>
                </a:extLst>
              </p:cNvPr>
              <p:cNvSpPr/>
              <p:nvPr/>
            </p:nvSpPr>
            <p:spPr>
              <a:xfrm>
                <a:off x="9529647" y="3905491"/>
                <a:ext cx="1166038" cy="415006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Государственный таможенный комитет</a:t>
                </a:r>
                <a:endParaRPr lang="en-US" sz="110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01580418-CC30-40C2-9DE8-2A15D2616228}"/>
                  </a:ext>
                </a:extLst>
              </p:cNvPr>
              <p:cNvSpPr/>
              <p:nvPr/>
            </p:nvSpPr>
            <p:spPr>
              <a:xfrm>
                <a:off x="9529647" y="2857176"/>
                <a:ext cx="1166038" cy="415006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Министерство инвестиций и внешней торговли</a:t>
                </a:r>
                <a:endParaRPr lang="en-US" sz="110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8" name="Rectangle 127">
                <a:extLst>
                  <a:ext uri="{FF2B5EF4-FFF2-40B4-BE49-F238E27FC236}">
                    <a16:creationId xmlns:a16="http://schemas.microsoft.com/office/drawing/2014/main" id="{FF02E2B0-49A3-465B-8B3A-3074FD22D806}"/>
                  </a:ext>
                </a:extLst>
              </p:cNvPr>
              <p:cNvSpPr/>
              <p:nvPr/>
            </p:nvSpPr>
            <p:spPr>
              <a:xfrm>
                <a:off x="9529647" y="2339658"/>
                <a:ext cx="1166038" cy="415006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Министерство экономики</a:t>
                </a:r>
                <a:endParaRPr lang="en-US" sz="110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525A2941-5488-40E4-8860-91DBA8FDA5EE}"/>
                  </a:ext>
                </a:extLst>
              </p:cNvPr>
              <p:cNvSpPr/>
              <p:nvPr/>
            </p:nvSpPr>
            <p:spPr>
              <a:xfrm>
                <a:off x="10772598" y="2339658"/>
                <a:ext cx="1242097" cy="467791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Министерство экономики и развития торговли</a:t>
                </a:r>
                <a:endParaRPr lang="en-US" sz="11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0" name="Rectangle 129">
                <a:extLst>
                  <a:ext uri="{FF2B5EF4-FFF2-40B4-BE49-F238E27FC236}">
                    <a16:creationId xmlns:a16="http://schemas.microsoft.com/office/drawing/2014/main" id="{9B48B817-D927-4D7E-8C58-69B6D6E2AB60}"/>
                  </a:ext>
                </a:extLst>
              </p:cNvPr>
              <p:cNvSpPr/>
              <p:nvPr/>
            </p:nvSpPr>
            <p:spPr>
              <a:xfrm>
                <a:off x="10772598" y="2857176"/>
                <a:ext cx="1242097" cy="415006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86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Мин-во торговли и инфраструктурного развития</a:t>
                </a:r>
                <a:endParaRPr lang="en-US" sz="86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5927CBFE-9931-44EB-910D-6890A7F2C446}"/>
                  </a:ext>
                </a:extLst>
              </p:cNvPr>
              <p:cNvSpPr/>
              <p:nvPr/>
            </p:nvSpPr>
            <p:spPr>
              <a:xfrm>
                <a:off x="10772598" y="3385058"/>
                <a:ext cx="1242097" cy="415006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Комитет государственных доходов Минфин</a:t>
                </a:r>
                <a:endParaRPr lang="en-US" sz="11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21E494EA-CBDF-4E30-8D27-891A1897B3E2}"/>
                  </a:ext>
                </a:extLst>
              </p:cNvPr>
              <p:cNvSpPr/>
              <p:nvPr/>
            </p:nvSpPr>
            <p:spPr>
              <a:xfrm>
                <a:off x="10772598" y="3905491"/>
                <a:ext cx="1242097" cy="415006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Таможенный комитет</a:t>
                </a:r>
                <a:endParaRPr lang="en-US" sz="11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3BCDBADC-947B-45DD-8356-ACD8C0CF8009}"/>
                  </a:ext>
                </a:extLst>
              </p:cNvPr>
              <p:cNvSpPr/>
              <p:nvPr/>
            </p:nvSpPr>
            <p:spPr>
              <a:xfrm rot="16200000">
                <a:off x="8210694" y="2916973"/>
                <a:ext cx="1980841" cy="43090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Представительство ключевых экономических министерств</a:t>
                </a:r>
                <a:endParaRPr lang="en-US" sz="11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C09D00C8-1371-4540-953F-CC363EBE4CB6}"/>
                  </a:ext>
                </a:extLst>
              </p:cNvPr>
              <p:cNvSpPr/>
              <p:nvPr/>
            </p:nvSpPr>
            <p:spPr>
              <a:xfrm>
                <a:off x="10772598" y="4519304"/>
                <a:ext cx="1242097" cy="415006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Акимат Туркестанского района</a:t>
                </a:r>
                <a:endParaRPr lang="en-US" sz="110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8098EC3B-D70D-4B58-AF72-98CA818D4FA1}"/>
                  </a:ext>
                </a:extLst>
              </p:cNvPr>
              <p:cNvSpPr/>
              <p:nvPr/>
            </p:nvSpPr>
            <p:spPr>
              <a:xfrm>
                <a:off x="10772598" y="1973933"/>
                <a:ext cx="1242096" cy="25285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>
                    <a:solidFill>
                      <a:srgbClr val="FFFFFF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Казахстан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78B6912D-0776-47F4-B56A-9F60E7C52C62}"/>
                  </a:ext>
                </a:extLst>
              </p:cNvPr>
              <p:cNvSpPr/>
              <p:nvPr/>
            </p:nvSpPr>
            <p:spPr>
              <a:xfrm>
                <a:off x="9529647" y="1973933"/>
                <a:ext cx="1166038" cy="26279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>
                    <a:solidFill>
                      <a:srgbClr val="FFFFFF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Узбекистан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0704CD88-62E9-4365-BA24-526773F6A8E0}"/>
                  </a:ext>
                </a:extLst>
              </p:cNvPr>
              <p:cNvSpPr/>
              <p:nvPr/>
            </p:nvSpPr>
            <p:spPr>
              <a:xfrm>
                <a:off x="6485966" y="1933846"/>
                <a:ext cx="1929817" cy="650611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>
                    <a:solidFill>
                      <a:srgbClr val="FFFFFF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Модель двойного развития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FC9EEAE4-B94F-4176-8E13-2E8BA2836A93}"/>
                  </a:ext>
                </a:extLst>
              </p:cNvPr>
              <p:cNvSpPr/>
              <p:nvPr/>
            </p:nvSpPr>
            <p:spPr>
              <a:xfrm>
                <a:off x="5631735" y="4048101"/>
                <a:ext cx="754581" cy="484393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Владение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975534C2-B279-40E0-89FB-6B1A70003345}"/>
                  </a:ext>
                </a:extLst>
              </p:cNvPr>
              <p:cNvSpPr/>
              <p:nvPr/>
            </p:nvSpPr>
            <p:spPr>
              <a:xfrm>
                <a:off x="6520954" y="2851709"/>
                <a:ext cx="912350" cy="37244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>
                    <a:solidFill>
                      <a:srgbClr val="FFFFFF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Узбекистан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99EA6645-3258-4C9B-8E81-04853E88101A}"/>
                  </a:ext>
                </a:extLst>
              </p:cNvPr>
              <p:cNvSpPr/>
              <p:nvPr/>
            </p:nvSpPr>
            <p:spPr>
              <a:xfrm>
                <a:off x="7497040" y="2853928"/>
                <a:ext cx="918222" cy="384851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>
                    <a:solidFill>
                      <a:srgbClr val="FFFFFF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Казахстан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2D24D40B-0EE4-48A3-8B5C-A30D57698A15}"/>
                  </a:ext>
                </a:extLst>
              </p:cNvPr>
              <p:cNvSpPr/>
              <p:nvPr/>
            </p:nvSpPr>
            <p:spPr>
              <a:xfrm>
                <a:off x="6520520" y="4056494"/>
                <a:ext cx="874063" cy="444045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Узбекистан / ГЧП</a:t>
                </a:r>
                <a:endParaRPr lang="en-US" sz="110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B347D25A-7D4A-45A4-8C9A-7615A8D4BA04}"/>
                  </a:ext>
                </a:extLst>
              </p:cNvPr>
              <p:cNvSpPr/>
              <p:nvPr/>
            </p:nvSpPr>
            <p:spPr>
              <a:xfrm>
                <a:off x="5631735" y="4659810"/>
                <a:ext cx="754582" cy="484393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Операции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3" name="Rectangle 142">
                <a:extLst>
                  <a:ext uri="{FF2B5EF4-FFF2-40B4-BE49-F238E27FC236}">
                    <a16:creationId xmlns:a16="http://schemas.microsoft.com/office/drawing/2014/main" id="{61929719-1D90-4BDD-88B0-16466C99CE14}"/>
                  </a:ext>
                </a:extLst>
              </p:cNvPr>
              <p:cNvSpPr/>
              <p:nvPr/>
            </p:nvSpPr>
            <p:spPr>
              <a:xfrm>
                <a:off x="6520520" y="4668204"/>
                <a:ext cx="874063" cy="432491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Узбекистан / Частное</a:t>
                </a:r>
                <a:r>
                  <a:rPr lang="en-US" sz="90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 </a:t>
                </a:r>
                <a:r>
                  <a:rPr lang="ru-RU" sz="90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юр.</a:t>
                </a:r>
                <a:r>
                  <a:rPr lang="ru" sz="90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 лицо</a:t>
                </a:r>
                <a:endParaRPr lang="en-US" sz="11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4" name="Rectangle 143">
                <a:extLst>
                  <a:ext uri="{FF2B5EF4-FFF2-40B4-BE49-F238E27FC236}">
                    <a16:creationId xmlns:a16="http://schemas.microsoft.com/office/drawing/2014/main" id="{BEADEF07-FA05-46E3-8298-0199966A0447}"/>
                  </a:ext>
                </a:extLst>
              </p:cNvPr>
              <p:cNvSpPr/>
              <p:nvPr/>
            </p:nvSpPr>
            <p:spPr>
              <a:xfrm>
                <a:off x="7516103" y="4668207"/>
                <a:ext cx="899679" cy="432490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Казахстан / Частное юр. лицо </a:t>
                </a:r>
                <a:endParaRPr lang="en-US" sz="11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5" name="Rectangle 144">
                <a:extLst>
                  <a:ext uri="{FF2B5EF4-FFF2-40B4-BE49-F238E27FC236}">
                    <a16:creationId xmlns:a16="http://schemas.microsoft.com/office/drawing/2014/main" id="{A581583F-0AB7-4DD0-9EFC-4836CE99EE17}"/>
                  </a:ext>
                </a:extLst>
              </p:cNvPr>
              <p:cNvSpPr/>
              <p:nvPr/>
            </p:nvSpPr>
            <p:spPr>
              <a:xfrm>
                <a:off x="7516103" y="4056494"/>
                <a:ext cx="896142" cy="484393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Казахстан / ГЧП</a:t>
                </a:r>
                <a:endParaRPr lang="en-US" sz="110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6" name="Rectangle 145">
                <a:extLst>
                  <a:ext uri="{FF2B5EF4-FFF2-40B4-BE49-F238E27FC236}">
                    <a16:creationId xmlns:a16="http://schemas.microsoft.com/office/drawing/2014/main" id="{8C6DB9C8-EEE4-4CC1-BBF3-C53B787A89F8}"/>
                  </a:ext>
                </a:extLst>
              </p:cNvPr>
              <p:cNvSpPr/>
              <p:nvPr/>
            </p:nvSpPr>
            <p:spPr>
              <a:xfrm>
                <a:off x="5631367" y="3417247"/>
                <a:ext cx="763896" cy="484393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Консультативный орган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47" name="Connector: Elbow 146">
                <a:extLst>
                  <a:ext uri="{FF2B5EF4-FFF2-40B4-BE49-F238E27FC236}">
                    <a16:creationId xmlns:a16="http://schemas.microsoft.com/office/drawing/2014/main" id="{0BB79A36-7265-4567-B93E-B91145CF0735}"/>
                  </a:ext>
                </a:extLst>
              </p:cNvPr>
              <p:cNvCxnSpPr>
                <a:cxnSpLocks/>
                <a:stCxn id="150" idx="3"/>
                <a:endCxn id="149" idx="1"/>
              </p:cNvCxnSpPr>
              <p:nvPr/>
            </p:nvCxnSpPr>
            <p:spPr>
              <a:xfrm flipV="1">
                <a:off x="8412244" y="1731251"/>
                <a:ext cx="1108110" cy="1923760"/>
              </a:xfrm>
              <a:prstGeom prst="bentConnector3">
                <a:avLst>
                  <a:gd name="adj1" fmla="val 26043"/>
                </a:avLst>
              </a:prstGeom>
              <a:ln w="19050">
                <a:solidFill>
                  <a:srgbClr val="00B0F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E961D024-AEBE-43AE-B979-56F67A4BFBAE}"/>
                  </a:ext>
                </a:extLst>
              </p:cNvPr>
              <p:cNvSpPr/>
              <p:nvPr/>
            </p:nvSpPr>
            <p:spPr>
              <a:xfrm>
                <a:off x="6483429" y="3324816"/>
                <a:ext cx="2012472" cy="650611"/>
              </a:xfrm>
              <a:prstGeom prst="rect">
                <a:avLst/>
              </a:prstGeom>
              <a:noFill/>
              <a:ln w="28575">
                <a:solidFill>
                  <a:srgbClr val="00B0F0"/>
                </a:solidFill>
                <a:prstDash val="sysDash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9" name="Rectangle 148">
                <a:extLst>
                  <a:ext uri="{FF2B5EF4-FFF2-40B4-BE49-F238E27FC236}">
                    <a16:creationId xmlns:a16="http://schemas.microsoft.com/office/drawing/2014/main" id="{6779A7C9-E57A-4F56-BA10-974B24B8EE0A}"/>
                  </a:ext>
                </a:extLst>
              </p:cNvPr>
              <p:cNvSpPr/>
              <p:nvPr/>
            </p:nvSpPr>
            <p:spPr>
              <a:xfrm>
                <a:off x="9520354" y="1540792"/>
                <a:ext cx="2494294" cy="380918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1100"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Наблюдательный совет</a:t>
                </a:r>
              </a:p>
            </p:txBody>
          </p:sp>
          <p:sp>
            <p:nvSpPr>
              <p:cNvPr id="150" name="Rectangle 149">
                <a:extLst>
                  <a:ext uri="{FF2B5EF4-FFF2-40B4-BE49-F238E27FC236}">
                    <a16:creationId xmlns:a16="http://schemas.microsoft.com/office/drawing/2014/main" id="{D61299D5-A2EB-4780-B4F5-D713C0C85C49}"/>
                  </a:ext>
                </a:extLst>
              </p:cNvPr>
              <p:cNvSpPr/>
              <p:nvPr/>
            </p:nvSpPr>
            <p:spPr>
              <a:xfrm>
                <a:off x="6520520" y="3395738"/>
                <a:ext cx="1891724" cy="518546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>
                    <a:solidFill>
                      <a:srgbClr val="FFFFFF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Times New Roman" panose="02020603050405020304" pitchFamily="18" charset="0"/>
                  </a:rPr>
                  <a:t>Межправительственный наблюдательный совет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2DD61C37-B4C0-47D7-9A20-C798CB37151C}"/>
                </a:ext>
              </a:extLst>
            </p:cNvPr>
            <p:cNvSpPr/>
            <p:nvPr/>
          </p:nvSpPr>
          <p:spPr>
            <a:xfrm>
              <a:off x="145232" y="5648765"/>
              <a:ext cx="2668522" cy="299356"/>
            </a:xfrm>
            <a:prstGeom prst="rect">
              <a:avLst/>
            </a:prstGeom>
            <a:solidFill>
              <a:srgbClr val="46464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>
                <a:lnSpc>
                  <a:spcPct val="100000"/>
                </a:lnSpc>
              </a:pPr>
              <a:r>
                <a:rPr lang="ru" sz="1200" b="1"/>
                <a:t>Плюсы</a:t>
              </a: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523F56A1-4AC7-40A8-8ACF-2AC7048D7C29}"/>
                </a:ext>
              </a:extLst>
            </p:cNvPr>
            <p:cNvSpPr/>
            <p:nvPr/>
          </p:nvSpPr>
          <p:spPr>
            <a:xfrm>
              <a:off x="179174" y="6007783"/>
              <a:ext cx="2594167" cy="3327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>
                <a:lnSpc>
                  <a:spcPct val="100000"/>
                </a:lnSpc>
              </a:pPr>
              <a:r>
                <a:rPr lang="ru" sz="1200" dirty="0">
                  <a:solidFill>
                    <a:schemeClr val="tx1"/>
                  </a:solidFill>
                </a:rPr>
                <a:t>Можно достичь гармонизации законов</a:t>
              </a:r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49C7BB6C-F8DB-48BE-B6B2-C54B03AD466B}"/>
                </a:ext>
              </a:extLst>
            </p:cNvPr>
            <p:cNvSpPr/>
            <p:nvPr/>
          </p:nvSpPr>
          <p:spPr>
            <a:xfrm>
              <a:off x="2845271" y="5644584"/>
              <a:ext cx="2462785" cy="31445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>
                <a:lnSpc>
                  <a:spcPct val="100000"/>
                </a:lnSpc>
              </a:pPr>
              <a:r>
                <a:rPr lang="ru" sz="1200" b="1"/>
                <a:t>Минусы</a:t>
              </a:r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FF40D368-F35A-418D-95AD-F70670BA44A6}"/>
                </a:ext>
              </a:extLst>
            </p:cNvPr>
            <p:cNvSpPr/>
            <p:nvPr/>
          </p:nvSpPr>
          <p:spPr>
            <a:xfrm>
              <a:off x="171475" y="6420336"/>
              <a:ext cx="2594167" cy="3327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>
                <a:lnSpc>
                  <a:spcPct val="100000"/>
                </a:lnSpc>
              </a:pPr>
              <a:r>
                <a:rPr lang="ru" sz="1200" dirty="0">
                  <a:solidFill>
                    <a:schemeClr val="tx1"/>
                  </a:solidFill>
                </a:rPr>
                <a:t>Легкость координации</a:t>
              </a: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7A5F37E7-9C3D-4A9C-9D08-61C9638C2C19}"/>
                </a:ext>
              </a:extLst>
            </p:cNvPr>
            <p:cNvSpPr/>
            <p:nvPr/>
          </p:nvSpPr>
          <p:spPr>
            <a:xfrm>
              <a:off x="2843439" y="5989776"/>
              <a:ext cx="2550963" cy="3327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>
                <a:lnSpc>
                  <a:spcPct val="100000"/>
                </a:lnSpc>
              </a:pPr>
              <a:r>
                <a:rPr lang="ru-RU" sz="1200" dirty="0">
                  <a:solidFill>
                    <a:schemeClr val="tx1"/>
                  </a:solidFill>
                </a:rPr>
                <a:t>МЦПК</a:t>
              </a:r>
              <a:r>
                <a:rPr lang="ru" sz="1200" dirty="0">
                  <a:solidFill>
                    <a:schemeClr val="tx1"/>
                  </a:solidFill>
                </a:rPr>
                <a:t> создаст свои собственные правила</a:t>
              </a: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34C0AC29-DF44-4DB7-82CF-80F8492438C5}"/>
                </a:ext>
              </a:extLst>
            </p:cNvPr>
            <p:cNvSpPr/>
            <p:nvPr/>
          </p:nvSpPr>
          <p:spPr>
            <a:xfrm>
              <a:off x="2834066" y="6400686"/>
              <a:ext cx="2462785" cy="3327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>
                <a:lnSpc>
                  <a:spcPct val="100000"/>
                </a:lnSpc>
              </a:pPr>
              <a:r>
                <a:rPr lang="ru" sz="1200" dirty="0">
                  <a:solidFill>
                    <a:schemeClr val="tx1"/>
                  </a:solidFill>
                </a:rPr>
                <a:t>Вероятность разногласий между стейкхолдерами</a:t>
              </a: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58768C5A-DBB2-4B64-B528-701327377389}"/>
                </a:ext>
              </a:extLst>
            </p:cNvPr>
            <p:cNvSpPr/>
            <p:nvPr/>
          </p:nvSpPr>
          <p:spPr>
            <a:xfrm>
              <a:off x="6181842" y="5645039"/>
              <a:ext cx="2668522" cy="299356"/>
            </a:xfrm>
            <a:prstGeom prst="rect">
              <a:avLst/>
            </a:prstGeom>
            <a:solidFill>
              <a:srgbClr val="46464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>
                <a:lnSpc>
                  <a:spcPct val="100000"/>
                </a:lnSpc>
              </a:pPr>
              <a:r>
                <a:rPr lang="ru" sz="1200" b="1"/>
                <a:t>Плюсы</a:t>
              </a: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A5E064E5-E793-45AB-B10D-D5CD7D62DE0B}"/>
                </a:ext>
              </a:extLst>
            </p:cNvPr>
            <p:cNvSpPr/>
            <p:nvPr/>
          </p:nvSpPr>
          <p:spPr>
            <a:xfrm>
              <a:off x="6215785" y="6004057"/>
              <a:ext cx="2565628" cy="3185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>
                <a:lnSpc>
                  <a:spcPct val="100000"/>
                </a:lnSpc>
              </a:pPr>
              <a:r>
                <a:rPr lang="ru" sz="1200" dirty="0">
                  <a:solidFill>
                    <a:schemeClr val="tx1"/>
                  </a:solidFill>
                </a:rPr>
                <a:t>Зрелая модель в Центральной Азии</a:t>
              </a:r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46711D77-90D5-4F83-861A-F4D4021213A6}"/>
                </a:ext>
              </a:extLst>
            </p:cNvPr>
            <p:cNvSpPr/>
            <p:nvPr/>
          </p:nvSpPr>
          <p:spPr>
            <a:xfrm>
              <a:off x="8902429" y="5645039"/>
              <a:ext cx="2668522" cy="29935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>
                <a:lnSpc>
                  <a:spcPct val="100000"/>
                </a:lnSpc>
              </a:pPr>
              <a:r>
                <a:rPr lang="ru" sz="1200" b="1"/>
                <a:t>Минусы</a:t>
              </a: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70E901B9-8249-454B-9FB5-295DDCD92372}"/>
                </a:ext>
              </a:extLst>
            </p:cNvPr>
            <p:cNvSpPr/>
            <p:nvPr/>
          </p:nvSpPr>
          <p:spPr>
            <a:xfrm>
              <a:off x="6215784" y="6377607"/>
              <a:ext cx="2594167" cy="3433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>
                <a:lnSpc>
                  <a:spcPct val="100000"/>
                </a:lnSpc>
              </a:pPr>
              <a:r>
                <a:rPr lang="ru" sz="1200" dirty="0">
                  <a:solidFill>
                    <a:schemeClr val="tx1"/>
                  </a:solidFill>
                </a:rPr>
                <a:t>Можно избежать изменений законодательства</a:t>
              </a: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FECF8E6D-78CB-406C-A78F-C36AFFD00693}"/>
                </a:ext>
              </a:extLst>
            </p:cNvPr>
            <p:cNvSpPr/>
            <p:nvPr/>
          </p:nvSpPr>
          <p:spPr>
            <a:xfrm>
              <a:off x="8960318" y="5989776"/>
              <a:ext cx="2610633" cy="3185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>
                <a:lnSpc>
                  <a:spcPct val="100000"/>
                </a:lnSpc>
              </a:pPr>
              <a:r>
                <a:rPr lang="ru" sz="1200" dirty="0">
                  <a:solidFill>
                    <a:schemeClr val="tx1"/>
                  </a:solidFill>
                </a:rPr>
                <a:t>Негармонизированные законы</a:t>
              </a:r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8D02E544-A2A2-4C07-A3A3-4D33BE2480D8}"/>
                </a:ext>
              </a:extLst>
            </p:cNvPr>
            <p:cNvSpPr/>
            <p:nvPr/>
          </p:nvSpPr>
          <p:spPr>
            <a:xfrm>
              <a:off x="8938347" y="6387337"/>
              <a:ext cx="2668522" cy="35948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>
                <a:lnSpc>
                  <a:spcPct val="100000"/>
                </a:lnSpc>
              </a:pPr>
              <a:r>
                <a:rPr lang="ru" sz="1200">
                  <a:solidFill>
                    <a:schemeClr val="tx1"/>
                  </a:solidFill>
                </a:rPr>
                <a:t>Могут возникнуть проблемы с координацией</a:t>
              </a:r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798B5FF1-23EA-4D0C-AD49-220BBB980F2C}"/>
                </a:ext>
              </a:extLst>
            </p:cNvPr>
            <p:cNvSpPr/>
            <p:nvPr/>
          </p:nvSpPr>
          <p:spPr>
            <a:xfrm>
              <a:off x="87341" y="1382841"/>
              <a:ext cx="5485967" cy="5387829"/>
            </a:xfrm>
            <a:prstGeom prst="rect">
              <a:avLst/>
            </a:prstGeom>
            <a:noFill/>
            <a:ln>
              <a:solidFill>
                <a:schemeClr val="accent5">
                  <a:lumMod val="75000"/>
                </a:schemeClr>
              </a:solidFill>
              <a:prstDash val="dash"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/>
            </a:p>
          </p:txBody>
        </p:sp>
        <p:sp>
          <p:nvSpPr>
            <p:cNvPr id="14" name="Google Shape;1631;g114e5dc4418_1_0">
              <a:extLst>
                <a:ext uri="{FF2B5EF4-FFF2-40B4-BE49-F238E27FC236}">
                  <a16:creationId xmlns:a16="http://schemas.microsoft.com/office/drawing/2014/main" id="{6DA0C537-A819-4F20-85C2-F1B72BE623BF}"/>
                </a:ext>
              </a:extLst>
            </p:cNvPr>
            <p:cNvSpPr/>
            <p:nvPr/>
          </p:nvSpPr>
          <p:spPr>
            <a:xfrm flipH="1">
              <a:off x="282450" y="1219681"/>
              <a:ext cx="4998467" cy="297494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8375" tIns="98375" rIns="98375" bIns="983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79"/>
                <a:buFont typeface="Arial"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Модель I: Модель единого предприятия</a:t>
              </a:r>
              <a:endParaRPr kumimoji="0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6FE2C861-F23D-4064-A1D2-F7BABC70E91D}"/>
                </a:ext>
              </a:extLst>
            </p:cNvPr>
            <p:cNvSpPr/>
            <p:nvPr/>
          </p:nvSpPr>
          <p:spPr>
            <a:xfrm>
              <a:off x="5544769" y="1382840"/>
              <a:ext cx="6588261" cy="5387829"/>
            </a:xfrm>
            <a:prstGeom prst="rect">
              <a:avLst/>
            </a:prstGeom>
            <a:noFill/>
            <a:ln>
              <a:solidFill>
                <a:schemeClr val="accent5">
                  <a:lumMod val="75000"/>
                </a:schemeClr>
              </a:solidFill>
              <a:prstDash val="dash"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/>
            </a:p>
          </p:txBody>
        </p:sp>
        <p:sp>
          <p:nvSpPr>
            <p:cNvPr id="118" name="Google Shape;1631;g114e5dc4418_1_0">
              <a:extLst>
                <a:ext uri="{FF2B5EF4-FFF2-40B4-BE49-F238E27FC236}">
                  <a16:creationId xmlns:a16="http://schemas.microsoft.com/office/drawing/2014/main" id="{363F2147-5DB4-4E56-84CF-97607149CFBB}"/>
                </a:ext>
              </a:extLst>
            </p:cNvPr>
            <p:cNvSpPr/>
            <p:nvPr/>
          </p:nvSpPr>
          <p:spPr>
            <a:xfrm flipH="1">
              <a:off x="6750622" y="1219089"/>
              <a:ext cx="4998467" cy="297494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8375" tIns="98375" rIns="98375" bIns="983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79"/>
                <a:buFont typeface="Arial"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Модель II: Модель двойного предприятия</a:t>
              </a:r>
              <a:endParaRPr kumimoji="0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aphicFrame>
        <p:nvGraphicFramePr>
          <p:cNvPr id="87" name="Diagram 86">
            <a:extLst>
              <a:ext uri="{FF2B5EF4-FFF2-40B4-BE49-F238E27FC236}">
                <a16:creationId xmlns:a16="http://schemas.microsoft.com/office/drawing/2014/main" id="{00E7B1A8-E122-419E-8B72-F2DF245897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1442812"/>
              </p:ext>
            </p:extLst>
          </p:nvPr>
        </p:nvGraphicFramePr>
        <p:xfrm>
          <a:off x="442915" y="0"/>
          <a:ext cx="11749086" cy="223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2" name="Date Placeholder 21">
            <a:extLst>
              <a:ext uri="{FF2B5EF4-FFF2-40B4-BE49-F238E27FC236}">
                <a16:creationId xmlns:a16="http://schemas.microsoft.com/office/drawing/2014/main" id="{D2A0C9C0-3C8C-44CC-B88F-A732A130B26A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/>
              <a:t>сентябрь 2023</a:t>
            </a:r>
            <a:endParaRPr lang="ru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FCD6137E-88D6-488C-9704-E215982240A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en-US" smtClean="0"/>
              <a:pPr lvl="0"/>
              <a:t>16</a:t>
            </a:fld>
            <a:endParaRPr lang="en-US" dirty="0"/>
          </a:p>
        </p:txBody>
      </p:sp>
      <p:sp>
        <p:nvSpPr>
          <p:cNvPr id="85" name="Freeform 18">
            <a:extLst>
              <a:ext uri="{FF2B5EF4-FFF2-40B4-BE49-F238E27FC236}">
                <a16:creationId xmlns:a16="http://schemas.microsoft.com/office/drawing/2014/main" id="{CF466A34-3063-4DE3-B52B-54FDD78C9BBA}"/>
              </a:ext>
            </a:extLst>
          </p:cNvPr>
          <p:cNvSpPr>
            <a:spLocks noChangeAspect="1"/>
          </p:cNvSpPr>
          <p:nvPr/>
        </p:nvSpPr>
        <p:spPr bwMode="auto">
          <a:xfrm>
            <a:off x="1573860" y="6263079"/>
            <a:ext cx="389231" cy="303447"/>
          </a:xfrm>
          <a:custGeom>
            <a:avLst/>
            <a:gdLst>
              <a:gd name="T0" fmla="*/ 263 w 304"/>
              <a:gd name="T1" fmla="*/ 0 h 237"/>
              <a:gd name="T2" fmla="*/ 108 w 304"/>
              <a:gd name="T3" fmla="*/ 157 h 237"/>
              <a:gd name="T4" fmla="*/ 40 w 304"/>
              <a:gd name="T5" fmla="*/ 88 h 237"/>
              <a:gd name="T6" fmla="*/ 0 w 304"/>
              <a:gd name="T7" fmla="*/ 128 h 237"/>
              <a:gd name="T8" fmla="*/ 108 w 304"/>
              <a:gd name="T9" fmla="*/ 237 h 237"/>
              <a:gd name="T10" fmla="*/ 304 w 304"/>
              <a:gd name="T11" fmla="*/ 41 h 237"/>
              <a:gd name="T12" fmla="*/ 263 w 304"/>
              <a:gd name="T13" fmla="*/ 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4" h="237">
                <a:moveTo>
                  <a:pt x="263" y="0"/>
                </a:moveTo>
                <a:lnTo>
                  <a:pt x="108" y="157"/>
                </a:lnTo>
                <a:lnTo>
                  <a:pt x="40" y="88"/>
                </a:lnTo>
                <a:lnTo>
                  <a:pt x="0" y="128"/>
                </a:lnTo>
                <a:lnTo>
                  <a:pt x="108" y="237"/>
                </a:lnTo>
                <a:lnTo>
                  <a:pt x="304" y="41"/>
                </a:lnTo>
                <a:lnTo>
                  <a:pt x="263" y="0"/>
                </a:lnTo>
                <a:close/>
              </a:path>
            </a:pathLst>
          </a:custGeom>
          <a:solidFill>
            <a:srgbClr val="2C8646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F5A3444-F444-4E7C-A7C9-3368B6E18E19}"/>
              </a:ext>
            </a:extLst>
          </p:cNvPr>
          <p:cNvSpPr txBox="1"/>
          <p:nvPr/>
        </p:nvSpPr>
        <p:spPr>
          <a:xfrm>
            <a:off x="1785173" y="6330423"/>
            <a:ext cx="2619335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" sz="1400" i="1" dirty="0">
                <a:cs typeface="Arial" pitchFamily="34" charset="0"/>
              </a:rPr>
              <a:t>Предпочтительная модель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8433577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4000"/>
          </a:schemeClr>
        </a:solidFill>
        <a:effectLst/>
      </p:bgPr>
    </p:bg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095B41-810A-40B0-8ED6-F81B04F66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8650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2" imgH="532" progId="TCLayout.ActiveDocument.1">
                  <p:embed/>
                </p:oleObj>
              </mc:Choice>
              <mc:Fallback>
                <p:oleObj name="think-cell Slide" r:id="rId5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095B41-810A-40B0-8ED6-F81B04F66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2"/>
          <p:cNvSpPr txBox="1">
            <a:spLocks noGrp="1"/>
          </p:cNvSpPr>
          <p:nvPr>
            <p:ph type="title"/>
          </p:nvPr>
        </p:nvSpPr>
        <p:spPr>
          <a:xfrm>
            <a:off x="442914" y="345559"/>
            <a:ext cx="11306175" cy="369332"/>
          </a:xfrm>
        </p:spPr>
        <p:txBody>
          <a:bodyPr anchor="ctr" anchorCtr="0">
            <a:normAutofit/>
          </a:bodyPr>
          <a:lstStyle/>
          <a:p>
            <a:pPr lvl="0"/>
            <a:r>
              <a:rPr lang="ru" sz="2400" b="0" dirty="0">
                <a:latin typeface="Georgia" panose="02040502050405020303" pitchFamily="18" charset="0"/>
              </a:rPr>
              <a:t>Компоненты </a:t>
            </a:r>
            <a:r>
              <a:rPr lang="ru-RU" sz="2400" b="0" dirty="0">
                <a:latin typeface="Georgia" panose="02040502050405020303" pitchFamily="18" charset="0"/>
              </a:rPr>
              <a:t>МЦПК</a:t>
            </a:r>
            <a:endParaRPr lang="ru" sz="2400" b="0" dirty="0">
              <a:latin typeface="Georgia" panose="02040502050405020303" pitchFamily="18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E484AB1-E3A2-43DB-8A80-4C8FDA93039F}"/>
              </a:ext>
            </a:extLst>
          </p:cNvPr>
          <p:cNvGrpSpPr/>
          <p:nvPr/>
        </p:nvGrpSpPr>
        <p:grpSpPr>
          <a:xfrm>
            <a:off x="482005" y="1127359"/>
            <a:ext cx="11227990" cy="5611096"/>
            <a:chOff x="186802" y="1127359"/>
            <a:chExt cx="8417880" cy="5611096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268B00F-0A99-4FF6-B2D7-F9F1DB753DDB}"/>
                </a:ext>
              </a:extLst>
            </p:cNvPr>
            <p:cNvSpPr txBox="1"/>
            <p:nvPr/>
          </p:nvSpPr>
          <p:spPr>
            <a:xfrm>
              <a:off x="645677" y="1140740"/>
              <a:ext cx="2201678" cy="215162"/>
            </a:xfrm>
            <a:prstGeom prst="rect">
              <a:avLst/>
            </a:prstGeom>
            <a:solidFill>
              <a:srgbClr val="FFC000"/>
            </a:solidFill>
            <a:ln w="12700" cap="sq" cmpd="sng" algn="ctr">
              <a:noFill/>
              <a:prstDash val="solid"/>
            </a:ln>
            <a:effectLst/>
          </p:spPr>
          <p:txBody>
            <a:bodyPr wrap="square" lIns="72000" tIns="10973" rIns="72000" bIns="10973" rtlCol="0">
              <a:spAutoFit/>
            </a:bodyPr>
            <a:lstStyle/>
            <a:p>
              <a:pPr marL="0" marR="0" lvl="0" indent="0" algn="l" defTabSz="109728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720"/>
                </a:spcAft>
                <a:buClr>
                  <a:srgbClr val="000000"/>
                </a:buClr>
                <a:buSzPct val="100000"/>
                <a:buFont typeface="Arial"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Компоненты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7798E95-4AC4-42A0-B580-1AC6D3E03C1C}"/>
                </a:ext>
              </a:extLst>
            </p:cNvPr>
            <p:cNvSpPr txBox="1"/>
            <p:nvPr/>
          </p:nvSpPr>
          <p:spPr>
            <a:xfrm>
              <a:off x="3108081" y="1140739"/>
              <a:ext cx="3537509" cy="217490"/>
            </a:xfrm>
            <a:prstGeom prst="rect">
              <a:avLst/>
            </a:prstGeom>
            <a:solidFill>
              <a:srgbClr val="FFC000"/>
            </a:solidFill>
            <a:ln w="12700" cap="sq" cmpd="sng" algn="ctr">
              <a:noFill/>
              <a:prstDash val="solid"/>
            </a:ln>
            <a:effectLst/>
          </p:spPr>
          <p:txBody>
            <a:bodyPr wrap="square" lIns="72000" tIns="10973" rIns="72000" bIns="10973" rtlCol="0">
              <a:spAutoFit/>
            </a:bodyPr>
            <a:lstStyle/>
            <a:p>
              <a:pPr marL="0" marR="0" lvl="0" indent="0" algn="l" defTabSz="1097280" rtl="0" eaLnBrk="1" fontAlgn="auto" latinLnBrk="0" hangingPunct="1">
                <a:lnSpc>
                  <a:spcPct val="114000"/>
                </a:lnSpc>
                <a:spcBef>
                  <a:spcPts val="0"/>
                </a:spcBef>
                <a:spcAft>
                  <a:spcPts val="720"/>
                </a:spcAft>
                <a:buClr>
                  <a:srgbClr val="000000"/>
                </a:buClr>
                <a:buSzPct val="100000"/>
                <a:buFont typeface="Arial"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Потребность в компонентах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BBB735B-F34E-47CD-98F8-D09DAC2EB901}"/>
                </a:ext>
              </a:extLst>
            </p:cNvPr>
            <p:cNvCxnSpPr>
              <a:cxnSpLocks/>
            </p:cNvCxnSpPr>
            <p:nvPr/>
          </p:nvCxnSpPr>
          <p:spPr>
            <a:xfrm>
              <a:off x="3066208" y="1127359"/>
              <a:ext cx="0" cy="5611096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A3C9D1CD-269C-4785-8D6D-B754288077DF}"/>
                </a:ext>
              </a:extLst>
            </p:cNvPr>
            <p:cNvSpPr/>
            <p:nvPr/>
          </p:nvSpPr>
          <p:spPr>
            <a:xfrm>
              <a:off x="679603" y="1422296"/>
              <a:ext cx="7746641" cy="2079099"/>
            </a:xfrm>
            <a:prstGeom prst="rect">
              <a:avLst/>
            </a:prstGeom>
            <a:solidFill>
              <a:schemeClr val="accent2">
                <a:lumMod val="20000"/>
                <a:lumOff val="80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7" name="TextBox 21">
              <a:extLst>
                <a:ext uri="{FF2B5EF4-FFF2-40B4-BE49-F238E27FC236}">
                  <a16:creationId xmlns:a16="http://schemas.microsoft.com/office/drawing/2014/main" id="{CE2DE33B-1D58-4BA8-8FB3-B0B85BC46171}"/>
                </a:ext>
              </a:extLst>
            </p:cNvPr>
            <p:cNvSpPr txBox="1"/>
            <p:nvPr/>
          </p:nvSpPr>
          <p:spPr>
            <a:xfrm>
              <a:off x="1876592" y="1659108"/>
              <a:ext cx="1128781" cy="1809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20"/>
                </a:spcAft>
                <a:buClr>
                  <a:srgbClr val="000000"/>
                </a:buClr>
                <a:buSzPct val="100000"/>
                <a:buFont typeface="Arial"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28" name="Picture 27" descr="PwC_Pictograms_CarManufacturing.zip">
              <a:extLst>
                <a:ext uri="{FF2B5EF4-FFF2-40B4-BE49-F238E27FC236}">
                  <a16:creationId xmlns:a16="http://schemas.microsoft.com/office/drawing/2014/main" id="{7E63A1AC-E7F9-4381-8AF7-8D0B88BD5F19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8587" t="10794" r="19062" b="10955"/>
            <a:stretch/>
          </p:blipFill>
          <p:spPr bwMode="auto">
            <a:xfrm>
              <a:off x="818025" y="2468037"/>
              <a:ext cx="283138" cy="32263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F600D90-F696-42A2-8FC8-590A98A0E587}"/>
                </a:ext>
              </a:extLst>
            </p:cNvPr>
            <p:cNvSpPr txBox="1"/>
            <p:nvPr/>
          </p:nvSpPr>
          <p:spPr>
            <a:xfrm>
              <a:off x="1327750" y="2047186"/>
              <a:ext cx="1369205" cy="1809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20"/>
                </a:spcAft>
                <a:buClr>
                  <a:srgbClr val="000000"/>
                </a:buClr>
                <a:buSzPct val="100000"/>
                <a:buFont typeface="Arial"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rPr>
                <a:t>Офисные здания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A46E3D3-DC17-49E9-BC65-08ECFFE7870C}"/>
                </a:ext>
              </a:extLst>
            </p:cNvPr>
            <p:cNvGrpSpPr/>
            <p:nvPr/>
          </p:nvGrpSpPr>
          <p:grpSpPr>
            <a:xfrm>
              <a:off x="828304" y="1484809"/>
              <a:ext cx="2042090" cy="282184"/>
              <a:chOff x="6275388" y="3866573"/>
              <a:chExt cx="1266168" cy="288015"/>
            </a:xfrm>
          </p:grpSpPr>
          <p:sp>
            <p:nvSpPr>
              <p:cNvPr id="39" name="TextBox 49">
                <a:extLst>
                  <a:ext uri="{FF2B5EF4-FFF2-40B4-BE49-F238E27FC236}">
                    <a16:creationId xmlns:a16="http://schemas.microsoft.com/office/drawing/2014/main" id="{B442EEBB-27C1-4D48-BF6C-28AFECB128F0}"/>
                  </a:ext>
                </a:extLst>
              </p:cNvPr>
              <p:cNvSpPr txBox="1"/>
              <p:nvPr/>
            </p:nvSpPr>
            <p:spPr>
              <a:xfrm>
                <a:off x="6604040" y="3916340"/>
                <a:ext cx="937516" cy="18848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720"/>
                  </a:spcAft>
                  <a:buClr>
                    <a:srgbClr val="000000"/>
                  </a:buClr>
                  <a:buSzPct val="100000"/>
                  <a:buFont typeface="Arial"/>
                  <a:buNone/>
                  <a:tabLst/>
                  <a:defRPr/>
                </a:pPr>
                <a:r>
                  <a:rPr kumimoji="0" lang="ru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  <a:sym typeface="Arial"/>
                  </a:rPr>
                  <a:t>Производственная зона</a:t>
                </a:r>
              </a:p>
            </p:txBody>
          </p:sp>
          <p:pic>
            <p:nvPicPr>
              <p:cNvPr id="40" name="Picture 39" descr="PwC_Pictograms_Maintenance.zip">
                <a:extLst>
                  <a:ext uri="{FF2B5EF4-FFF2-40B4-BE49-F238E27FC236}">
                    <a16:creationId xmlns:a16="http://schemas.microsoft.com/office/drawing/2014/main" id="{8F8F941E-0C2F-46D0-A51B-7EBE4961C449}"/>
                  </a:ext>
                </a:extLst>
              </p:cNvPr>
              <p:cNvPicPr>
                <a:picLocks noChangeArrowheads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9083" t="10794" r="18566" b="10899"/>
              <a:stretch/>
            </p:blipFill>
            <p:spPr bwMode="auto">
              <a:xfrm>
                <a:off x="6275388" y="3866573"/>
                <a:ext cx="155399" cy="28801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</p:pic>
        </p:grpSp>
        <p:sp>
          <p:nvSpPr>
            <p:cNvPr id="45" name="TextBox 59">
              <a:extLst>
                <a:ext uri="{FF2B5EF4-FFF2-40B4-BE49-F238E27FC236}">
                  <a16:creationId xmlns:a16="http://schemas.microsoft.com/office/drawing/2014/main" id="{E6B1917F-66AE-4303-A93A-9689CFB7B090}"/>
                </a:ext>
              </a:extLst>
            </p:cNvPr>
            <p:cNvSpPr txBox="1"/>
            <p:nvPr/>
          </p:nvSpPr>
          <p:spPr>
            <a:xfrm>
              <a:off x="1242633" y="5791118"/>
              <a:ext cx="831111" cy="1809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20"/>
                </a:spcAft>
                <a:buClr>
                  <a:srgbClr val="000000"/>
                </a:buClr>
                <a:buSzPct val="100000"/>
                <a:buFont typeface="Arial"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46" name="Picture 45" descr="PwC_Pictograms_Chemicals.zip">
              <a:extLst>
                <a:ext uri="{FF2B5EF4-FFF2-40B4-BE49-F238E27FC236}">
                  <a16:creationId xmlns:a16="http://schemas.microsoft.com/office/drawing/2014/main" id="{34643F5C-46F2-4AB9-B969-E259707415AC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8918" t="10582" r="18731" b="10476"/>
            <a:stretch/>
          </p:blipFill>
          <p:spPr bwMode="auto">
            <a:xfrm>
              <a:off x="768857" y="5609048"/>
              <a:ext cx="310065" cy="3103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</p:pic>
        <p:sp>
          <p:nvSpPr>
            <p:cNvPr id="48" name="TextBox 64">
              <a:extLst>
                <a:ext uri="{FF2B5EF4-FFF2-40B4-BE49-F238E27FC236}">
                  <a16:creationId xmlns:a16="http://schemas.microsoft.com/office/drawing/2014/main" id="{48128F2B-4D80-4A35-B1D1-D048D3CDC6CF}"/>
                </a:ext>
              </a:extLst>
            </p:cNvPr>
            <p:cNvSpPr txBox="1"/>
            <p:nvPr/>
          </p:nvSpPr>
          <p:spPr>
            <a:xfrm>
              <a:off x="1201897" y="4699897"/>
              <a:ext cx="1620910" cy="1809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20"/>
                </a:spcAft>
                <a:buClr>
                  <a:srgbClr val="000000"/>
                </a:buClr>
                <a:buSzPct val="100000"/>
                <a:buFont typeface="Arial"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49" name="Picture 48" descr="PwC_Pictograms_Pharmaceuticals.zip">
              <a:extLst>
                <a:ext uri="{FF2B5EF4-FFF2-40B4-BE49-F238E27FC236}">
                  <a16:creationId xmlns:a16="http://schemas.microsoft.com/office/drawing/2014/main" id="{791E295A-D7AF-4BAC-B180-98B924755103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8752" t="10956" r="18897" b="10956"/>
            <a:stretch/>
          </p:blipFill>
          <p:spPr bwMode="auto">
            <a:xfrm>
              <a:off x="785380" y="4454804"/>
              <a:ext cx="322348" cy="28273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</p:pic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927D1A0-58B7-4C07-905A-C5E8345525A6}"/>
                </a:ext>
              </a:extLst>
            </p:cNvPr>
            <p:cNvCxnSpPr>
              <a:cxnSpLocks/>
            </p:cNvCxnSpPr>
            <p:nvPr/>
          </p:nvCxnSpPr>
          <p:spPr>
            <a:xfrm>
              <a:off x="828300" y="1937964"/>
              <a:ext cx="758952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07C85D25-38EC-48E7-AFD2-C1ADCFA72A7E}"/>
                </a:ext>
              </a:extLst>
            </p:cNvPr>
            <p:cNvCxnSpPr>
              <a:cxnSpLocks/>
            </p:cNvCxnSpPr>
            <p:nvPr/>
          </p:nvCxnSpPr>
          <p:spPr>
            <a:xfrm>
              <a:off x="828300" y="2337335"/>
              <a:ext cx="758952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E2D865DC-4D24-4B48-86FC-99BC74AE06BF}"/>
                </a:ext>
              </a:extLst>
            </p:cNvPr>
            <p:cNvCxnSpPr>
              <a:cxnSpLocks/>
            </p:cNvCxnSpPr>
            <p:nvPr/>
          </p:nvCxnSpPr>
          <p:spPr>
            <a:xfrm>
              <a:off x="828300" y="2921372"/>
              <a:ext cx="758952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7A43D6D-6DE7-4DF7-9521-2ADB47AC6D09}"/>
                </a:ext>
              </a:extLst>
            </p:cNvPr>
            <p:cNvCxnSpPr>
              <a:cxnSpLocks/>
            </p:cNvCxnSpPr>
            <p:nvPr/>
          </p:nvCxnSpPr>
          <p:spPr>
            <a:xfrm>
              <a:off x="686264" y="3505409"/>
              <a:ext cx="758952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0C30EB6-E6DC-4BB0-9718-65A890407090}"/>
                </a:ext>
              </a:extLst>
            </p:cNvPr>
            <p:cNvCxnSpPr>
              <a:cxnSpLocks/>
            </p:cNvCxnSpPr>
            <p:nvPr/>
          </p:nvCxnSpPr>
          <p:spPr>
            <a:xfrm>
              <a:off x="828300" y="4304151"/>
              <a:ext cx="758952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CF1FC063-E7AC-49DF-86E8-F728B860A428}"/>
                </a:ext>
              </a:extLst>
            </p:cNvPr>
            <p:cNvCxnSpPr>
              <a:cxnSpLocks/>
            </p:cNvCxnSpPr>
            <p:nvPr/>
          </p:nvCxnSpPr>
          <p:spPr>
            <a:xfrm>
              <a:off x="828300" y="4888188"/>
              <a:ext cx="758952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DBDA6E48-F575-4BF1-AD97-3853D4DD200A}"/>
                </a:ext>
              </a:extLst>
            </p:cNvPr>
            <p:cNvCxnSpPr>
              <a:cxnSpLocks/>
            </p:cNvCxnSpPr>
            <p:nvPr/>
          </p:nvCxnSpPr>
          <p:spPr>
            <a:xfrm>
              <a:off x="828300" y="5472225"/>
              <a:ext cx="758952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9489E400-7FB9-4F8A-99BC-0D660C9CFF1D}"/>
                </a:ext>
              </a:extLst>
            </p:cNvPr>
            <p:cNvGrpSpPr/>
            <p:nvPr/>
          </p:nvGrpSpPr>
          <p:grpSpPr>
            <a:xfrm>
              <a:off x="708359" y="1999350"/>
              <a:ext cx="477898" cy="276598"/>
              <a:chOff x="6165721" y="2324672"/>
              <a:chExt cx="477898" cy="282314"/>
            </a:xfrm>
          </p:grpSpPr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6A7CCFD0-12C1-4ACB-8AC7-677A33562EDE}"/>
                  </a:ext>
                </a:extLst>
              </p:cNvPr>
              <p:cNvSpPr/>
              <p:nvPr/>
            </p:nvSpPr>
            <p:spPr>
              <a:xfrm>
                <a:off x="6275387" y="2324672"/>
                <a:ext cx="250625" cy="28231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pic>
            <p:nvPicPr>
              <p:cNvPr id="4" name="Graphic 3" descr="Building outline">
                <a:extLst>
                  <a:ext uri="{FF2B5EF4-FFF2-40B4-BE49-F238E27FC236}">
                    <a16:creationId xmlns:a16="http://schemas.microsoft.com/office/drawing/2014/main" id="{AF275E6F-63CE-4426-91B3-5974AE036B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6165721" y="2376237"/>
                <a:ext cx="477898" cy="230747"/>
              </a:xfrm>
              <a:prstGeom prst="rect">
                <a:avLst/>
              </a:prstGeom>
            </p:spPr>
          </p:pic>
        </p:grp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8888978B-B5FD-42D2-8525-DE2EAE2C2925}"/>
                </a:ext>
              </a:extLst>
            </p:cNvPr>
            <p:cNvSpPr txBox="1"/>
            <p:nvPr/>
          </p:nvSpPr>
          <p:spPr>
            <a:xfrm>
              <a:off x="1327750" y="2538890"/>
              <a:ext cx="1369205" cy="1809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20"/>
                </a:spcAft>
                <a:buClr>
                  <a:srgbClr val="000000"/>
                </a:buClr>
                <a:buSzPct val="100000"/>
                <a:buFont typeface="Arial"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rPr>
                <a:t>Логистическая зона</a:t>
              </a: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DE26AD86-2C46-4334-B073-AE98FCE96823}"/>
                </a:ext>
              </a:extLst>
            </p:cNvPr>
            <p:cNvGrpSpPr/>
            <p:nvPr/>
          </p:nvGrpSpPr>
          <p:grpSpPr>
            <a:xfrm>
              <a:off x="818025" y="3075091"/>
              <a:ext cx="283140" cy="276598"/>
              <a:chOff x="6275387" y="3376007"/>
              <a:chExt cx="283140" cy="282314"/>
            </a:xfrm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9A399A01-6C3B-44A4-AEF4-DDF9BAB6C70E}"/>
                  </a:ext>
                </a:extLst>
              </p:cNvPr>
              <p:cNvSpPr/>
              <p:nvPr/>
            </p:nvSpPr>
            <p:spPr>
              <a:xfrm>
                <a:off x="6275387" y="3376007"/>
                <a:ext cx="283140" cy="282314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pic>
            <p:nvPicPr>
              <p:cNvPr id="69" name="Graphic 68" descr="Electric Tower outline">
                <a:extLst>
                  <a:ext uri="{FF2B5EF4-FFF2-40B4-BE49-F238E27FC236}">
                    <a16:creationId xmlns:a16="http://schemas.microsoft.com/office/drawing/2014/main" id="{BDFCE7A9-631F-4D65-9E96-9499BD803E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291029" y="3388883"/>
                <a:ext cx="251855" cy="251855"/>
              </a:xfrm>
              <a:prstGeom prst="rect">
                <a:avLst/>
              </a:prstGeom>
            </p:spPr>
          </p:pic>
        </p:grp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7AD07E76-9BE3-4A93-8739-B7F59A916920}"/>
                </a:ext>
              </a:extLst>
            </p:cNvPr>
            <p:cNvSpPr txBox="1"/>
            <p:nvPr/>
          </p:nvSpPr>
          <p:spPr>
            <a:xfrm>
              <a:off x="1327750" y="3010563"/>
              <a:ext cx="136920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20"/>
                </a:spcAft>
                <a:buClr>
                  <a:srgbClr val="000000"/>
                </a:buClr>
                <a:buSzPct val="100000"/>
                <a:buFont typeface="Arial"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rPr>
                <a:t>З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rPr>
                <a:t>о</a:t>
              </a:r>
              <a:r>
                <a:rPr kumimoji="0" lang="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rPr>
                <a:t>на инженерных коммуникаций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8387D11-CA6B-4FD2-9690-BF343CEB008E}"/>
                </a:ext>
              </a:extLst>
            </p:cNvPr>
            <p:cNvSpPr txBox="1"/>
            <p:nvPr/>
          </p:nvSpPr>
          <p:spPr>
            <a:xfrm>
              <a:off x="3031995" y="1415113"/>
              <a:ext cx="5572687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ru" sz="1200" dirty="0">
                  <a:latin typeface="Arial" panose="020B0604020202020204" pitchFamily="34" charset="0"/>
                  <a:cs typeface="Arial" panose="020B0604020202020204" pitchFamily="34" charset="0"/>
                </a:rPr>
                <a:t>Позволить отраслям осуществлять производство с добавленной стоимостью и получить доступ к общей ресурсной базе.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F079FA4D-C561-4E8A-BF15-2EDD1C494170}"/>
                </a:ext>
              </a:extLst>
            </p:cNvPr>
            <p:cNvSpPr txBox="1"/>
            <p:nvPr/>
          </p:nvSpPr>
          <p:spPr>
            <a:xfrm>
              <a:off x="3031995" y="1999150"/>
              <a:ext cx="5572687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ru" sz="1200" dirty="0">
                  <a:latin typeface="Arial" panose="020B0604020202020204" pitchFamily="34" charset="0"/>
                  <a:cs typeface="Arial" panose="020B0604020202020204" pitchFamily="34" charset="0"/>
                </a:rPr>
                <a:t>Для основного административного и управленческого персонала, работающего в </a:t>
              </a: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МЦПК</a:t>
              </a:r>
              <a:endParaRPr lang="ru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42FFCEFD-1AC2-4523-8961-52460A45A7CF}"/>
                </a:ext>
              </a:extLst>
            </p:cNvPr>
            <p:cNvSpPr txBox="1"/>
            <p:nvPr/>
          </p:nvSpPr>
          <p:spPr>
            <a:xfrm>
              <a:off x="3005372" y="2398521"/>
              <a:ext cx="5572687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ru" sz="1200" dirty="0">
                  <a:latin typeface="Arial" panose="020B0604020202020204" pitchFamily="34" charset="0"/>
                  <a:cs typeface="Arial" panose="020B0604020202020204" pitchFamily="34" charset="0"/>
                </a:rPr>
                <a:t>Позволить отраслям более эффективно управлять запасами, будет включать в себя холодильные склады, центры обработки грузов, распределительные центры и упаковочные </a:t>
              </a: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объекты</a:t>
              </a:r>
              <a:r>
                <a:rPr lang="ru" sz="1200" dirty="0"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EE03B256-E09E-4F31-B90E-4E00CF80CA04}"/>
                </a:ext>
              </a:extLst>
            </p:cNvPr>
            <p:cNvSpPr txBox="1"/>
            <p:nvPr/>
          </p:nvSpPr>
          <p:spPr>
            <a:xfrm>
              <a:off x="3031995" y="2982558"/>
              <a:ext cx="5572687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ru" sz="1200" dirty="0">
                  <a:latin typeface="Arial" panose="020B0604020202020204" pitchFamily="34" charset="0"/>
                  <a:cs typeface="Arial" panose="020B0604020202020204" pitchFamily="34" charset="0"/>
                </a:rPr>
                <a:t>Обеспечить снабжение основных коммунальных услуг, таких как вода, современные накопители энергии, утилизация отходов и т. д.</a:t>
              </a:r>
              <a:endParaRPr lang="en-US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4DF162A0-6AB2-45B4-8367-912E104C3E83}"/>
                </a:ext>
              </a:extLst>
            </p:cNvPr>
            <p:cNvCxnSpPr>
              <a:cxnSpLocks/>
            </p:cNvCxnSpPr>
            <p:nvPr/>
          </p:nvCxnSpPr>
          <p:spPr>
            <a:xfrm>
              <a:off x="686264" y="3904780"/>
              <a:ext cx="758952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8C9D6E85-261A-4E9D-8B1F-26C6F67175A2}"/>
                </a:ext>
              </a:extLst>
            </p:cNvPr>
            <p:cNvSpPr txBox="1"/>
            <p:nvPr/>
          </p:nvSpPr>
          <p:spPr>
            <a:xfrm>
              <a:off x="1327750" y="4505706"/>
              <a:ext cx="1369205" cy="1809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20"/>
                </a:spcAft>
                <a:buClr>
                  <a:srgbClr val="000000"/>
                </a:buClr>
                <a:buSzPct val="100000"/>
                <a:buFont typeface="Arial"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rPr>
                <a:t>Лаборатории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DE62754A-EE23-44A2-A7C4-B3BF4CD4EAFC}"/>
                </a:ext>
              </a:extLst>
            </p:cNvPr>
            <p:cNvSpPr txBox="1"/>
            <p:nvPr/>
          </p:nvSpPr>
          <p:spPr>
            <a:xfrm>
              <a:off x="3031995" y="4365337"/>
              <a:ext cx="5572687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Проводить испытания на безопасность пищевых продуктов, ветеринарные, фитосанитарные и фармацевтические испытания качества в рамках МЦПК</a:t>
              </a:r>
              <a:endParaRPr lang="ru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561540B-C636-4949-A0EB-6B4DF92EC435}"/>
                </a:ext>
              </a:extLst>
            </p:cNvPr>
            <p:cNvGrpSpPr/>
            <p:nvPr/>
          </p:nvGrpSpPr>
          <p:grpSpPr>
            <a:xfrm>
              <a:off x="774741" y="3569675"/>
              <a:ext cx="335873" cy="270839"/>
              <a:chOff x="1079541" y="3642442"/>
              <a:chExt cx="335873" cy="270839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6B63D3CB-76CD-402C-8B26-A6487F3823B8}"/>
                  </a:ext>
                </a:extLst>
              </p:cNvPr>
              <p:cNvSpPr/>
              <p:nvPr/>
            </p:nvSpPr>
            <p:spPr>
              <a:xfrm>
                <a:off x="1101604" y="3642442"/>
                <a:ext cx="283140" cy="270839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pic>
            <p:nvPicPr>
              <p:cNvPr id="89" name="Graphic 88" descr="Checklist outline">
                <a:extLst>
                  <a:ext uri="{FF2B5EF4-FFF2-40B4-BE49-F238E27FC236}">
                    <a16:creationId xmlns:a16="http://schemas.microsoft.com/office/drawing/2014/main" id="{E2BBF5D8-B512-4618-8DE0-D648B3440D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1079541" y="3694922"/>
                <a:ext cx="335873" cy="180384"/>
              </a:xfrm>
              <a:prstGeom prst="rect">
                <a:avLst/>
              </a:prstGeom>
            </p:spPr>
          </p:pic>
        </p:grp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FEA68DFD-D0AF-4CC7-BF39-632694636E44}"/>
                </a:ext>
              </a:extLst>
            </p:cNvPr>
            <p:cNvSpPr txBox="1"/>
            <p:nvPr/>
          </p:nvSpPr>
          <p:spPr>
            <a:xfrm>
              <a:off x="1312279" y="3550057"/>
              <a:ext cx="1795801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20"/>
                </a:spcAft>
                <a:buClr>
                  <a:srgbClr val="000000"/>
                </a:buClr>
                <a:buSzPct val="100000"/>
                <a:buFont typeface="Arial"/>
                <a:buNone/>
                <a:tabLst/>
                <a:defRPr/>
              </a:pPr>
              <a:r>
                <a:rPr lang="ru" sz="1200" b="1" dirty="0">
                  <a:solidFill>
                    <a:srgbClr val="000000"/>
                  </a:solidFill>
                  <a:latin typeface="Arial"/>
                  <a:sym typeface="Arial"/>
                </a:rPr>
                <a:t>Зона таможенного оформления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FD8F9F4E-CEAA-4598-A6AE-74672C03AB2F}"/>
                </a:ext>
              </a:extLst>
            </p:cNvPr>
            <p:cNvSpPr txBox="1"/>
            <p:nvPr/>
          </p:nvSpPr>
          <p:spPr>
            <a:xfrm>
              <a:off x="3031995" y="3566595"/>
              <a:ext cx="5572687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ru" sz="1200" dirty="0">
                  <a:latin typeface="Arial" panose="020B0604020202020204" pitchFamily="34" charset="0"/>
                  <a:cs typeface="Arial" panose="020B0604020202020204" pitchFamily="34" charset="0"/>
                </a:rPr>
                <a:t>Обеспечить таможенное оформление и облегчение доставки товаров, произведенных в </a:t>
              </a: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МЦПК</a:t>
              </a:r>
              <a:endParaRPr lang="ru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7F009D41-D7F3-4BCD-9C83-43B61C09D1FF}"/>
                </a:ext>
              </a:extLst>
            </p:cNvPr>
            <p:cNvSpPr txBox="1"/>
            <p:nvPr/>
          </p:nvSpPr>
          <p:spPr>
            <a:xfrm>
              <a:off x="1312280" y="4030295"/>
              <a:ext cx="1795801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20"/>
                </a:spcAft>
                <a:buClr>
                  <a:srgbClr val="000000"/>
                </a:buClr>
                <a:buSzPct val="100000"/>
                <a:buFont typeface="Arial"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rPr>
                <a:t>Пункт пересечения границы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B5CCA21A-5389-496A-BA91-1083D972C0B9}"/>
                </a:ext>
              </a:extLst>
            </p:cNvPr>
            <p:cNvSpPr txBox="1"/>
            <p:nvPr/>
          </p:nvSpPr>
          <p:spPr>
            <a:xfrm>
              <a:off x="3031995" y="3984129"/>
              <a:ext cx="5572687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ru" sz="1200" dirty="0">
                  <a:latin typeface="Arial" panose="020B0604020202020204" pitchFamily="34" charset="0"/>
                  <a:cs typeface="Arial" panose="020B0604020202020204" pitchFamily="34" charset="0"/>
                </a:rPr>
                <a:t>Содействовать ускоренному перемещению товаров, произведенных в рамках </a:t>
              </a: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МЦПК</a:t>
              </a:r>
              <a:r>
                <a:rPr lang="ru" sz="1200" dirty="0"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1AFDF7AC-C452-4AEF-90FA-328DE7967ECC}"/>
                </a:ext>
              </a:extLst>
            </p:cNvPr>
            <p:cNvSpPr txBox="1"/>
            <p:nvPr/>
          </p:nvSpPr>
          <p:spPr>
            <a:xfrm>
              <a:off x="1327750" y="5089743"/>
              <a:ext cx="136920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20"/>
                </a:spcAft>
                <a:buClr>
                  <a:srgbClr val="000000"/>
                </a:buClr>
                <a:buSzPct val="100000"/>
                <a:buFont typeface="Arial"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rPr>
                <a:t>Учебный центр</a:t>
              </a:r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44F57DD1-BF59-47A8-9C56-AF323C690826}"/>
                </a:ext>
              </a:extLst>
            </p:cNvPr>
            <p:cNvGrpSpPr/>
            <p:nvPr/>
          </p:nvGrpSpPr>
          <p:grpSpPr>
            <a:xfrm>
              <a:off x="774741" y="4997016"/>
              <a:ext cx="310780" cy="366380"/>
              <a:chOff x="6316122" y="5979841"/>
              <a:chExt cx="266843" cy="277701"/>
            </a:xfrm>
          </p:grpSpPr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3174919C-0600-4F69-AFA9-665AD1023526}"/>
                  </a:ext>
                </a:extLst>
              </p:cNvPr>
              <p:cNvSpPr/>
              <p:nvPr/>
            </p:nvSpPr>
            <p:spPr>
              <a:xfrm>
                <a:off x="6316122" y="6000932"/>
                <a:ext cx="266843" cy="256610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pic>
            <p:nvPicPr>
              <p:cNvPr id="104" name="Graphic 103" descr="Teacher outline">
                <a:extLst>
                  <a:ext uri="{FF2B5EF4-FFF2-40B4-BE49-F238E27FC236}">
                    <a16:creationId xmlns:a16="http://schemas.microsoft.com/office/drawing/2014/main" id="{5D127072-D174-4C06-A919-0DD1E9FDDF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6316122" y="5979841"/>
                <a:ext cx="244988" cy="244988"/>
              </a:xfrm>
              <a:prstGeom prst="rect">
                <a:avLst/>
              </a:prstGeom>
            </p:spPr>
          </p:pic>
        </p:grp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032517AC-A707-43A7-87CC-5564861DF53E}"/>
                </a:ext>
              </a:extLst>
            </p:cNvPr>
            <p:cNvCxnSpPr>
              <a:cxnSpLocks/>
            </p:cNvCxnSpPr>
            <p:nvPr/>
          </p:nvCxnSpPr>
          <p:spPr>
            <a:xfrm>
              <a:off x="718633" y="6056262"/>
              <a:ext cx="758952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72DFF440-D18F-4762-90B8-B8EA069160E1}"/>
                </a:ext>
              </a:extLst>
            </p:cNvPr>
            <p:cNvSpPr txBox="1"/>
            <p:nvPr/>
          </p:nvSpPr>
          <p:spPr>
            <a:xfrm>
              <a:off x="1327750" y="5673780"/>
              <a:ext cx="1369205" cy="1809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20"/>
                </a:spcAft>
                <a:buClr>
                  <a:srgbClr val="000000"/>
                </a:buClr>
                <a:buSzPct val="100000"/>
                <a:buFont typeface="Arial"/>
                <a:buNone/>
                <a:tabLst/>
                <a:defRPr/>
              </a:pPr>
              <a:r>
                <a:rPr lang="ru" sz="1200" b="1">
                  <a:solidFill>
                    <a:srgbClr val="000000"/>
                  </a:solidFill>
                  <a:latin typeface="Arial"/>
                  <a:sym typeface="Arial"/>
                </a:rPr>
                <a:t>Выставочный центр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C7FCE578-AA6B-42D7-BF14-4F52D5596272}"/>
                </a:ext>
              </a:extLst>
            </p:cNvPr>
            <p:cNvSpPr txBox="1"/>
            <p:nvPr/>
          </p:nvSpPr>
          <p:spPr>
            <a:xfrm>
              <a:off x="3031995" y="4949374"/>
              <a:ext cx="5572687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ru" sz="1200" dirty="0">
                  <a:latin typeface="Arial" panose="020B0604020202020204" pitchFamily="34" charset="0"/>
                  <a:cs typeface="Arial" panose="020B0604020202020204" pitchFamily="34" charset="0"/>
                </a:rPr>
                <a:t>Предлагать предприятиям специализированные программы обучения для повышения квалификации рабочей силы для удовлетворения потребностей бизнеса.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87672BDE-7020-4F3E-A8C0-98B752ABBC88}"/>
                </a:ext>
              </a:extLst>
            </p:cNvPr>
            <p:cNvSpPr txBox="1"/>
            <p:nvPr/>
          </p:nvSpPr>
          <p:spPr>
            <a:xfrm>
              <a:off x="3031995" y="5533411"/>
              <a:ext cx="5572687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ru" sz="1200">
                  <a:latin typeface="Arial" panose="020B0604020202020204" pitchFamily="34" charset="0"/>
                  <a:cs typeface="Arial" panose="020B0604020202020204" pitchFamily="34" charset="0"/>
                </a:rPr>
                <a:t>Содействовать торговле путем объединения потребностей покупателя и продавца и расширения сетей B2B.</a:t>
              </a:r>
            </a:p>
          </p:txBody>
        </p: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A8A8A3B5-79CB-406F-B7D8-4D96C58E1230}"/>
                </a:ext>
              </a:extLst>
            </p:cNvPr>
            <p:cNvCxnSpPr>
              <a:cxnSpLocks/>
            </p:cNvCxnSpPr>
            <p:nvPr/>
          </p:nvCxnSpPr>
          <p:spPr>
            <a:xfrm>
              <a:off x="828300" y="6640304"/>
              <a:ext cx="758952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83671CA4-D6DF-4803-B8A7-B75AEF0528D0}"/>
                </a:ext>
              </a:extLst>
            </p:cNvPr>
            <p:cNvSpPr txBox="1"/>
            <p:nvPr/>
          </p:nvSpPr>
          <p:spPr>
            <a:xfrm>
              <a:off x="1327750" y="6257817"/>
              <a:ext cx="1369205" cy="1809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20"/>
                </a:spcAft>
                <a:buClr>
                  <a:srgbClr val="000000"/>
                </a:buClr>
                <a:buSzPct val="100000"/>
                <a:buFont typeface="Arial"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rPr>
                <a:t>Оптовый рынок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05E787D9-E746-4D28-9B06-86D08F5E7551}"/>
                </a:ext>
              </a:extLst>
            </p:cNvPr>
            <p:cNvSpPr txBox="1"/>
            <p:nvPr/>
          </p:nvSpPr>
          <p:spPr>
            <a:xfrm>
              <a:off x="3031995" y="6209781"/>
              <a:ext cx="5572687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ru" sz="1200" dirty="0">
                  <a:latin typeface="Arial" panose="020B0604020202020204" pitchFamily="34" charset="0"/>
                  <a:cs typeface="Arial" panose="020B0604020202020204" pitchFamily="34" charset="0"/>
                </a:rPr>
                <a:t>Помочь производителю получить лучший доступ к рынку, а УВЭД – лучший доступ к клиентам.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6A2F32C2-8AC9-4D41-A536-387799B1C2FB}"/>
                </a:ext>
              </a:extLst>
            </p:cNvPr>
            <p:cNvGrpSpPr/>
            <p:nvPr/>
          </p:nvGrpSpPr>
          <p:grpSpPr>
            <a:xfrm>
              <a:off x="768856" y="6179974"/>
              <a:ext cx="310063" cy="336613"/>
              <a:chOff x="6240254" y="6145301"/>
              <a:chExt cx="335873" cy="355185"/>
            </a:xfrm>
          </p:grpSpPr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89FED8E2-C5F3-4BE1-9312-491F61C82A18}"/>
                  </a:ext>
                </a:extLst>
              </p:cNvPr>
              <p:cNvSpPr/>
              <p:nvPr/>
            </p:nvSpPr>
            <p:spPr>
              <a:xfrm>
                <a:off x="6240254" y="6145301"/>
                <a:ext cx="335873" cy="355185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pic>
            <p:nvPicPr>
              <p:cNvPr id="126" name="Graphic 125" descr="Marketing outline">
                <a:extLst>
                  <a:ext uri="{FF2B5EF4-FFF2-40B4-BE49-F238E27FC236}">
                    <a16:creationId xmlns:a16="http://schemas.microsoft.com/office/drawing/2014/main" id="{DAF1B40C-A4A5-4C35-A250-EBC740136A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tretch>
                <a:fillRect/>
              </a:stretch>
            </p:blipFill>
            <p:spPr>
              <a:xfrm>
                <a:off x="6270237" y="6216820"/>
                <a:ext cx="282314" cy="282314"/>
              </a:xfrm>
              <a:prstGeom prst="rect">
                <a:avLst/>
              </a:prstGeom>
            </p:spPr>
          </p:pic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1C48A8F-6914-4FA3-8D88-6088F0825140}"/>
                </a:ext>
              </a:extLst>
            </p:cNvPr>
            <p:cNvGrpSpPr/>
            <p:nvPr/>
          </p:nvGrpSpPr>
          <p:grpSpPr>
            <a:xfrm>
              <a:off x="796804" y="3965966"/>
              <a:ext cx="310924" cy="313324"/>
              <a:chOff x="1101604" y="4117578"/>
              <a:chExt cx="310924" cy="313324"/>
            </a:xfrm>
          </p:grpSpPr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C7B4BD99-8036-4939-8E63-C098EF85B477}"/>
                  </a:ext>
                </a:extLst>
              </p:cNvPr>
              <p:cNvSpPr/>
              <p:nvPr/>
            </p:nvSpPr>
            <p:spPr>
              <a:xfrm>
                <a:off x="1101604" y="4117578"/>
                <a:ext cx="310924" cy="294190"/>
              </a:xfrm>
              <a:prstGeom prst="rect">
                <a:avLst/>
              </a:prstGeom>
              <a:solidFill>
                <a:schemeClr val="bg2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pic>
            <p:nvPicPr>
              <p:cNvPr id="130" name="Graphic 129" descr="Folder Search outline">
                <a:extLst>
                  <a:ext uri="{FF2B5EF4-FFF2-40B4-BE49-F238E27FC236}">
                    <a16:creationId xmlns:a16="http://schemas.microsoft.com/office/drawing/2014/main" id="{9865C540-4446-4BD0-97A9-DC33476930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1134717" y="4158716"/>
                <a:ext cx="277811" cy="272186"/>
              </a:xfrm>
              <a:prstGeom prst="rect">
                <a:avLst/>
              </a:prstGeom>
            </p:spPr>
          </p:pic>
        </p:grpSp>
        <p:sp>
          <p:nvSpPr>
            <p:cNvPr id="186" name="Left Brace 185">
              <a:extLst>
                <a:ext uri="{FF2B5EF4-FFF2-40B4-BE49-F238E27FC236}">
                  <a16:creationId xmlns:a16="http://schemas.microsoft.com/office/drawing/2014/main" id="{0F99B0EA-0216-4D14-A47E-82A1872A3F83}"/>
                </a:ext>
              </a:extLst>
            </p:cNvPr>
            <p:cNvSpPr/>
            <p:nvPr/>
          </p:nvSpPr>
          <p:spPr>
            <a:xfrm>
              <a:off x="510666" y="3672049"/>
              <a:ext cx="226928" cy="2992199"/>
            </a:xfrm>
            <a:prstGeom prst="lef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83C8E213-8236-4492-9CD1-CBB6C1D91EB1}"/>
                </a:ext>
              </a:extLst>
            </p:cNvPr>
            <p:cNvSpPr/>
            <p:nvPr/>
          </p:nvSpPr>
          <p:spPr>
            <a:xfrm rot="16200000">
              <a:off x="-1174058" y="5032909"/>
              <a:ext cx="2992200" cy="27047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" sz="1200" b="1" i="1" dirty="0"/>
                <a:t>Дополнительная фаза/ы</a:t>
              </a:r>
            </a:p>
          </p:txBody>
        </p:sp>
        <p:sp>
          <p:nvSpPr>
            <p:cNvPr id="189" name="Left Brace 188">
              <a:extLst>
                <a:ext uri="{FF2B5EF4-FFF2-40B4-BE49-F238E27FC236}">
                  <a16:creationId xmlns:a16="http://schemas.microsoft.com/office/drawing/2014/main" id="{898DF453-683A-4F3A-B94D-7E93848800A2}"/>
                </a:ext>
              </a:extLst>
            </p:cNvPr>
            <p:cNvSpPr/>
            <p:nvPr/>
          </p:nvSpPr>
          <p:spPr>
            <a:xfrm>
              <a:off x="510665" y="1370379"/>
              <a:ext cx="270477" cy="2207944"/>
            </a:xfrm>
            <a:prstGeom prst="lef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11CB008C-E40F-461C-AFC0-777BAACE1E38}"/>
                </a:ext>
              </a:extLst>
            </p:cNvPr>
            <p:cNvSpPr/>
            <p:nvPr/>
          </p:nvSpPr>
          <p:spPr>
            <a:xfrm rot="16200000">
              <a:off x="-781931" y="2324635"/>
              <a:ext cx="2207944" cy="270478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" sz="1200" b="1" i="1"/>
                <a:t>Начальная </a:t>
              </a:r>
              <a:r>
                <a:rPr lang="ru" sz="1200" b="1" i="1" dirty="0"/>
                <a:t>фаза</a:t>
              </a:r>
            </a:p>
          </p:txBody>
        </p:sp>
      </p:grpSp>
      <p:graphicFrame>
        <p:nvGraphicFramePr>
          <p:cNvPr id="119" name="Diagram 118">
            <a:extLst>
              <a:ext uri="{FF2B5EF4-FFF2-40B4-BE49-F238E27FC236}">
                <a16:creationId xmlns:a16="http://schemas.microsoft.com/office/drawing/2014/main" id="{A5A06730-C2C5-4DBF-95A1-9AA2BF3E33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2743937"/>
              </p:ext>
            </p:extLst>
          </p:nvPr>
        </p:nvGraphicFramePr>
        <p:xfrm>
          <a:off x="442915" y="0"/>
          <a:ext cx="11749086" cy="223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99BFA1BB-55BA-41E7-AFD3-C55C5EE71441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/>
              <a:t>сентябрь 2023</a:t>
            </a:r>
            <a:endParaRPr lang="ru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2C0A8A4-954D-429A-9AE8-4CED4133D89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en-US" smtClean="0"/>
              <a:pPr lvl="0"/>
              <a:t>17</a:t>
            </a:fld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4014911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4000"/>
          </a:schemeClr>
        </a:solidFill>
        <a:effectLst/>
      </p:bgPr>
    </p:bg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095B41-810A-40B0-8ED6-F81B04F66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5798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2" imgH="532" progId="TCLayout.ActiveDocument.1">
                  <p:embed/>
                </p:oleObj>
              </mc:Choice>
              <mc:Fallback>
                <p:oleObj name="think-cell Slide" r:id="rId5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095B41-810A-40B0-8ED6-F81B04F66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2"/>
          <p:cNvSpPr txBox="1">
            <a:spLocks noGrp="1"/>
          </p:cNvSpPr>
          <p:nvPr>
            <p:ph type="title"/>
          </p:nvPr>
        </p:nvSpPr>
        <p:spPr>
          <a:xfrm>
            <a:off x="442914" y="345559"/>
            <a:ext cx="11306175" cy="369332"/>
          </a:xfrm>
        </p:spPr>
        <p:txBody>
          <a:bodyPr anchor="ctr" anchorCtr="0">
            <a:normAutofit fontScale="90000"/>
          </a:bodyPr>
          <a:lstStyle/>
          <a:p>
            <a:pPr lvl="0"/>
            <a:r>
              <a:rPr lang="ru" sz="2400" b="0" dirty="0">
                <a:latin typeface="Georgia" panose="02040502050405020303" pitchFamily="18" charset="0"/>
              </a:rPr>
              <a:t>План зонирования в соответствии с двумя предлагаемыми институциональными моделями</a:t>
            </a:r>
          </a:p>
        </p:txBody>
      </p:sp>
      <p:graphicFrame>
        <p:nvGraphicFramePr>
          <p:cNvPr id="119" name="Diagram 118">
            <a:extLst>
              <a:ext uri="{FF2B5EF4-FFF2-40B4-BE49-F238E27FC236}">
                <a16:creationId xmlns:a16="http://schemas.microsoft.com/office/drawing/2014/main" id="{A5A06730-C2C5-4DBF-95A1-9AA2BF3E33CF}"/>
              </a:ext>
            </a:extLst>
          </p:cNvPr>
          <p:cNvGraphicFramePr/>
          <p:nvPr/>
        </p:nvGraphicFramePr>
        <p:xfrm>
          <a:off x="442915" y="0"/>
          <a:ext cx="11749086" cy="223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71" name="Group 70">
            <a:extLst>
              <a:ext uri="{FF2B5EF4-FFF2-40B4-BE49-F238E27FC236}">
                <a16:creationId xmlns:a16="http://schemas.microsoft.com/office/drawing/2014/main" id="{DCEF7B58-A14C-2F12-C74F-DC83579AC4CD}"/>
              </a:ext>
            </a:extLst>
          </p:cNvPr>
          <p:cNvGrpSpPr/>
          <p:nvPr/>
        </p:nvGrpSpPr>
        <p:grpSpPr>
          <a:xfrm>
            <a:off x="6296590" y="1723893"/>
            <a:ext cx="5895411" cy="2835275"/>
            <a:chOff x="0" y="0"/>
            <a:chExt cx="5807381" cy="2793700"/>
          </a:xfrm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C36E302D-3DD6-599C-E86D-051D1C72BE49}"/>
                </a:ext>
              </a:extLst>
            </p:cNvPr>
            <p:cNvGrpSpPr/>
            <p:nvPr/>
          </p:nvGrpSpPr>
          <p:grpSpPr>
            <a:xfrm>
              <a:off x="0" y="0"/>
              <a:ext cx="5739130" cy="2512695"/>
              <a:chOff x="0" y="0"/>
              <a:chExt cx="5739130" cy="2512695"/>
            </a:xfrm>
          </p:grpSpPr>
          <p:pic>
            <p:nvPicPr>
              <p:cNvPr id="93" name="Picture 92">
                <a:extLst>
                  <a:ext uri="{FF2B5EF4-FFF2-40B4-BE49-F238E27FC236}">
                    <a16:creationId xmlns:a16="http://schemas.microsoft.com/office/drawing/2014/main" id="{620D8B1A-CE77-BEB3-AAC2-D903874FA82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 cstate="email">
                <a:alphaModFix amt="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0" y="0"/>
                <a:ext cx="5739130" cy="2512695"/>
              </a:xfrm>
              <a:prstGeom prst="rect">
                <a:avLst/>
              </a:prstGeom>
            </p:spPr>
          </p:pic>
          <p:sp>
            <p:nvSpPr>
              <p:cNvPr id="94" name="TextBox 3">
                <a:extLst>
                  <a:ext uri="{FF2B5EF4-FFF2-40B4-BE49-F238E27FC236}">
                    <a16:creationId xmlns:a16="http://schemas.microsoft.com/office/drawing/2014/main" id="{C0466449-FD41-9CD8-A607-5AF75FBD834B}"/>
                  </a:ext>
                </a:extLst>
              </p:cNvPr>
              <p:cNvSpPr txBox="1"/>
              <p:nvPr/>
            </p:nvSpPr>
            <p:spPr>
              <a:xfrm>
                <a:off x="424536" y="192608"/>
                <a:ext cx="1682750" cy="25209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1100" b="1" kern="120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КАЗАХСТАН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95" name="TextBox 4">
                <a:extLst>
                  <a:ext uri="{FF2B5EF4-FFF2-40B4-BE49-F238E27FC236}">
                    <a16:creationId xmlns:a16="http://schemas.microsoft.com/office/drawing/2014/main" id="{AFA36F22-9122-8C08-5BBE-82411EA874AD}"/>
                  </a:ext>
                </a:extLst>
              </p:cNvPr>
              <p:cNvSpPr txBox="1"/>
              <p:nvPr/>
            </p:nvSpPr>
            <p:spPr>
              <a:xfrm>
                <a:off x="3276598" y="192607"/>
                <a:ext cx="1682750" cy="25209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1100" b="1" kern="120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УЗБЕКИСТАН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97" name="TextBox 5">
                <a:extLst>
                  <a:ext uri="{FF2B5EF4-FFF2-40B4-BE49-F238E27FC236}">
                    <a16:creationId xmlns:a16="http://schemas.microsoft.com/office/drawing/2014/main" id="{D4874664-0AE3-E0E5-B999-9EA255822D1B}"/>
                  </a:ext>
                </a:extLst>
              </p:cNvPr>
              <p:cNvSpPr txBox="1"/>
              <p:nvPr/>
            </p:nvSpPr>
            <p:spPr>
              <a:xfrm>
                <a:off x="424536" y="560590"/>
                <a:ext cx="1808277" cy="454952"/>
              </a:xfrm>
              <a:prstGeom prst="rect">
                <a:avLst/>
              </a:prstGeom>
              <a:solidFill>
                <a:srgbClr val="FFFFFF">
                  <a:alpha val="50196"/>
                </a:srgbClr>
              </a:solidFill>
            </p:spPr>
            <p:txBody>
              <a:bodyPr wrap="square" rtlCol="0">
                <a:noAutofit/>
              </a:bodyPr>
              <a:lstStyle/>
              <a:p>
                <a:pPr marL="0" marR="0" algn="l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Предлагаемая территория для </a:t>
                </a:r>
                <a:r>
                  <a:rPr lang="ru-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МЦПК</a:t>
                </a:r>
                <a:r>
                  <a:rPr lang="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 правительством Казахстана</a:t>
                </a:r>
                <a:endParaRPr lang="en-US" sz="11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99" name="TextBox 6">
                <a:extLst>
                  <a:ext uri="{FF2B5EF4-FFF2-40B4-BE49-F238E27FC236}">
                    <a16:creationId xmlns:a16="http://schemas.microsoft.com/office/drawing/2014/main" id="{706A599D-BAD9-C3E0-4D3A-D5C22375A1E1}"/>
                  </a:ext>
                </a:extLst>
              </p:cNvPr>
              <p:cNvSpPr txBox="1"/>
              <p:nvPr/>
            </p:nvSpPr>
            <p:spPr>
              <a:xfrm>
                <a:off x="3276597" y="595896"/>
                <a:ext cx="1950692" cy="354330"/>
              </a:xfrm>
              <a:prstGeom prst="rect">
                <a:avLst/>
              </a:prstGeom>
              <a:solidFill>
                <a:srgbClr val="FFFFFF">
                  <a:alpha val="50196"/>
                </a:srgbClr>
              </a:solidFill>
            </p:spPr>
            <p:txBody>
              <a:bodyPr wrap="square" rtlCol="0">
                <a:noAutofit/>
              </a:bodyPr>
              <a:lstStyle/>
              <a:p>
                <a:pPr marL="0" marR="0" algn="l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Предлагаемая территория правительством Узбекистана</a:t>
                </a:r>
                <a:endParaRPr lang="en-US" sz="11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AB54E4E0-FF14-9BD7-5391-241FBDCD0C5A}"/>
                  </a:ext>
                </a:extLst>
              </p:cNvPr>
              <p:cNvSpPr/>
              <p:nvPr/>
            </p:nvSpPr>
            <p:spPr>
              <a:xfrm>
                <a:off x="1026294" y="1455248"/>
                <a:ext cx="1404730" cy="481263"/>
              </a:xfrm>
              <a:prstGeom prst="rect">
                <a:avLst/>
              </a:prstGeom>
              <a:solidFill>
                <a:srgbClr val="FFC000">
                  <a:alpha val="75000"/>
                </a:srgbClr>
              </a:solidFill>
              <a:ln w="285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b="1" kern="120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Производственная зона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1" name="Freeform 2134399830">
                <a:extLst>
                  <a:ext uri="{FF2B5EF4-FFF2-40B4-BE49-F238E27FC236}">
                    <a16:creationId xmlns:a16="http://schemas.microsoft.com/office/drawing/2014/main" id="{210131AA-7250-337C-B18E-1B85B961BB97}"/>
                  </a:ext>
                </a:extLst>
              </p:cNvPr>
              <p:cNvSpPr/>
              <p:nvPr/>
            </p:nvSpPr>
            <p:spPr>
              <a:xfrm>
                <a:off x="1039033" y="1086098"/>
                <a:ext cx="1392382" cy="368877"/>
              </a:xfrm>
              <a:custGeom>
                <a:avLst/>
                <a:gdLst>
                  <a:gd name="connsiteX0" fmla="*/ 0 w 1392382"/>
                  <a:gd name="connsiteY0" fmla="*/ 0 h 368877"/>
                  <a:gd name="connsiteX1" fmla="*/ 0 w 1392382"/>
                  <a:gd name="connsiteY1" fmla="*/ 368877 h 368877"/>
                  <a:gd name="connsiteX2" fmla="*/ 1381991 w 1392382"/>
                  <a:gd name="connsiteY2" fmla="*/ 368877 h 368877"/>
                  <a:gd name="connsiteX3" fmla="*/ 1392382 w 1392382"/>
                  <a:gd name="connsiteY3" fmla="*/ 264968 h 368877"/>
                  <a:gd name="connsiteX4" fmla="*/ 0 w 1392382"/>
                  <a:gd name="connsiteY4" fmla="*/ 0 h 368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2382" h="368877">
                    <a:moveTo>
                      <a:pt x="0" y="0"/>
                    </a:moveTo>
                    <a:lnTo>
                      <a:pt x="0" y="368877"/>
                    </a:lnTo>
                    <a:lnTo>
                      <a:pt x="1381991" y="368877"/>
                    </a:lnTo>
                    <a:lnTo>
                      <a:pt x="1392382" y="26496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13501">
                  <a:alpha val="7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67DA1844-80BF-41C5-B9C0-4C86EBF65F6A}"/>
                  </a:ext>
                </a:extLst>
              </p:cNvPr>
              <p:cNvSpPr/>
              <p:nvPr/>
            </p:nvSpPr>
            <p:spPr>
              <a:xfrm>
                <a:off x="1032859" y="1936511"/>
                <a:ext cx="1404730" cy="264573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  <a:alpha val="7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B89F413B-BD07-622A-AD39-FD3E516C223D}"/>
                  </a:ext>
                </a:extLst>
              </p:cNvPr>
              <p:cNvSpPr/>
              <p:nvPr/>
            </p:nvSpPr>
            <p:spPr>
              <a:xfrm>
                <a:off x="2470479" y="1671938"/>
                <a:ext cx="1404730" cy="264573"/>
              </a:xfrm>
              <a:prstGeom prst="rect">
                <a:avLst/>
              </a:prstGeom>
              <a:solidFill>
                <a:srgbClr val="FFC000">
                  <a:alpha val="75000"/>
                </a:srgbClr>
              </a:solidFill>
              <a:ln w="285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b="1" kern="120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Производственная зона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7FEE28EC-B765-8021-D590-762230231813}"/>
                  </a:ext>
                </a:extLst>
              </p:cNvPr>
              <p:cNvSpPr/>
              <p:nvPr/>
            </p:nvSpPr>
            <p:spPr>
              <a:xfrm>
                <a:off x="2468327" y="1949799"/>
                <a:ext cx="1404730" cy="264573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  <a:alpha val="7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3" name="Freeform 1401438260">
                <a:extLst>
                  <a:ext uri="{FF2B5EF4-FFF2-40B4-BE49-F238E27FC236}">
                    <a16:creationId xmlns:a16="http://schemas.microsoft.com/office/drawing/2014/main" id="{CCAA019F-0A51-4D25-19EA-78F5F465025F}"/>
                  </a:ext>
                </a:extLst>
              </p:cNvPr>
              <p:cNvSpPr/>
              <p:nvPr/>
            </p:nvSpPr>
            <p:spPr>
              <a:xfrm>
                <a:off x="2483631" y="1392667"/>
                <a:ext cx="1394625" cy="269715"/>
              </a:xfrm>
              <a:custGeom>
                <a:avLst/>
                <a:gdLst>
                  <a:gd name="connsiteX0" fmla="*/ 0 w 1394625"/>
                  <a:gd name="connsiteY0" fmla="*/ 0 h 269715"/>
                  <a:gd name="connsiteX1" fmla="*/ 0 w 1394625"/>
                  <a:gd name="connsiteY1" fmla="*/ 269715 h 269715"/>
                  <a:gd name="connsiteX2" fmla="*/ 1394625 w 1394625"/>
                  <a:gd name="connsiteY2" fmla="*/ 269715 h 269715"/>
                  <a:gd name="connsiteX3" fmla="*/ 0 w 1394625"/>
                  <a:gd name="connsiteY3" fmla="*/ 0 h 269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4625" h="269715">
                    <a:moveTo>
                      <a:pt x="0" y="0"/>
                    </a:moveTo>
                    <a:lnTo>
                      <a:pt x="0" y="269715"/>
                    </a:lnTo>
                    <a:lnTo>
                      <a:pt x="1394625" y="2697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13501">
                  <a:alpha val="7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5" name="Freeform 1955635509">
                <a:extLst>
                  <a:ext uri="{FF2B5EF4-FFF2-40B4-BE49-F238E27FC236}">
                    <a16:creationId xmlns:a16="http://schemas.microsoft.com/office/drawing/2014/main" id="{FE1F0E58-4328-CE3E-818D-724CB27F9A62}"/>
                  </a:ext>
                </a:extLst>
              </p:cNvPr>
              <p:cNvSpPr/>
              <p:nvPr/>
            </p:nvSpPr>
            <p:spPr>
              <a:xfrm>
                <a:off x="2470479" y="1393141"/>
                <a:ext cx="1407781" cy="835459"/>
              </a:xfrm>
              <a:custGeom>
                <a:avLst/>
                <a:gdLst>
                  <a:gd name="connsiteX0" fmla="*/ 0 w 1407781"/>
                  <a:gd name="connsiteY0" fmla="*/ 0 h 835459"/>
                  <a:gd name="connsiteX1" fmla="*/ 0 w 1407781"/>
                  <a:gd name="connsiteY1" fmla="*/ 835459 h 835459"/>
                  <a:gd name="connsiteX2" fmla="*/ 1407781 w 1407781"/>
                  <a:gd name="connsiteY2" fmla="*/ 835459 h 835459"/>
                  <a:gd name="connsiteX3" fmla="*/ 1407781 w 1407781"/>
                  <a:gd name="connsiteY3" fmla="*/ 263137 h 835459"/>
                  <a:gd name="connsiteX4" fmla="*/ 0 w 1407781"/>
                  <a:gd name="connsiteY4" fmla="*/ 0 h 835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7781" h="835459">
                    <a:moveTo>
                      <a:pt x="0" y="0"/>
                    </a:moveTo>
                    <a:lnTo>
                      <a:pt x="0" y="835459"/>
                    </a:lnTo>
                    <a:lnTo>
                      <a:pt x="1407781" y="835459"/>
                    </a:lnTo>
                    <a:lnTo>
                      <a:pt x="1407781" y="263137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28575"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6" name="Freeform 28525427">
                <a:extLst>
                  <a:ext uri="{FF2B5EF4-FFF2-40B4-BE49-F238E27FC236}">
                    <a16:creationId xmlns:a16="http://schemas.microsoft.com/office/drawing/2014/main" id="{2C932F04-0464-4118-E8A8-5F5A952B46BB}"/>
                  </a:ext>
                </a:extLst>
              </p:cNvPr>
              <p:cNvSpPr/>
              <p:nvPr/>
            </p:nvSpPr>
            <p:spPr>
              <a:xfrm>
                <a:off x="1026293" y="1089618"/>
                <a:ext cx="1411295" cy="1131668"/>
              </a:xfrm>
              <a:custGeom>
                <a:avLst/>
                <a:gdLst>
                  <a:gd name="connsiteX0" fmla="*/ 0 w 1484243"/>
                  <a:gd name="connsiteY0" fmla="*/ 0 h 1126435"/>
                  <a:gd name="connsiteX1" fmla="*/ 0 w 1484243"/>
                  <a:gd name="connsiteY1" fmla="*/ 1126435 h 1126435"/>
                  <a:gd name="connsiteX2" fmla="*/ 1484243 w 1484243"/>
                  <a:gd name="connsiteY2" fmla="*/ 1126435 h 1126435"/>
                  <a:gd name="connsiteX3" fmla="*/ 1484243 w 1484243"/>
                  <a:gd name="connsiteY3" fmla="*/ 265044 h 1126435"/>
                  <a:gd name="connsiteX4" fmla="*/ 0 w 1484243"/>
                  <a:gd name="connsiteY4" fmla="*/ 0 h 1126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4243" h="1126435">
                    <a:moveTo>
                      <a:pt x="0" y="0"/>
                    </a:moveTo>
                    <a:lnTo>
                      <a:pt x="0" y="1126435"/>
                    </a:lnTo>
                    <a:lnTo>
                      <a:pt x="1484243" y="1126435"/>
                    </a:lnTo>
                    <a:lnTo>
                      <a:pt x="1484243" y="265044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FFD28CE8-EEB7-18CA-04CE-FDF9386087A2}"/>
                </a:ext>
              </a:extLst>
            </p:cNvPr>
            <p:cNvGrpSpPr/>
            <p:nvPr/>
          </p:nvGrpSpPr>
          <p:grpSpPr>
            <a:xfrm>
              <a:off x="619085" y="2511550"/>
              <a:ext cx="5188296" cy="282150"/>
              <a:chOff x="619085" y="2511550"/>
              <a:chExt cx="5188296" cy="282150"/>
            </a:xfrm>
          </p:grpSpPr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34E1AD6A-0FEE-2404-B2E5-B805F3A28A3F}"/>
                  </a:ext>
                </a:extLst>
              </p:cNvPr>
              <p:cNvSpPr/>
              <p:nvPr/>
            </p:nvSpPr>
            <p:spPr>
              <a:xfrm>
                <a:off x="619085" y="2581293"/>
                <a:ext cx="284925" cy="184499"/>
              </a:xfrm>
              <a:prstGeom prst="rect">
                <a:avLst/>
              </a:prstGeom>
              <a:solidFill>
                <a:srgbClr val="B14727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" name="TextBox 20">
                <a:extLst>
                  <a:ext uri="{FF2B5EF4-FFF2-40B4-BE49-F238E27FC236}">
                    <a16:creationId xmlns:a16="http://schemas.microsoft.com/office/drawing/2014/main" id="{879BA20E-3F97-EF73-219C-46A6D9562307}"/>
                  </a:ext>
                </a:extLst>
              </p:cNvPr>
              <p:cNvSpPr txBox="1"/>
              <p:nvPr/>
            </p:nvSpPr>
            <p:spPr>
              <a:xfrm>
                <a:off x="904010" y="2511550"/>
                <a:ext cx="1037761" cy="210448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marL="0" marR="0" algn="just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Логистика и складирование</a:t>
                </a:r>
                <a:endParaRPr lang="en-US" sz="11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667DA38B-0CD4-EF42-E010-92748C1A4EA8}"/>
                  </a:ext>
                </a:extLst>
              </p:cNvPr>
              <p:cNvSpPr/>
              <p:nvPr/>
            </p:nvSpPr>
            <p:spPr>
              <a:xfrm>
                <a:off x="2259456" y="2574987"/>
                <a:ext cx="284925" cy="184499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" name="TextBox 22">
                <a:extLst>
                  <a:ext uri="{FF2B5EF4-FFF2-40B4-BE49-F238E27FC236}">
                    <a16:creationId xmlns:a16="http://schemas.microsoft.com/office/drawing/2014/main" id="{DA3F5D61-821A-F7E3-C6D0-25BEF2D6D87D}"/>
                  </a:ext>
                </a:extLst>
              </p:cNvPr>
              <p:cNvSpPr txBox="1"/>
              <p:nvPr/>
            </p:nvSpPr>
            <p:spPr>
              <a:xfrm>
                <a:off x="2512168" y="2550767"/>
                <a:ext cx="970827" cy="222885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marL="0" marR="0" algn="just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Производство</a:t>
                </a:r>
                <a:endParaRPr lang="en-US" sz="11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EC495D2F-31B9-8AE2-28F6-638AA7DDA91A}"/>
                  </a:ext>
                </a:extLst>
              </p:cNvPr>
              <p:cNvSpPr/>
              <p:nvPr/>
            </p:nvSpPr>
            <p:spPr>
              <a:xfrm>
                <a:off x="3483001" y="2583252"/>
                <a:ext cx="284925" cy="1844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TextBox 24">
                <a:extLst>
                  <a:ext uri="{FF2B5EF4-FFF2-40B4-BE49-F238E27FC236}">
                    <a16:creationId xmlns:a16="http://schemas.microsoft.com/office/drawing/2014/main" id="{51894ABE-825C-4D46-B313-4329283DEFB8}"/>
                  </a:ext>
                </a:extLst>
              </p:cNvPr>
              <p:cNvSpPr txBox="1"/>
              <p:nvPr/>
            </p:nvSpPr>
            <p:spPr>
              <a:xfrm>
                <a:off x="3767927" y="2550767"/>
                <a:ext cx="2039454" cy="242933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marL="0" marR="0" algn="just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Непроизводственная зона</a:t>
                </a:r>
                <a:endParaRPr lang="en-US" sz="11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</p:grpSp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6A0C00-6D2A-4CCD-92EC-3A0E80AA30CD}"/>
              </a:ext>
            </a:extLst>
          </p:cNvPr>
          <p:cNvCxnSpPr/>
          <p:nvPr/>
        </p:nvCxnSpPr>
        <p:spPr>
          <a:xfrm>
            <a:off x="6159085" y="1140542"/>
            <a:ext cx="0" cy="5717458"/>
          </a:xfrm>
          <a:prstGeom prst="line">
            <a:avLst/>
          </a:prstGeom>
          <a:ln w="12700">
            <a:solidFill>
              <a:srgbClr val="DC6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98C22ABE-364F-2C8D-86FD-41B783EA9AD8}"/>
              </a:ext>
            </a:extLst>
          </p:cNvPr>
          <p:cNvGrpSpPr/>
          <p:nvPr/>
        </p:nvGrpSpPr>
        <p:grpSpPr>
          <a:xfrm>
            <a:off x="282450" y="1723893"/>
            <a:ext cx="5739130" cy="2889781"/>
            <a:chOff x="0" y="0"/>
            <a:chExt cx="5739130" cy="2890128"/>
          </a:xfrm>
        </p:grpSpPr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C36E302D-3DD6-599C-E86D-051D1C72BE49}"/>
                </a:ext>
              </a:extLst>
            </p:cNvPr>
            <p:cNvGrpSpPr/>
            <p:nvPr/>
          </p:nvGrpSpPr>
          <p:grpSpPr>
            <a:xfrm>
              <a:off x="0" y="0"/>
              <a:ext cx="5739130" cy="2512695"/>
              <a:chOff x="0" y="0"/>
              <a:chExt cx="5739130" cy="2512695"/>
            </a:xfrm>
          </p:grpSpPr>
          <p:pic>
            <p:nvPicPr>
              <p:cNvPr id="141" name="Picture 140">
                <a:extLst>
                  <a:ext uri="{FF2B5EF4-FFF2-40B4-BE49-F238E27FC236}">
                    <a16:creationId xmlns:a16="http://schemas.microsoft.com/office/drawing/2014/main" id="{620D8B1A-CE77-BEB3-AAC2-D903874FA82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 cstate="email">
                <a:alphaModFix amt="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0" y="0"/>
                <a:ext cx="5739130" cy="2512695"/>
              </a:xfrm>
              <a:prstGeom prst="rect">
                <a:avLst/>
              </a:prstGeom>
            </p:spPr>
          </p:pic>
          <p:sp>
            <p:nvSpPr>
              <p:cNvPr id="142" name="TextBox 3">
                <a:extLst>
                  <a:ext uri="{FF2B5EF4-FFF2-40B4-BE49-F238E27FC236}">
                    <a16:creationId xmlns:a16="http://schemas.microsoft.com/office/drawing/2014/main" id="{C0466449-FD41-9CD8-A607-5AF75FBD834B}"/>
                  </a:ext>
                </a:extLst>
              </p:cNvPr>
              <p:cNvSpPr txBox="1"/>
              <p:nvPr/>
            </p:nvSpPr>
            <p:spPr>
              <a:xfrm>
                <a:off x="424536" y="192608"/>
                <a:ext cx="1682750" cy="25209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1100" b="1" kern="120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КАЗАХСТАН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3" name="TextBox 4">
                <a:extLst>
                  <a:ext uri="{FF2B5EF4-FFF2-40B4-BE49-F238E27FC236}">
                    <a16:creationId xmlns:a16="http://schemas.microsoft.com/office/drawing/2014/main" id="{AFA36F22-9122-8C08-5BBE-82411EA874AD}"/>
                  </a:ext>
                </a:extLst>
              </p:cNvPr>
              <p:cNvSpPr txBox="1"/>
              <p:nvPr/>
            </p:nvSpPr>
            <p:spPr>
              <a:xfrm>
                <a:off x="3276598" y="192607"/>
                <a:ext cx="1682750" cy="25209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1100" b="1" kern="120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УЗБЕКИСТАН</a:t>
                </a:r>
                <a:endParaRPr lang="en-US" sz="110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4" name="TextBox 5">
                <a:extLst>
                  <a:ext uri="{FF2B5EF4-FFF2-40B4-BE49-F238E27FC236}">
                    <a16:creationId xmlns:a16="http://schemas.microsoft.com/office/drawing/2014/main" id="{D4874664-0AE3-E0E5-B999-9EA255822D1B}"/>
                  </a:ext>
                </a:extLst>
              </p:cNvPr>
              <p:cNvSpPr txBox="1"/>
              <p:nvPr/>
            </p:nvSpPr>
            <p:spPr>
              <a:xfrm>
                <a:off x="424536" y="560657"/>
                <a:ext cx="1682750" cy="507892"/>
              </a:xfrm>
              <a:prstGeom prst="rect">
                <a:avLst/>
              </a:prstGeom>
              <a:solidFill>
                <a:srgbClr val="FFFFFF">
                  <a:alpha val="50196"/>
                </a:srgbClr>
              </a:solidFill>
            </p:spPr>
            <p:txBody>
              <a:bodyPr wrap="square" rtlCol="0">
                <a:spAutoFit/>
              </a:bodyPr>
              <a:lstStyle/>
              <a:p>
                <a:pPr marL="0" marR="0" algn="just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Предлагаемая территория для </a:t>
                </a:r>
                <a:r>
                  <a:rPr lang="ru-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МЦПК</a:t>
                </a:r>
                <a:r>
                  <a:rPr lang="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 правительством Казахстана</a:t>
                </a:r>
                <a:endParaRPr lang="en-US" sz="11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5" name="TextBox 6">
                <a:extLst>
                  <a:ext uri="{FF2B5EF4-FFF2-40B4-BE49-F238E27FC236}">
                    <a16:creationId xmlns:a16="http://schemas.microsoft.com/office/drawing/2014/main" id="{706A599D-BAD9-C3E0-4D3A-D5C22375A1E1}"/>
                  </a:ext>
                </a:extLst>
              </p:cNvPr>
              <p:cNvSpPr txBox="1"/>
              <p:nvPr/>
            </p:nvSpPr>
            <p:spPr>
              <a:xfrm>
                <a:off x="3276596" y="595824"/>
                <a:ext cx="1834065" cy="369376"/>
              </a:xfrm>
              <a:prstGeom prst="rect">
                <a:avLst/>
              </a:prstGeom>
              <a:solidFill>
                <a:srgbClr val="FFFFFF">
                  <a:alpha val="50196"/>
                </a:srgbClr>
              </a:solidFill>
            </p:spPr>
            <p:txBody>
              <a:bodyPr wrap="square" rtlCol="0">
                <a:spAutoFit/>
              </a:bodyPr>
              <a:lstStyle/>
              <a:p>
                <a:pPr marL="0" marR="0" algn="just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Предлагаемая территория правительством Узбекистана</a:t>
                </a:r>
                <a:endParaRPr lang="en-US" sz="11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FFD28CE8-EEB7-18CA-04CE-FDF9386087A2}"/>
                </a:ext>
              </a:extLst>
            </p:cNvPr>
            <p:cNvGrpSpPr/>
            <p:nvPr/>
          </p:nvGrpSpPr>
          <p:grpSpPr>
            <a:xfrm>
              <a:off x="619085" y="2520751"/>
              <a:ext cx="5015078" cy="369377"/>
              <a:chOff x="619085" y="2520751"/>
              <a:chExt cx="5015078" cy="369377"/>
            </a:xfrm>
          </p:grpSpPr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34E1AD6A-0FEE-2404-B2E5-B805F3A28A3F}"/>
                  </a:ext>
                </a:extLst>
              </p:cNvPr>
              <p:cNvSpPr/>
              <p:nvPr/>
            </p:nvSpPr>
            <p:spPr>
              <a:xfrm>
                <a:off x="619085" y="2581293"/>
                <a:ext cx="284925" cy="184499"/>
              </a:xfrm>
              <a:prstGeom prst="rect">
                <a:avLst/>
              </a:prstGeom>
              <a:solidFill>
                <a:srgbClr val="B14727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" name="TextBox 20">
                <a:extLst>
                  <a:ext uri="{FF2B5EF4-FFF2-40B4-BE49-F238E27FC236}">
                    <a16:creationId xmlns:a16="http://schemas.microsoft.com/office/drawing/2014/main" id="{879BA20E-3F97-EF73-219C-46A6D9562307}"/>
                  </a:ext>
                </a:extLst>
              </p:cNvPr>
              <p:cNvSpPr txBox="1"/>
              <p:nvPr/>
            </p:nvSpPr>
            <p:spPr>
              <a:xfrm>
                <a:off x="904010" y="2520751"/>
                <a:ext cx="1010079" cy="3693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algn="just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Логистика и складирование</a:t>
                </a:r>
                <a:endParaRPr lang="en-US" sz="11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667DA38B-0CD4-EF42-E010-92748C1A4EA8}"/>
                  </a:ext>
                </a:extLst>
              </p:cNvPr>
              <p:cNvSpPr/>
              <p:nvPr/>
            </p:nvSpPr>
            <p:spPr>
              <a:xfrm>
                <a:off x="2380478" y="2574919"/>
                <a:ext cx="284925" cy="184499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8" name="TextBox 22">
                <a:extLst>
                  <a:ext uri="{FF2B5EF4-FFF2-40B4-BE49-F238E27FC236}">
                    <a16:creationId xmlns:a16="http://schemas.microsoft.com/office/drawing/2014/main" id="{DA3F5D61-821A-F7E3-C6D0-25BEF2D6D87D}"/>
                  </a:ext>
                </a:extLst>
              </p:cNvPr>
              <p:cNvSpPr txBox="1"/>
              <p:nvPr/>
            </p:nvSpPr>
            <p:spPr>
              <a:xfrm>
                <a:off x="2587918" y="2555332"/>
                <a:ext cx="1042505" cy="2308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algn="just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Производство</a:t>
                </a:r>
                <a:endParaRPr lang="en-US" sz="11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EC495D2F-31B9-8AE2-28F6-638AA7DDA91A}"/>
                  </a:ext>
                </a:extLst>
              </p:cNvPr>
              <p:cNvSpPr/>
              <p:nvPr/>
            </p:nvSpPr>
            <p:spPr>
              <a:xfrm>
                <a:off x="3483001" y="2583252"/>
                <a:ext cx="284925" cy="184499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0" name="TextBox 24">
                <a:extLst>
                  <a:ext uri="{FF2B5EF4-FFF2-40B4-BE49-F238E27FC236}">
                    <a16:creationId xmlns:a16="http://schemas.microsoft.com/office/drawing/2014/main" id="{51894ABE-825C-4D46-B313-4329283DEFB8}"/>
                  </a:ext>
                </a:extLst>
              </p:cNvPr>
              <p:cNvSpPr txBox="1"/>
              <p:nvPr/>
            </p:nvSpPr>
            <p:spPr>
              <a:xfrm>
                <a:off x="3767927" y="2605468"/>
                <a:ext cx="1866236" cy="2308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algn="just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Н</a:t>
                </a:r>
                <a:r>
                  <a:rPr lang="ru-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е</a:t>
                </a:r>
                <a:r>
                  <a:rPr lang="ru" sz="900" kern="12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производственная зона</a:t>
                </a:r>
                <a:endParaRPr lang="en-US" sz="11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24" name="Freeform 110888700">
              <a:extLst>
                <a:ext uri="{FF2B5EF4-FFF2-40B4-BE49-F238E27FC236}">
                  <a16:creationId xmlns:a16="http://schemas.microsoft.com/office/drawing/2014/main" id="{0D6EEC0F-8FF0-295D-7364-EC2A1DC19759}"/>
                </a:ext>
              </a:extLst>
            </p:cNvPr>
            <p:cNvSpPr/>
            <p:nvPr/>
          </p:nvSpPr>
          <p:spPr>
            <a:xfrm>
              <a:off x="1044623" y="1097804"/>
              <a:ext cx="2847372" cy="706055"/>
            </a:xfrm>
            <a:custGeom>
              <a:avLst/>
              <a:gdLst>
                <a:gd name="connsiteX0" fmla="*/ 11575 w 2847372"/>
                <a:gd name="connsiteY0" fmla="*/ 0 h 706055"/>
                <a:gd name="connsiteX1" fmla="*/ 2847372 w 2847372"/>
                <a:gd name="connsiteY1" fmla="*/ 578734 h 706055"/>
                <a:gd name="connsiteX2" fmla="*/ 2847372 w 2847372"/>
                <a:gd name="connsiteY2" fmla="*/ 706055 h 706055"/>
                <a:gd name="connsiteX3" fmla="*/ 0 w 2847372"/>
                <a:gd name="connsiteY3" fmla="*/ 162045 h 706055"/>
                <a:gd name="connsiteX4" fmla="*/ 11575 w 2847372"/>
                <a:gd name="connsiteY4" fmla="*/ 0 h 706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47372" h="706055">
                  <a:moveTo>
                    <a:pt x="11575" y="0"/>
                  </a:moveTo>
                  <a:lnTo>
                    <a:pt x="2847372" y="578734"/>
                  </a:lnTo>
                  <a:lnTo>
                    <a:pt x="2847372" y="706055"/>
                  </a:lnTo>
                  <a:lnTo>
                    <a:pt x="0" y="162045"/>
                  </a:lnTo>
                  <a:lnTo>
                    <a:pt x="11575" y="0"/>
                  </a:lnTo>
                  <a:close/>
                </a:path>
              </a:pathLst>
            </a:custGeom>
            <a:solidFill>
              <a:srgbClr val="B14727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 73715509">
              <a:extLst>
                <a:ext uri="{FF2B5EF4-FFF2-40B4-BE49-F238E27FC236}">
                  <a16:creationId xmlns:a16="http://schemas.microsoft.com/office/drawing/2014/main" id="{05F93781-8299-3529-DF6D-0B039C9730BF}"/>
                </a:ext>
              </a:extLst>
            </p:cNvPr>
            <p:cNvSpPr/>
            <p:nvPr/>
          </p:nvSpPr>
          <p:spPr>
            <a:xfrm>
              <a:off x="1057613" y="1248275"/>
              <a:ext cx="266217" cy="960698"/>
            </a:xfrm>
            <a:custGeom>
              <a:avLst/>
              <a:gdLst>
                <a:gd name="connsiteX0" fmla="*/ 0 w 266217"/>
                <a:gd name="connsiteY0" fmla="*/ 0 h 960698"/>
                <a:gd name="connsiteX1" fmla="*/ 0 w 266217"/>
                <a:gd name="connsiteY1" fmla="*/ 960698 h 960698"/>
                <a:gd name="connsiteX2" fmla="*/ 266217 w 266217"/>
                <a:gd name="connsiteY2" fmla="*/ 960698 h 960698"/>
                <a:gd name="connsiteX3" fmla="*/ 266217 w 266217"/>
                <a:gd name="connsiteY3" fmla="*/ 69448 h 960698"/>
                <a:gd name="connsiteX4" fmla="*/ 0 w 266217"/>
                <a:gd name="connsiteY4" fmla="*/ 0 h 96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217" h="960698">
                  <a:moveTo>
                    <a:pt x="0" y="0"/>
                  </a:moveTo>
                  <a:lnTo>
                    <a:pt x="0" y="960698"/>
                  </a:lnTo>
                  <a:lnTo>
                    <a:pt x="266217" y="960698"/>
                  </a:lnTo>
                  <a:lnTo>
                    <a:pt x="266217" y="694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  <a:alpha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 179373493">
              <a:extLst>
                <a:ext uri="{FF2B5EF4-FFF2-40B4-BE49-F238E27FC236}">
                  <a16:creationId xmlns:a16="http://schemas.microsoft.com/office/drawing/2014/main" id="{38095907-23A1-4DE7-301D-9060FA817983}"/>
                </a:ext>
              </a:extLst>
            </p:cNvPr>
            <p:cNvSpPr/>
            <p:nvPr/>
          </p:nvSpPr>
          <p:spPr>
            <a:xfrm>
              <a:off x="3595543" y="1735183"/>
              <a:ext cx="288175" cy="493222"/>
            </a:xfrm>
            <a:custGeom>
              <a:avLst/>
              <a:gdLst>
                <a:gd name="connsiteX0" fmla="*/ 5542 w 288175"/>
                <a:gd name="connsiteY0" fmla="*/ 0 h 493222"/>
                <a:gd name="connsiteX1" fmla="*/ 288175 w 288175"/>
                <a:gd name="connsiteY1" fmla="*/ 60960 h 493222"/>
                <a:gd name="connsiteX2" fmla="*/ 288175 w 288175"/>
                <a:gd name="connsiteY2" fmla="*/ 493222 h 493222"/>
                <a:gd name="connsiteX3" fmla="*/ 0 w 288175"/>
                <a:gd name="connsiteY3" fmla="*/ 493222 h 493222"/>
                <a:gd name="connsiteX4" fmla="*/ 5542 w 288175"/>
                <a:gd name="connsiteY4" fmla="*/ 0 h 493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8175" h="493222">
                  <a:moveTo>
                    <a:pt x="5542" y="0"/>
                  </a:moveTo>
                  <a:lnTo>
                    <a:pt x="288175" y="60960"/>
                  </a:lnTo>
                  <a:lnTo>
                    <a:pt x="288175" y="493222"/>
                  </a:lnTo>
                  <a:lnTo>
                    <a:pt x="0" y="493222"/>
                  </a:lnTo>
                  <a:cubicBezTo>
                    <a:pt x="1847" y="328815"/>
                    <a:pt x="3695" y="164407"/>
                    <a:pt x="5542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  <a:alpha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 1506213406">
              <a:extLst>
                <a:ext uri="{FF2B5EF4-FFF2-40B4-BE49-F238E27FC236}">
                  <a16:creationId xmlns:a16="http://schemas.microsoft.com/office/drawing/2014/main" id="{40759393-CD0F-5ED1-85A1-46862272F65E}"/>
                </a:ext>
              </a:extLst>
            </p:cNvPr>
            <p:cNvSpPr/>
            <p:nvPr/>
          </p:nvSpPr>
          <p:spPr>
            <a:xfrm>
              <a:off x="1339976" y="1290577"/>
              <a:ext cx="2265680" cy="914400"/>
            </a:xfrm>
            <a:custGeom>
              <a:avLst/>
              <a:gdLst>
                <a:gd name="connsiteX0" fmla="*/ 0 w 2265680"/>
                <a:gd name="connsiteY0" fmla="*/ 0 h 914400"/>
                <a:gd name="connsiteX1" fmla="*/ 0 w 2265680"/>
                <a:gd name="connsiteY1" fmla="*/ 914400 h 914400"/>
                <a:gd name="connsiteX2" fmla="*/ 2265680 w 2265680"/>
                <a:gd name="connsiteY2" fmla="*/ 914400 h 914400"/>
                <a:gd name="connsiteX3" fmla="*/ 2265680 w 2265680"/>
                <a:gd name="connsiteY3" fmla="*/ 426720 h 914400"/>
                <a:gd name="connsiteX4" fmla="*/ 0 w 2265680"/>
                <a:gd name="connsiteY4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5680" h="914400">
                  <a:moveTo>
                    <a:pt x="0" y="0"/>
                  </a:moveTo>
                  <a:lnTo>
                    <a:pt x="0" y="914400"/>
                  </a:lnTo>
                  <a:lnTo>
                    <a:pt x="2265680" y="914400"/>
                  </a:lnTo>
                  <a:lnTo>
                    <a:pt x="2265680" y="4267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000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ru" sz="900" b="1" kern="12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Производственная зона</a:t>
              </a:r>
              <a:endParaRPr lang="en-US" sz="110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33" name="Freeform 1686740892">
              <a:extLst>
                <a:ext uri="{FF2B5EF4-FFF2-40B4-BE49-F238E27FC236}">
                  <a16:creationId xmlns:a16="http://schemas.microsoft.com/office/drawing/2014/main" id="{68AE84F4-E9B2-37CD-4EFA-FE39698A42E4}"/>
                </a:ext>
              </a:extLst>
            </p:cNvPr>
            <p:cNvSpPr/>
            <p:nvPr/>
          </p:nvSpPr>
          <p:spPr>
            <a:xfrm>
              <a:off x="1027437" y="1089748"/>
              <a:ext cx="1425388" cy="1143000"/>
            </a:xfrm>
            <a:custGeom>
              <a:avLst/>
              <a:gdLst>
                <a:gd name="connsiteX0" fmla="*/ 1411941 w 1425388"/>
                <a:gd name="connsiteY0" fmla="*/ 255494 h 1143000"/>
                <a:gd name="connsiteX1" fmla="*/ 0 w 1425388"/>
                <a:gd name="connsiteY1" fmla="*/ 0 h 1143000"/>
                <a:gd name="connsiteX2" fmla="*/ 0 w 1425388"/>
                <a:gd name="connsiteY2" fmla="*/ 1143000 h 1143000"/>
                <a:gd name="connsiteX3" fmla="*/ 1425388 w 1425388"/>
                <a:gd name="connsiteY3" fmla="*/ 1143000 h 1143000"/>
                <a:gd name="connsiteX4" fmla="*/ 1425388 w 1425388"/>
                <a:gd name="connsiteY4" fmla="*/ 1143000 h 1143000"/>
                <a:gd name="connsiteX5" fmla="*/ 1425388 w 1425388"/>
                <a:gd name="connsiteY5" fmla="*/ 114300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5388" h="1143000">
                  <a:moveTo>
                    <a:pt x="1411941" y="255494"/>
                  </a:moveTo>
                  <a:lnTo>
                    <a:pt x="0" y="0"/>
                  </a:lnTo>
                  <a:lnTo>
                    <a:pt x="0" y="1143000"/>
                  </a:lnTo>
                  <a:lnTo>
                    <a:pt x="1425388" y="1143000"/>
                  </a:lnTo>
                  <a:lnTo>
                    <a:pt x="1425388" y="1143000"/>
                  </a:lnTo>
                  <a:lnTo>
                    <a:pt x="1425388" y="1143000"/>
                  </a:lnTo>
                </a:path>
              </a:pathLst>
            </a:custGeom>
            <a:noFill/>
            <a:ln w="28575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 223542508">
              <a:extLst>
                <a:ext uri="{FF2B5EF4-FFF2-40B4-BE49-F238E27FC236}">
                  <a16:creationId xmlns:a16="http://schemas.microsoft.com/office/drawing/2014/main" id="{B0D365BE-93D1-AEC4-3609-D2C20C66E6C6}"/>
                </a:ext>
              </a:extLst>
            </p:cNvPr>
            <p:cNvSpPr/>
            <p:nvPr/>
          </p:nvSpPr>
          <p:spPr>
            <a:xfrm>
              <a:off x="2471912" y="1358119"/>
              <a:ext cx="1423073" cy="878066"/>
            </a:xfrm>
            <a:custGeom>
              <a:avLst/>
              <a:gdLst>
                <a:gd name="connsiteX0" fmla="*/ 24223 w 1423073"/>
                <a:gd name="connsiteY0" fmla="*/ 0 h 878066"/>
                <a:gd name="connsiteX1" fmla="*/ 1423073 w 1423073"/>
                <a:gd name="connsiteY1" fmla="*/ 302782 h 878066"/>
                <a:gd name="connsiteX2" fmla="*/ 1423073 w 1423073"/>
                <a:gd name="connsiteY2" fmla="*/ 878066 h 878066"/>
                <a:gd name="connsiteX3" fmla="*/ 0 w 1423073"/>
                <a:gd name="connsiteY3" fmla="*/ 878066 h 878066"/>
                <a:gd name="connsiteX4" fmla="*/ 0 w 1423073"/>
                <a:gd name="connsiteY4" fmla="*/ 878066 h 878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3073" h="878066">
                  <a:moveTo>
                    <a:pt x="24223" y="0"/>
                  </a:moveTo>
                  <a:lnTo>
                    <a:pt x="1423073" y="302782"/>
                  </a:lnTo>
                  <a:lnTo>
                    <a:pt x="1423073" y="878066"/>
                  </a:lnTo>
                  <a:lnTo>
                    <a:pt x="0" y="878066"/>
                  </a:lnTo>
                  <a:lnTo>
                    <a:pt x="0" y="878066"/>
                  </a:lnTo>
                </a:path>
              </a:pathLst>
            </a:custGeom>
            <a:noFill/>
            <a:ln w="28575">
              <a:prstDash val="sys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6" name="Google Shape;1631;g114e5dc4418_1_0">
            <a:extLst>
              <a:ext uri="{FF2B5EF4-FFF2-40B4-BE49-F238E27FC236}">
                <a16:creationId xmlns:a16="http://schemas.microsoft.com/office/drawing/2014/main" id="{F0290BFF-EFB5-472B-B927-9A643C448F4E}"/>
              </a:ext>
            </a:extLst>
          </p:cNvPr>
          <p:cNvSpPr/>
          <p:nvPr/>
        </p:nvSpPr>
        <p:spPr>
          <a:xfrm flipH="1">
            <a:off x="282449" y="1219681"/>
            <a:ext cx="5110647" cy="46158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8375" tIns="98375" rIns="98375" bIns="9837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79"/>
              <a:buFont typeface="Arial"/>
              <a:buNone/>
              <a:tabLst/>
              <a:defRPr/>
            </a:pPr>
            <a:r>
              <a:rPr lang="ru" sz="1200" b="1" kern="0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План </a:t>
            </a: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зонирования в соответствии с Моделью I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79"/>
              <a:buFont typeface="Arial"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Модель единого предприятия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" name="Google Shape;1631;g114e5dc4418_1_0">
            <a:extLst>
              <a:ext uri="{FF2B5EF4-FFF2-40B4-BE49-F238E27FC236}">
                <a16:creationId xmlns:a16="http://schemas.microsoft.com/office/drawing/2014/main" id="{92288D76-27AB-4364-8096-67A5E9E257AB}"/>
              </a:ext>
            </a:extLst>
          </p:cNvPr>
          <p:cNvSpPr/>
          <p:nvPr/>
        </p:nvSpPr>
        <p:spPr>
          <a:xfrm flipH="1">
            <a:off x="6750622" y="1219089"/>
            <a:ext cx="4998456" cy="478468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8375" tIns="98375" rIns="98375" bIns="9837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79"/>
              <a:buFont typeface="Arial"/>
              <a:buNone/>
              <a:tabLst/>
              <a:defRPr/>
            </a:pPr>
            <a:r>
              <a:rPr lang="ru" sz="1200" b="1" kern="0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План зонирования в соответствии с </a:t>
            </a: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Моделью II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79"/>
              <a:buFont typeface="Arial"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Модель двойного предприятия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DEDF300B-BA87-4865-A1A1-C6B5762ABCE7}"/>
              </a:ext>
            </a:extLst>
          </p:cNvPr>
          <p:cNvSpPr txBox="1"/>
          <p:nvPr/>
        </p:nvSpPr>
        <p:spPr>
          <a:xfrm>
            <a:off x="6296588" y="4987335"/>
            <a:ext cx="5826124" cy="107721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" sz="1400" i="1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Правительства Казахстана и Узбекистана будут нести ответственность за развитие соответствующей стороны границы с</a:t>
            </a:r>
            <a:r>
              <a:rPr lang="ru" sz="1800" i="1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ru" sz="1800" b="1" i="1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отдельными производственпными и непроизводственными зонами</a:t>
            </a:r>
            <a:endParaRPr lang="en-US" b="1" i="1" dirty="0"/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69DC627-8414-41A9-89A9-301EEA888576}"/>
              </a:ext>
            </a:extLst>
          </p:cNvPr>
          <p:cNvSpPr txBox="1"/>
          <p:nvPr/>
        </p:nvSpPr>
        <p:spPr>
          <a:xfrm>
            <a:off x="282450" y="5110446"/>
            <a:ext cx="5739130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i="1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МЦПК</a:t>
            </a:r>
            <a:r>
              <a:rPr lang="ru" sz="1400" i="1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 будет объединен в </a:t>
            </a:r>
            <a:r>
              <a:rPr lang="ru" b="1" i="1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единый объект без демаркации по обе стороны границы.</a:t>
            </a:r>
            <a:endParaRPr lang="en-US" sz="2400" b="1" i="1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273F0D70-54BA-483A-9D9D-FBCF0D4DDD34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/>
              <a:t>сентябрь 2023</a:t>
            </a:r>
            <a:endParaRPr lang="ru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EF7E3DA-5F46-4035-88FB-B449F12DF81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en-US" smtClean="0"/>
              <a:pPr lvl="0"/>
              <a:t>18</a:t>
            </a:fld>
            <a:endParaRPr lang="en-US"/>
          </a:p>
        </p:txBody>
      </p:sp>
      <p:sp>
        <p:nvSpPr>
          <p:cNvPr id="151" name="Footer Placeholder 11">
            <a:extLst>
              <a:ext uri="{FF2B5EF4-FFF2-40B4-BE49-F238E27FC236}">
                <a16:creationId xmlns:a16="http://schemas.microsoft.com/office/drawing/2014/main" id="{C0B4B173-0BEB-459E-BFAA-FBEBB062F707}"/>
              </a:ext>
            </a:extLst>
          </p:cNvPr>
          <p:cNvSpPr txBox="1">
            <a:spLocks/>
          </p:cNvSpPr>
          <p:nvPr/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едварительное технико-экономическое обоснование создания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ЦПК</a:t>
            </a: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ри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КШТХ</a:t>
            </a:r>
            <a:endParaRPr kumimoji="0" lang="ru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2211966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36000"/>
            <a:lum/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379AA2-ED46-4BD9-A397-5BBD93295767}"/>
              </a:ext>
            </a:extLst>
          </p:cNvPr>
          <p:cNvSpPr/>
          <p:nvPr/>
        </p:nvSpPr>
        <p:spPr>
          <a:xfrm>
            <a:off x="0" y="2150807"/>
            <a:ext cx="7895073" cy="25563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" sz="3200">
                <a:solidFill>
                  <a:prstClr val="white"/>
                </a:solidFill>
                <a:latin typeface="Georgia"/>
              </a:rPr>
              <a:t>Финансовый анализ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6464878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2C37DF99-1351-400E-A901-482B7298B7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4495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37DF99-1351-400E-A901-482B7298B7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Google Shape;2127;g1389d6804d3_10_89">
            <a:extLst>
              <a:ext uri="{FF2B5EF4-FFF2-40B4-BE49-F238E27FC236}">
                <a16:creationId xmlns:a16="http://schemas.microsoft.com/office/drawing/2014/main" id="{1E1BF9E0-F2E1-471B-B392-102A7AFBDF0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65030" y="250139"/>
            <a:ext cx="7701464" cy="61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spcBef>
                <a:spcPts val="0"/>
              </a:spcBef>
              <a:buClr>
                <a:schemeClr val="dk1"/>
              </a:buClr>
              <a:buSzPts val="2000"/>
            </a:pPr>
            <a:r>
              <a:rPr lang="ru" sz="2400" dirty="0">
                <a:latin typeface="Georgia" panose="02040502050405020303" pitchFamily="18" charset="0"/>
                <a:cs typeface="Arial"/>
                <a:sym typeface="Arial"/>
              </a:rPr>
              <a:t>Повестка дня для обсуждения</a:t>
            </a:r>
            <a:endParaRPr lang="en-US" sz="2400" dirty="0">
              <a:latin typeface="Georgia" panose="02040502050405020303" pitchFamily="18" charset="0"/>
              <a:cs typeface="Arial"/>
            </a:endParaRPr>
          </a:p>
        </p:txBody>
      </p:sp>
      <p:cxnSp>
        <p:nvCxnSpPr>
          <p:cNvPr id="46" name="Google Shape;2128;g1389d6804d3_10_89">
            <a:extLst>
              <a:ext uri="{FF2B5EF4-FFF2-40B4-BE49-F238E27FC236}">
                <a16:creationId xmlns:a16="http://schemas.microsoft.com/office/drawing/2014/main" id="{2BAF7CA5-80E1-466A-A886-3F3D91322DC4}"/>
              </a:ext>
            </a:extLst>
          </p:cNvPr>
          <p:cNvCxnSpPr/>
          <p:nvPr/>
        </p:nvCxnSpPr>
        <p:spPr>
          <a:xfrm>
            <a:off x="442912" y="910809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39" name="Google Shape;2087;g1389d6804d3_10_89">
            <a:extLst>
              <a:ext uri="{FF2B5EF4-FFF2-40B4-BE49-F238E27FC236}">
                <a16:creationId xmlns:a16="http://schemas.microsoft.com/office/drawing/2014/main" id="{BCAFFFF8-ADC6-41DE-B85E-4608706DF842}"/>
              </a:ext>
            </a:extLst>
          </p:cNvPr>
          <p:cNvCxnSpPr>
            <a:cxnSpLocks/>
            <a:stCxn id="40" idx="4"/>
            <a:endCxn id="44" idx="0"/>
          </p:cNvCxnSpPr>
          <p:nvPr/>
        </p:nvCxnSpPr>
        <p:spPr>
          <a:xfrm>
            <a:off x="663963" y="2484868"/>
            <a:ext cx="33" cy="3741514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sp>
        <p:nvSpPr>
          <p:cNvPr id="41" name="Google Shape;2090;g1389d6804d3_10_89">
            <a:extLst>
              <a:ext uri="{FF2B5EF4-FFF2-40B4-BE49-F238E27FC236}">
                <a16:creationId xmlns:a16="http://schemas.microsoft.com/office/drawing/2014/main" id="{79B283F4-52FF-4E08-95C6-8BAC4B7BF9FD}"/>
              </a:ext>
            </a:extLst>
          </p:cNvPr>
          <p:cNvSpPr/>
          <p:nvPr/>
        </p:nvSpPr>
        <p:spPr>
          <a:xfrm>
            <a:off x="591546" y="3119245"/>
            <a:ext cx="144900" cy="144900"/>
          </a:xfrm>
          <a:prstGeom prst="ellipse">
            <a:avLst/>
          </a:prstGeom>
          <a:solidFill>
            <a:srgbClr val="D8D8D8"/>
          </a:solidFill>
          <a:ln w="1905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Google Shape;2101;g1389d6804d3_10_89">
            <a:extLst>
              <a:ext uri="{FF2B5EF4-FFF2-40B4-BE49-F238E27FC236}">
                <a16:creationId xmlns:a16="http://schemas.microsoft.com/office/drawing/2014/main" id="{076AE965-53F6-41F0-8881-7D978EE067A1}"/>
              </a:ext>
            </a:extLst>
          </p:cNvPr>
          <p:cNvSpPr/>
          <p:nvPr/>
        </p:nvSpPr>
        <p:spPr>
          <a:xfrm>
            <a:off x="591546" y="6226382"/>
            <a:ext cx="144900" cy="144900"/>
          </a:xfrm>
          <a:prstGeom prst="ellipse">
            <a:avLst/>
          </a:prstGeom>
          <a:solidFill>
            <a:srgbClr val="D8D8D8"/>
          </a:solidFill>
          <a:ln w="1905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AE527AB-E8F0-4612-8833-6D1F4ECDDD9F}"/>
              </a:ext>
            </a:extLst>
          </p:cNvPr>
          <p:cNvGrpSpPr/>
          <p:nvPr/>
        </p:nvGrpSpPr>
        <p:grpSpPr>
          <a:xfrm>
            <a:off x="385413" y="4020010"/>
            <a:ext cx="6392317" cy="557100"/>
            <a:chOff x="385413" y="3610601"/>
            <a:chExt cx="6392317" cy="557100"/>
          </a:xfrm>
          <a:solidFill>
            <a:schemeClr val="accent3"/>
          </a:solidFill>
        </p:grpSpPr>
        <p:sp>
          <p:nvSpPr>
            <p:cNvPr id="42" name="Google Shape;2100;g1389d6804d3_10_89">
              <a:extLst>
                <a:ext uri="{FF2B5EF4-FFF2-40B4-BE49-F238E27FC236}">
                  <a16:creationId xmlns:a16="http://schemas.microsoft.com/office/drawing/2014/main" id="{9FFB4A57-97AE-4448-952A-8E15AD4048C4}"/>
                </a:ext>
              </a:extLst>
            </p:cNvPr>
            <p:cNvSpPr/>
            <p:nvPr/>
          </p:nvSpPr>
          <p:spPr>
            <a:xfrm>
              <a:off x="385413" y="3610601"/>
              <a:ext cx="557100" cy="557100"/>
            </a:xfrm>
            <a:prstGeom prst="ellipse">
              <a:avLst/>
            </a:pr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600"/>
                <a:buFont typeface="Arial"/>
                <a:buNone/>
                <a:tabLst/>
                <a:defRPr/>
              </a:pPr>
              <a:endParaRPr kumimoji="0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48" name="Google Shape;2103;g1389d6804d3_10_89">
              <a:extLst>
                <a:ext uri="{FF2B5EF4-FFF2-40B4-BE49-F238E27FC236}">
                  <a16:creationId xmlns:a16="http://schemas.microsoft.com/office/drawing/2014/main" id="{B299EF4B-C53C-43E3-86C9-C1310AFA80E6}"/>
                </a:ext>
              </a:extLst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441050" y="3687512"/>
              <a:ext cx="408753" cy="408753"/>
            </a:xfrm>
            <a:prstGeom prst="rect">
              <a:avLst/>
            </a:prstGeom>
            <a:grpFill/>
            <a:ln>
              <a:noFill/>
            </a:ln>
          </p:spPr>
        </p:pic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66F15F67-1D24-4401-A646-369B42032338}"/>
                </a:ext>
              </a:extLst>
            </p:cNvPr>
            <p:cNvSpPr/>
            <p:nvPr/>
          </p:nvSpPr>
          <p:spPr>
            <a:xfrm>
              <a:off x="1043393" y="3708645"/>
              <a:ext cx="5734337" cy="459039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олучение отзывов и ценных рекомендаций о результатах исследования.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E43196D-CB84-461A-B464-B46C35226E03}"/>
              </a:ext>
            </a:extLst>
          </p:cNvPr>
          <p:cNvGrpSpPr/>
          <p:nvPr/>
        </p:nvGrpSpPr>
        <p:grpSpPr>
          <a:xfrm>
            <a:off x="385413" y="1170801"/>
            <a:ext cx="6485027" cy="2071035"/>
            <a:chOff x="385413" y="1170801"/>
            <a:chExt cx="6485027" cy="2071035"/>
          </a:xfrm>
          <a:solidFill>
            <a:schemeClr val="accent3"/>
          </a:solidFill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E995667F-2BDB-4504-B6F5-CC8606259C4E}"/>
                </a:ext>
              </a:extLst>
            </p:cNvPr>
            <p:cNvSpPr/>
            <p:nvPr/>
          </p:nvSpPr>
          <p:spPr>
            <a:xfrm>
              <a:off x="1049384" y="1170801"/>
              <a:ext cx="5821056" cy="2071035"/>
            </a:xfrm>
            <a:prstGeom prst="roundRect">
              <a:avLst/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редставить результаты предварительного технико-экономического обоснования </a:t>
              </a:r>
              <a:r>
                <a:rPr lang="ru" sz="1400" dirty="0">
                  <a:solidFill>
                    <a:srgbClr val="FFFFFF"/>
                  </a:solidFill>
                  <a:latin typeface="Arial"/>
                </a:rPr>
                <a:t>МЦПК</a:t>
              </a:r>
              <a:r>
                <a:rPr kumimoji="0" lang="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</a:t>
              </a:r>
            </a:p>
            <a:p>
              <a:pPr lvl="1">
                <a:lnSpc>
                  <a:spcPct val="114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kumimoji="0" lang="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раткая презентация контекста проекта, основные проведенные мероприятия и статус проекта.</a:t>
              </a:r>
            </a:p>
            <a:p>
              <a:pPr lvl="1">
                <a:lnSpc>
                  <a:spcPct val="114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kumimoji="0" lang="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Д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е</a:t>
              </a:r>
              <a:r>
                <a:rPr kumimoji="0" lang="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монстрация результатов предварительного технико-экономического обоснования развития МЦПК между Казахстаном и Узбекистаном.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D498FE5-CD86-4154-8AFC-2622F7C23770}"/>
                </a:ext>
              </a:extLst>
            </p:cNvPr>
            <p:cNvGrpSpPr/>
            <p:nvPr/>
          </p:nvGrpSpPr>
          <p:grpSpPr>
            <a:xfrm>
              <a:off x="385413" y="1927768"/>
              <a:ext cx="557100" cy="557100"/>
              <a:chOff x="385413" y="1147838"/>
              <a:chExt cx="557100" cy="557100"/>
            </a:xfrm>
            <a:grpFill/>
          </p:grpSpPr>
          <p:sp>
            <p:nvSpPr>
              <p:cNvPr id="40" name="Google Shape;2088;g1389d6804d3_10_89">
                <a:extLst>
                  <a:ext uri="{FF2B5EF4-FFF2-40B4-BE49-F238E27FC236}">
                    <a16:creationId xmlns:a16="http://schemas.microsoft.com/office/drawing/2014/main" id="{CCD412EA-E988-457B-89B9-D573104FF877}"/>
                  </a:ext>
                </a:extLst>
              </p:cNvPr>
              <p:cNvSpPr/>
              <p:nvPr/>
            </p:nvSpPr>
            <p:spPr>
              <a:xfrm>
                <a:off x="385413" y="1147838"/>
                <a:ext cx="557100" cy="5571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3600"/>
                  <a:buFont typeface="Arial"/>
                  <a:buNone/>
                  <a:tabLst/>
                  <a:defRPr/>
                </a:pPr>
                <a:endParaRPr kumimoji="0" sz="3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49" name="Google Shape;2104;g1389d6804d3_10_89">
                <a:extLst>
                  <a:ext uri="{FF2B5EF4-FFF2-40B4-BE49-F238E27FC236}">
                    <a16:creationId xmlns:a16="http://schemas.microsoft.com/office/drawing/2014/main" id="{5F1EAB3B-FB6C-48D0-8BF3-CF0E0FB0393B}"/>
                  </a:ext>
                </a:extLst>
              </p:cNvPr>
              <p:cNvPicPr preferRelativeResize="0"/>
              <p:nvPr/>
            </p:nvPicPr>
            <p:blipFill rotWithShape="1">
              <a:blip r:embed="rId8">
                <a:alphaModFix/>
              </a:blip>
              <a:srcRect/>
              <a:stretch/>
            </p:blipFill>
            <p:spPr>
              <a:xfrm>
                <a:off x="457962" y="1237149"/>
                <a:ext cx="391841" cy="391841"/>
              </a:xfrm>
              <a:prstGeom prst="rect">
                <a:avLst/>
              </a:prstGeom>
              <a:grpFill/>
              <a:ln>
                <a:noFill/>
              </a:ln>
            </p:spPr>
          </p:pic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D8828347-FD8B-4EA7-B344-0BC64BF1762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6729" r="25163"/>
          <a:stretch/>
        </p:blipFill>
        <p:spPr>
          <a:xfrm>
            <a:off x="7285239" y="-9525"/>
            <a:ext cx="4950749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629B1BD-E650-49E0-BBA7-2BC1CE1D7DF5}"/>
              </a:ext>
            </a:extLst>
          </p:cNvPr>
          <p:cNvSpPr/>
          <p:nvPr/>
        </p:nvSpPr>
        <p:spPr>
          <a:xfrm>
            <a:off x="7291230" y="-9525"/>
            <a:ext cx="4956010" cy="6848475"/>
          </a:xfrm>
          <a:prstGeom prst="rect">
            <a:avLst/>
          </a:prstGeom>
          <a:solidFill>
            <a:srgbClr val="F2F2F2">
              <a:alpha val="61961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1880E0B-ABCB-4467-B004-0FAAA3184529}"/>
              </a:ext>
            </a:extLst>
          </p:cNvPr>
          <p:cNvGrpSpPr/>
          <p:nvPr/>
        </p:nvGrpSpPr>
        <p:grpSpPr>
          <a:xfrm>
            <a:off x="385413" y="5355284"/>
            <a:ext cx="6479036" cy="557100"/>
            <a:chOff x="385413" y="5355284"/>
            <a:chExt cx="6479036" cy="55710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1519DA85-2A33-41E9-BF88-760E72B6F37F}"/>
                </a:ext>
              </a:extLst>
            </p:cNvPr>
            <p:cNvGrpSpPr/>
            <p:nvPr/>
          </p:nvGrpSpPr>
          <p:grpSpPr>
            <a:xfrm>
              <a:off x="385413" y="5355284"/>
              <a:ext cx="557100" cy="557100"/>
              <a:chOff x="385413" y="5355284"/>
              <a:chExt cx="557100" cy="557100"/>
            </a:xfrm>
          </p:grpSpPr>
          <p:sp>
            <p:nvSpPr>
              <p:cNvPr id="43" name="Google Shape;2089;g1389d6804d3_10_89">
                <a:extLst>
                  <a:ext uri="{FF2B5EF4-FFF2-40B4-BE49-F238E27FC236}">
                    <a16:creationId xmlns:a16="http://schemas.microsoft.com/office/drawing/2014/main" id="{BC16DD09-E269-413B-8042-6C17B5A6B979}"/>
                  </a:ext>
                </a:extLst>
              </p:cNvPr>
              <p:cNvSpPr/>
              <p:nvPr/>
            </p:nvSpPr>
            <p:spPr>
              <a:xfrm>
                <a:off x="385413" y="5355284"/>
                <a:ext cx="557100" cy="55710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3600"/>
                  <a:buFont typeface="Arial"/>
                  <a:buNone/>
                  <a:tabLst/>
                  <a:defRPr/>
                </a:pPr>
                <a:endParaRPr kumimoji="0" sz="3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47" name="Google Shape;2102;g1389d6804d3_10_89">
                <a:extLst>
                  <a:ext uri="{FF2B5EF4-FFF2-40B4-BE49-F238E27FC236}">
                    <a16:creationId xmlns:a16="http://schemas.microsoft.com/office/drawing/2014/main" id="{02CB528D-D2E3-4841-9C67-4D49F8BE32A1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468042" y="5457024"/>
                <a:ext cx="391841" cy="391841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0F9E2E49-2730-4CA6-98D6-5C0AD14C1A15}"/>
                </a:ext>
              </a:extLst>
            </p:cNvPr>
            <p:cNvSpPr/>
            <p:nvPr/>
          </p:nvSpPr>
          <p:spPr>
            <a:xfrm>
              <a:off x="1043393" y="5439874"/>
              <a:ext cx="5821056" cy="47250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ru" sz="1400" dirty="0">
                  <a:solidFill>
                    <a:srgbClr val="FFFFFF"/>
                  </a:solidFill>
                  <a:latin typeface="Arial"/>
                  <a:sym typeface="Arial"/>
                </a:rPr>
                <a:t>Дальнейшие планы и следующие шаги, которые должно предпринять правительство</a:t>
              </a:r>
            </a:p>
          </p:txBody>
        </p: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DA4DAE-9E37-451F-A544-0C0CDA1D474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ru-RU" dirty="0"/>
              <a:t>сентябрь 2023</a:t>
            </a:r>
            <a:endParaRPr lang="ru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2881716-F4FB-4D55-98B6-E98E011CA1D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ru" dirty="0"/>
              <a:t>Предварительное технико-экономическое обоснование создания МЦПК при ЭКШТХ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0E36683-1134-45E8-8178-29E9D94429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2</a:t>
            </a:fld>
            <a:endParaRPr lang="en-GB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5524102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095B41-810A-40B0-8ED6-F81B04F66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7553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532" imgH="532" progId="TCLayout.ActiveDocument.1">
                  <p:embed/>
                </p:oleObj>
              </mc:Choice>
              <mc:Fallback>
                <p:oleObj name="think-cell Slide" r:id="rId27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095B41-810A-40B0-8ED6-F81B04F66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77403BD-E976-4FB1-920D-07B09489AAEF}"/>
              </a:ext>
            </a:extLst>
          </p:cNvPr>
          <p:cNvSpPr/>
          <p:nvPr/>
        </p:nvSpPr>
        <p:spPr>
          <a:xfrm>
            <a:off x="442914" y="5995927"/>
            <a:ext cx="11632463" cy="481014"/>
          </a:xfrm>
          <a:prstGeom prst="roundRect">
            <a:avLst/>
          </a:prstGeom>
          <a:solidFill>
            <a:srgbClr val="FFFFFF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>
              <a:spcBef>
                <a:spcPts val="0"/>
              </a:spcBef>
              <a:spcAft>
                <a:spcPts val="1100"/>
              </a:spcAft>
              <a:buSzPts val="1100"/>
            </a:pPr>
            <a:r>
              <a:rPr lang="ru-RU" sz="1600" b="1" i="1" dirty="0">
                <a:solidFill>
                  <a:srgbClr val="A32020"/>
                </a:solidFill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МЦПК</a:t>
            </a:r>
            <a:r>
              <a:rPr lang="ru" sz="1600" b="1" i="1" dirty="0">
                <a:solidFill>
                  <a:srgbClr val="A32020"/>
                </a:solidFill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 потребует недорогого финансирования и/или значительного VGF, чтобы быть финансово жизнеспособным.</a:t>
            </a:r>
            <a:endParaRPr lang="en-US" sz="1600" b="1" i="1" dirty="0">
              <a:solidFill>
                <a:srgbClr val="A32020"/>
              </a:solidFill>
              <a:effectLst/>
              <a:latin typeface="Arial" panose="020B0604020202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5453E95-E0A0-438C-9D29-5D70409DBF79}"/>
              </a:ext>
            </a:extLst>
          </p:cNvPr>
          <p:cNvSpPr/>
          <p:nvPr/>
        </p:nvSpPr>
        <p:spPr>
          <a:xfrm>
            <a:off x="6615246" y="2095738"/>
            <a:ext cx="5458267" cy="819544"/>
          </a:xfrm>
          <a:prstGeom prst="roundRect">
            <a:avLst/>
          </a:prstGeom>
          <a:solidFill>
            <a:srgbClr val="A32020"/>
          </a:solidFill>
          <a:ln w="6350">
            <a:solidFill>
              <a:srgbClr val="A3202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 b="1" dirty="0">
                <a:solidFill>
                  <a:schemeClr val="bg1"/>
                </a:solidFill>
              </a:rPr>
              <a:t>Сценарий 2</a:t>
            </a:r>
          </a:p>
          <a:p>
            <a:pPr algn="ctr"/>
            <a:r>
              <a:rPr lang="ru" sz="1400" i="1" dirty="0">
                <a:solidFill>
                  <a:schemeClr val="bg1"/>
                </a:solidFill>
              </a:rPr>
              <a:t>Гибридное финансирование заемного капитала и эквити с субсидированного финансирования (VGF) со стороны правительства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022FA587-F817-4F55-A83F-8F97F494A7FD}"/>
              </a:ext>
            </a:extLst>
          </p:cNvPr>
          <p:cNvSpPr/>
          <p:nvPr/>
        </p:nvSpPr>
        <p:spPr>
          <a:xfrm>
            <a:off x="430213" y="2069277"/>
            <a:ext cx="5458968" cy="869702"/>
          </a:xfrm>
          <a:prstGeom prst="roundRect">
            <a:avLst/>
          </a:prstGeom>
          <a:solidFill>
            <a:srgbClr val="A32020"/>
          </a:solidFill>
          <a:ln w="6350">
            <a:solidFill>
              <a:srgbClr val="A3202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 b="1" dirty="0">
                <a:solidFill>
                  <a:schemeClr val="bg1"/>
                </a:solidFill>
              </a:rPr>
              <a:t>Сценарий 1</a:t>
            </a:r>
          </a:p>
          <a:p>
            <a:pPr algn="ctr"/>
            <a:r>
              <a:rPr lang="ru" sz="1400" i="1" dirty="0">
                <a:solidFill>
                  <a:schemeClr val="bg1"/>
                </a:solidFill>
              </a:rPr>
              <a:t>Гибридное финансирование заемного </a:t>
            </a:r>
            <a:r>
              <a:rPr lang="ru-RU" sz="1400" i="1" dirty="0">
                <a:solidFill>
                  <a:schemeClr val="bg1"/>
                </a:solidFill>
              </a:rPr>
              <a:t>и собственного </a:t>
            </a:r>
            <a:r>
              <a:rPr lang="ru" sz="1400" i="1" dirty="0">
                <a:solidFill>
                  <a:schemeClr val="bg1"/>
                </a:solidFill>
              </a:rPr>
              <a:t>капитала (эквити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CFA7BAB-01CD-4651-8DE1-307DB4C03C09}"/>
              </a:ext>
            </a:extLst>
          </p:cNvPr>
          <p:cNvSpPr txBox="1"/>
          <p:nvPr/>
        </p:nvSpPr>
        <p:spPr>
          <a:xfrm>
            <a:off x="79900" y="1357401"/>
            <a:ext cx="2486320" cy="6463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" sz="1400" i="1" noProof="0" dirty="0">
                <a:solidFill>
                  <a:schemeClr val="tx1"/>
                </a:solidFill>
                <a:cs typeface="Arial" pitchFamily="34" charset="0"/>
              </a:rPr>
              <a:t>Общий объем необходимых </a:t>
            </a:r>
            <a:r>
              <a:rPr lang="en-US" sz="1400" i="1" noProof="0" dirty="0">
                <a:solidFill>
                  <a:schemeClr val="tx1"/>
                </a:solidFill>
                <a:cs typeface="Arial" pitchFamily="34" charset="0"/>
              </a:rPr>
              <a:t>CAPEX</a:t>
            </a:r>
            <a:endParaRPr lang="ru" sz="1400" i="1" noProof="0" dirty="0">
              <a:solidFill>
                <a:schemeClr val="tx1"/>
              </a:solidFill>
              <a:cs typeface="Arial" pitchFamily="34" charset="0"/>
            </a:endParaRPr>
          </a:p>
          <a:p>
            <a:pPr algn="ctr"/>
            <a:r>
              <a:rPr lang="ru" sz="1400" i="1" noProof="0" dirty="0">
                <a:solidFill>
                  <a:schemeClr val="tx1"/>
                </a:solidFill>
                <a:cs typeface="Arial" pitchFamily="34" charset="0"/>
              </a:rPr>
              <a:t>32,5 м</a:t>
            </a:r>
            <a:r>
              <a:rPr lang="ru-RU" sz="1400" i="1" dirty="0" err="1">
                <a:cs typeface="Arial" pitchFamily="34" charset="0"/>
              </a:rPr>
              <a:t>лн</a:t>
            </a:r>
            <a:r>
              <a:rPr lang="ru" sz="1400" i="1" noProof="0" dirty="0">
                <a:solidFill>
                  <a:schemeClr val="tx1"/>
                </a:solidFill>
                <a:cs typeface="Arial" pitchFamily="34" charset="0"/>
              </a:rPr>
              <a:t> долл США</a:t>
            </a:r>
          </a:p>
        </p:txBody>
      </p:sp>
      <p:graphicFrame>
        <p:nvGraphicFramePr>
          <p:cNvPr id="131" name="Chart 130">
            <a:extLst>
              <a:ext uri="{FF2B5EF4-FFF2-40B4-BE49-F238E27FC236}">
                <a16:creationId xmlns:a16="http://schemas.microsoft.com/office/drawing/2014/main" id="{2826A01C-83D0-428B-A07F-2FBB20C24E4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37892228"/>
              </p:ext>
            </p:extLst>
          </p:nvPr>
        </p:nvGraphicFramePr>
        <p:xfrm>
          <a:off x="2620963" y="1273175"/>
          <a:ext cx="9034462" cy="596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C3E7CBB0-9173-4E6A-A159-20C2397418C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1598275" y="1481138"/>
            <a:ext cx="219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6C7D6D40-2747-4A26-8F16-7D2B44E5B0BA}" type="datetime'''''''''''''''''''3''''''''''''''''''''''''3'''''''''">
              <a:rPr lang="en-US" altLang="en-US" sz="1200" b="1" smtClean="0"/>
              <a:pPr lvl="0">
                <a:spcBef>
                  <a:spcPct val="0"/>
                </a:spcBef>
                <a:spcAft>
                  <a:spcPct val="0"/>
                </a:spcAft>
              </a:pPr>
              <a:t>33</a:t>
            </a:fld>
            <a:endParaRPr lang="en-US" sz="1200" b="1" noProof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6D994088-401A-406C-BAE8-85D296DADD3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321050" y="1481138"/>
            <a:ext cx="582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D209368-DB74-40D5-BE49-9DB64549D088}" type="datetime'''''''''''''''''''''''''''7'">
              <a:rPr lang="en-US" altLang="en-US" sz="1200" smtClean="0">
                <a:solidFill>
                  <a:schemeClr val="bg1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7</a:t>
            </a:fld>
            <a:r>
              <a:rPr lang="ru" altLang="en-US" sz="1200">
                <a:solidFill>
                  <a:schemeClr val="bg1"/>
                </a:solidFill>
                <a:effectLst/>
              </a:rPr>
              <a:t>( </a:t>
            </a:r>
            <a:fld id="{DFBD124C-CE0A-4013-B289-2744FA616966}" type="datetime'''''''''''2''''''''''''''''''''''0%'">
              <a:rPr lang="en-US" altLang="en-US" sz="1200" smtClean="0">
                <a:solidFill>
                  <a:schemeClr val="bg1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0%</a:t>
            </a:fld>
            <a:r>
              <a:rPr lang="ru" altLang="en-US" sz="1200">
                <a:solidFill>
                  <a:schemeClr val="bg1"/>
                </a:solidFill>
                <a:effectLst/>
              </a:rPr>
              <a:t>)</a:t>
            </a:r>
            <a:endParaRPr lang="en-US" sz="1200" noProof="0">
              <a:solidFill>
                <a:schemeClr val="bg1"/>
              </a:solidFill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65B04397-18B9-4C20-B00E-F79FD12D065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805488" y="1481138"/>
            <a:ext cx="6667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AAF4B57-929A-4077-9C71-3690BCB92DA8}" type="datetime'''''''''''''''''''1''''''''''''''''''''2'''''''''''''''">
              <a:rPr lang="en-US" altLang="en-US" sz="1200" smtClean="0">
                <a:solidFill>
                  <a:schemeClr val="bg1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r>
              <a:rPr lang="ru" altLang="en-US" sz="1200">
                <a:solidFill>
                  <a:schemeClr val="bg1"/>
                </a:solidFill>
                <a:effectLst/>
              </a:rPr>
              <a:t>( </a:t>
            </a:r>
            <a:fld id="{07DBAC46-6493-4F2F-BEA4-8F4BCE9D81E1}" type="datetime'3''''''''''''''''''7''''''''''''''%'''''''''''''''''''">
              <a:rPr lang="en-US" altLang="en-US" sz="1200" smtClean="0">
                <a:solidFill>
                  <a:schemeClr val="bg1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7%</a:t>
            </a:fld>
            <a:r>
              <a:rPr lang="ru" altLang="en-US" sz="1200">
                <a:solidFill>
                  <a:schemeClr val="bg1"/>
                </a:solidFill>
                <a:effectLst/>
              </a:rPr>
              <a:t>)</a:t>
            </a:r>
            <a:endParaRPr lang="en-US" sz="1200" noProof="0">
              <a:solidFill>
                <a:schemeClr val="bg1"/>
              </a:solidFill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097F7993-CA11-4B5B-BC75-7915DB5D304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604250" y="1481138"/>
            <a:ext cx="582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A5D5C1E-2402-4BB5-B474-9B7DC1403055}" type="datetime'''''''''''''''''''''''''''''''''''''''''''''''''8'''''''''">
              <a:rPr lang="en-US" altLang="en-US" sz="1200" smtClean="0">
                <a:solidFill>
                  <a:schemeClr val="bg1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8</a:t>
            </a:fld>
            <a:r>
              <a:rPr lang="ru" altLang="en-US" sz="1200">
                <a:solidFill>
                  <a:schemeClr val="bg1"/>
                </a:solidFill>
                <a:effectLst/>
              </a:rPr>
              <a:t>( </a:t>
            </a:r>
            <a:fld id="{FB7B4A46-97EB-4A84-B398-AB431C8C6220}" type="datetime'''''''''''''''''26''''''''''''''''''''''''''%'''">
              <a:rPr lang="en-US" altLang="en-US" sz="1200" smtClean="0">
                <a:solidFill>
                  <a:schemeClr val="bg1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6%</a:t>
            </a:fld>
            <a:r>
              <a:rPr lang="ru" altLang="en-US" sz="1200">
                <a:solidFill>
                  <a:schemeClr val="bg1"/>
                </a:solidFill>
                <a:effectLst/>
              </a:rPr>
              <a:t>)</a:t>
            </a:r>
            <a:endParaRPr lang="en-US" sz="1200" noProof="0">
              <a:solidFill>
                <a:schemeClr val="bg1"/>
              </a:solidFill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8684B8E2-5980-49AB-B014-33AEC690848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0150475" y="1481138"/>
            <a:ext cx="4984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003019B-55F8-4B02-AD0D-C9942CC3659B}" type="datetime'''''''''''''''''''''''''''''''''''''''''''''''''3'''''''">
              <a:rPr lang="en-US" altLang="en-US" sz="1200" smtClean="0">
                <a:solidFill>
                  <a:schemeClr val="bg1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r>
              <a:rPr lang="ru" altLang="en-US" sz="1200">
                <a:solidFill>
                  <a:schemeClr val="bg1"/>
                </a:solidFill>
                <a:effectLst/>
              </a:rPr>
              <a:t>( </a:t>
            </a:r>
            <a:fld id="{B3534724-0728-4D5B-A0E9-AE33CD2B77C0}" type="datetime'''''''8''''''''''''''''''''%'''">
              <a:rPr lang="en-US" altLang="en-US" sz="1200" smtClean="0">
                <a:solidFill>
                  <a:schemeClr val="bg1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8%</a:t>
            </a:fld>
            <a:r>
              <a:rPr lang="ru" altLang="en-US" sz="1200">
                <a:solidFill>
                  <a:schemeClr val="bg1"/>
                </a:solidFill>
                <a:effectLst/>
              </a:rPr>
              <a:t>)</a:t>
            </a:r>
            <a:endParaRPr lang="en-US" sz="1200" noProof="0">
              <a:solidFill>
                <a:schemeClr val="bg1"/>
              </a:solidFill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F008006F-3159-4CEB-8CE3-45E71F4C156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0920413" y="1481138"/>
            <a:ext cx="4984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AFDDEB5-715A-4169-8900-5ACE4EAC0BDD}" type="datetime'''''''''''''''''''''''''''''3'''''''">
              <a:rPr lang="en-US" altLang="en-US" sz="1200" smtClean="0">
                <a:solidFill>
                  <a:schemeClr val="bg1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r>
              <a:rPr lang="ru" altLang="en-US" sz="1200">
                <a:solidFill>
                  <a:schemeClr val="bg1"/>
                </a:solidFill>
                <a:effectLst/>
              </a:rPr>
              <a:t>( </a:t>
            </a:r>
            <a:fld id="{2A489B1E-3D1D-4507-92D2-0FE27E30F8C5}" type="datetime'''''''''''''''9''''''%'''">
              <a:rPr lang="en-US" altLang="en-US" sz="1200" smtClean="0">
                <a:solidFill>
                  <a:schemeClr val="bg1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9%</a:t>
            </a:fld>
            <a:r>
              <a:rPr lang="ru" altLang="en-US" sz="1200">
                <a:solidFill>
                  <a:schemeClr val="bg1"/>
                </a:solidFill>
                <a:effectLst/>
              </a:rPr>
              <a:t>)</a:t>
            </a:r>
            <a:endParaRPr lang="en-US" sz="1200" noProof="0">
              <a:solidFill>
                <a:schemeClr val="bg1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4721210-59DE-497A-BCA5-87AC8492904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4270979" y="1844675"/>
            <a:ext cx="179388" cy="133350"/>
          </a:xfrm>
          <a:prstGeom prst="rect">
            <a:avLst/>
          </a:prstGeom>
          <a:solidFill>
            <a:srgbClr val="A3202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8868D16-B380-4A58-991B-77D509CBFEDB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269038" y="1844675"/>
            <a:ext cx="179388" cy="133350"/>
          </a:xfrm>
          <a:prstGeom prst="rect">
            <a:avLst/>
          </a:prstGeom>
          <a:solidFill>
            <a:srgbClr val="DB536A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53D054FD-24E4-4BCB-AF9E-61E01B5AB85D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996414" y="1855377"/>
            <a:ext cx="179388" cy="133350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E0B5A61E-78C9-473E-8F50-5FD2D3E29F5D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854950" y="1844675"/>
            <a:ext cx="179388" cy="133350"/>
          </a:xfrm>
          <a:prstGeom prst="rect">
            <a:avLst/>
          </a:prstGeom>
          <a:solidFill>
            <a:srgbClr val="464646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37DCE9AF-B486-4D5E-AB28-57A2CBE5BF9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9561513" y="1844675"/>
            <a:ext cx="179388" cy="133350"/>
          </a:xfrm>
          <a:prstGeom prst="rect">
            <a:avLst/>
          </a:prstGeom>
          <a:solidFill>
            <a:srgbClr val="7D7D7D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AFF8EF5A-3CDF-46D5-9002-4BB3DFA8C3E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501166" y="1832755"/>
            <a:ext cx="1524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/>
              <a:t>Развитие инфраструктуры</a:t>
            </a:r>
            <a:endParaRPr lang="en-US" sz="1000" noProof="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5AFCB72E-0304-4EA9-8334-2ACCECAA08E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499225" y="1839913"/>
            <a:ext cx="5127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/>
              <a:t>Здания</a:t>
            </a:r>
            <a:endParaRPr lang="en-US" sz="1000" noProof="0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4DAAED0-1304-4F15-A9E8-49BB305D506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190507" y="1839913"/>
            <a:ext cx="562844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/>
              <a:t>Ком</a:t>
            </a:r>
            <a:r>
              <a:rPr lang="en-US" altLang="en-US" sz="1000" dirty="0"/>
              <a:t>/</a:t>
            </a:r>
            <a:r>
              <a:rPr lang="ru-RU" altLang="en-US" sz="1000" dirty="0"/>
              <a:t>услуги</a:t>
            </a:r>
            <a:endParaRPr lang="en-US" sz="1000" noProof="0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C51660DF-5575-4F91-A40C-747AC702069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085138" y="1839913"/>
            <a:ext cx="137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/>
              <a:t>Пред-эксплуатационные </a:t>
            </a:r>
          </a:p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/>
              <a:t>расходы</a:t>
            </a:r>
            <a:endParaRPr lang="en-US" sz="1000" noProof="0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527C29A5-427D-4CF6-845B-B66A351A524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791700" y="1839913"/>
            <a:ext cx="701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/>
              <a:t>Непредвиденные расходы</a:t>
            </a:r>
            <a:endParaRPr lang="en-US" sz="1000" noProof="0" dirty="0"/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AE3DBCB6-9FA4-4B57-B7B5-EB2587A199DA}"/>
              </a:ext>
            </a:extLst>
          </p:cNvPr>
          <p:cNvSpPr txBox="1"/>
          <p:nvPr/>
        </p:nvSpPr>
        <p:spPr>
          <a:xfrm>
            <a:off x="8751527" y="1242236"/>
            <a:ext cx="3036327" cy="1524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" sz="1000" noProof="0" dirty="0">
                <a:solidFill>
                  <a:schemeClr val="tx1"/>
                </a:solidFill>
                <a:cs typeface="Arial" pitchFamily="34" charset="0"/>
              </a:rPr>
              <a:t>Цифры указаны в миллионах долларов США.</a:t>
            </a: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1A5DD14F-A614-4CCF-8A83-0AB12CD84F63}"/>
              </a:ext>
            </a:extLst>
          </p:cNvPr>
          <p:cNvGrpSpPr/>
          <p:nvPr/>
        </p:nvGrpSpPr>
        <p:grpSpPr>
          <a:xfrm>
            <a:off x="10393669" y="3120777"/>
            <a:ext cx="1681708" cy="651915"/>
            <a:chOff x="9701820" y="2884807"/>
            <a:chExt cx="1681708" cy="651915"/>
          </a:xfrm>
        </p:grpSpPr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30D471BF-8E32-4523-A39D-4348BD082C07}"/>
                </a:ext>
              </a:extLst>
            </p:cNvPr>
            <p:cNvSpPr txBox="1"/>
            <p:nvPr/>
          </p:nvSpPr>
          <p:spPr>
            <a:xfrm>
              <a:off x="10530186" y="2884807"/>
              <a:ext cx="738034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 dirty="0">
                  <a:cs typeface="Arial" pitchFamily="34" charset="0"/>
                </a:rPr>
                <a:t>VGF</a:t>
              </a:r>
              <a:endParaRPr lang="ru" sz="1400" b="1" noProof="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F01092C1-33DC-477A-8443-F747C9BC52A0}"/>
                </a:ext>
              </a:extLst>
            </p:cNvPr>
            <p:cNvSpPr txBox="1"/>
            <p:nvPr/>
          </p:nvSpPr>
          <p:spPr>
            <a:xfrm>
              <a:off x="9701820" y="3321278"/>
              <a:ext cx="1681708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" sz="1400" noProof="0" dirty="0">
                  <a:solidFill>
                    <a:schemeClr val="tx1"/>
                  </a:solidFill>
                  <a:cs typeface="Arial" pitchFamily="34" charset="0"/>
                </a:rPr>
                <a:t>24,1 млн долл США</a:t>
              </a:r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DD298466-D316-4E41-AFA4-9A5E7EBE2A6F}"/>
              </a:ext>
            </a:extLst>
          </p:cNvPr>
          <p:cNvGrpSpPr/>
          <p:nvPr/>
        </p:nvGrpSpPr>
        <p:grpSpPr>
          <a:xfrm>
            <a:off x="6617110" y="2999490"/>
            <a:ext cx="1469156" cy="773202"/>
            <a:chOff x="9914372" y="2763520"/>
            <a:chExt cx="1469156" cy="773202"/>
          </a:xfrm>
        </p:grpSpPr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CD4819EF-361A-4C0B-9355-492B46006484}"/>
                </a:ext>
              </a:extLst>
            </p:cNvPr>
            <p:cNvGrpSpPr/>
            <p:nvPr/>
          </p:nvGrpSpPr>
          <p:grpSpPr>
            <a:xfrm>
              <a:off x="10029681" y="2763520"/>
              <a:ext cx="1238539" cy="458019"/>
              <a:chOff x="10050891" y="2763520"/>
              <a:chExt cx="1238539" cy="458019"/>
            </a:xfrm>
          </p:grpSpPr>
          <p:sp>
            <p:nvSpPr>
              <p:cNvPr id="146" name="Freeform 73">
                <a:extLst>
                  <a:ext uri="{FF2B5EF4-FFF2-40B4-BE49-F238E27FC236}">
                    <a16:creationId xmlns:a16="http://schemas.microsoft.com/office/drawing/2014/main" id="{C60921A7-6736-45E0-BE17-6D5D6A986606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0050891" y="2763520"/>
                <a:ext cx="458087" cy="458019"/>
              </a:xfrm>
              <a:custGeom>
                <a:avLst/>
                <a:gdLst>
                  <a:gd name="T0" fmla="*/ 6709 w 6709"/>
                  <a:gd name="T1" fmla="*/ 0 h 6708"/>
                  <a:gd name="T2" fmla="*/ 2508 w 6709"/>
                  <a:gd name="T3" fmla="*/ 5788 h 6708"/>
                  <a:gd name="T4" fmla="*/ 2430 w 6709"/>
                  <a:gd name="T5" fmla="*/ 5806 h 6708"/>
                  <a:gd name="T6" fmla="*/ 2342 w 6709"/>
                  <a:gd name="T7" fmla="*/ 5764 h 6708"/>
                  <a:gd name="T8" fmla="*/ 1534 w 6709"/>
                  <a:gd name="T9" fmla="*/ 4892 h 6708"/>
                  <a:gd name="T10" fmla="*/ 1536 w 6709"/>
                  <a:gd name="T11" fmla="*/ 4802 h 6708"/>
                  <a:gd name="T12" fmla="*/ 1658 w 6709"/>
                  <a:gd name="T13" fmla="*/ 4404 h 6708"/>
                  <a:gd name="T14" fmla="*/ 1504 w 6709"/>
                  <a:gd name="T15" fmla="*/ 4280 h 6708"/>
                  <a:gd name="T16" fmla="*/ 1388 w 6709"/>
                  <a:gd name="T17" fmla="*/ 4084 h 6708"/>
                  <a:gd name="T18" fmla="*/ 1868 w 6709"/>
                  <a:gd name="T19" fmla="*/ 2096 h 6708"/>
                  <a:gd name="T20" fmla="*/ 2684 w 6709"/>
                  <a:gd name="T21" fmla="*/ 1736 h 6708"/>
                  <a:gd name="T22" fmla="*/ 2958 w 6709"/>
                  <a:gd name="T23" fmla="*/ 1754 h 6708"/>
                  <a:gd name="T24" fmla="*/ 1732 w 6709"/>
                  <a:gd name="T25" fmla="*/ 3102 h 6708"/>
                  <a:gd name="T26" fmla="*/ 1572 w 6709"/>
                  <a:gd name="T27" fmla="*/ 3390 h 6708"/>
                  <a:gd name="T28" fmla="*/ 1608 w 6709"/>
                  <a:gd name="T29" fmla="*/ 3674 h 6708"/>
                  <a:gd name="T30" fmla="*/ 1740 w 6709"/>
                  <a:gd name="T31" fmla="*/ 3848 h 6708"/>
                  <a:gd name="T32" fmla="*/ 1978 w 6709"/>
                  <a:gd name="T33" fmla="*/ 3956 h 6708"/>
                  <a:gd name="T34" fmla="*/ 2278 w 6709"/>
                  <a:gd name="T35" fmla="*/ 3910 h 6708"/>
                  <a:gd name="T36" fmla="*/ 2882 w 6709"/>
                  <a:gd name="T37" fmla="*/ 3398 h 6708"/>
                  <a:gd name="T38" fmla="*/ 3172 w 6709"/>
                  <a:gd name="T39" fmla="*/ 3238 h 6708"/>
                  <a:gd name="T40" fmla="*/ 3377 w 6709"/>
                  <a:gd name="T41" fmla="*/ 3228 h 6708"/>
                  <a:gd name="T42" fmla="*/ 5341 w 6709"/>
                  <a:gd name="T43" fmla="*/ 4200 h 6708"/>
                  <a:gd name="T44" fmla="*/ 5373 w 6709"/>
                  <a:gd name="T45" fmla="*/ 4246 h 6708"/>
                  <a:gd name="T46" fmla="*/ 3985 w 6709"/>
                  <a:gd name="T47" fmla="*/ 5558 h 6708"/>
                  <a:gd name="T48" fmla="*/ 3889 w 6709"/>
                  <a:gd name="T49" fmla="*/ 5616 h 6708"/>
                  <a:gd name="T50" fmla="*/ 5215 w 6709"/>
                  <a:gd name="T51" fmla="*/ 3814 h 6708"/>
                  <a:gd name="T52" fmla="*/ 3661 w 6709"/>
                  <a:gd name="T53" fmla="*/ 3014 h 6708"/>
                  <a:gd name="T54" fmla="*/ 3399 w 6709"/>
                  <a:gd name="T55" fmla="*/ 2942 h 6708"/>
                  <a:gd name="T56" fmla="*/ 3142 w 6709"/>
                  <a:gd name="T57" fmla="*/ 2950 h 6708"/>
                  <a:gd name="T58" fmla="*/ 2894 w 6709"/>
                  <a:gd name="T59" fmla="*/ 3042 h 6708"/>
                  <a:gd name="T60" fmla="*/ 2192 w 6709"/>
                  <a:gd name="T61" fmla="*/ 3626 h 6708"/>
                  <a:gd name="T62" fmla="*/ 2082 w 6709"/>
                  <a:gd name="T63" fmla="*/ 3676 h 6708"/>
                  <a:gd name="T64" fmla="*/ 1948 w 6709"/>
                  <a:gd name="T65" fmla="*/ 3646 h 6708"/>
                  <a:gd name="T66" fmla="*/ 1868 w 6709"/>
                  <a:gd name="T67" fmla="*/ 3556 h 6708"/>
                  <a:gd name="T68" fmla="*/ 1854 w 6709"/>
                  <a:gd name="T69" fmla="*/ 3438 h 6708"/>
                  <a:gd name="T70" fmla="*/ 1920 w 6709"/>
                  <a:gd name="T71" fmla="*/ 3316 h 6708"/>
                  <a:gd name="T72" fmla="*/ 3493 w 6709"/>
                  <a:gd name="T73" fmla="*/ 1978 h 6708"/>
                  <a:gd name="T74" fmla="*/ 3707 w 6709"/>
                  <a:gd name="T75" fmla="*/ 1956 h 6708"/>
                  <a:gd name="T76" fmla="*/ 6423 w 6709"/>
                  <a:gd name="T77" fmla="*/ 2402 h 6708"/>
                  <a:gd name="T78" fmla="*/ 3891 w 6709"/>
                  <a:gd name="T79" fmla="*/ 1710 h 6708"/>
                  <a:gd name="T80" fmla="*/ 3675 w 6709"/>
                  <a:gd name="T81" fmla="*/ 1668 h 6708"/>
                  <a:gd name="T82" fmla="*/ 3457 w 6709"/>
                  <a:gd name="T83" fmla="*/ 1692 h 6708"/>
                  <a:gd name="T84" fmla="*/ 2982 w 6709"/>
                  <a:gd name="T85" fmla="*/ 1466 h 6708"/>
                  <a:gd name="T86" fmla="*/ 2588 w 6709"/>
                  <a:gd name="T87" fmla="*/ 1462 h 6708"/>
                  <a:gd name="T88" fmla="*/ 286 w 6709"/>
                  <a:gd name="T89" fmla="*/ 286 h 6708"/>
                  <a:gd name="T90" fmla="*/ 1088 w 6709"/>
                  <a:gd name="T91" fmla="*/ 4076 h 6708"/>
                  <a:gd name="T92" fmla="*/ 1182 w 6709"/>
                  <a:gd name="T93" fmla="*/ 4318 h 6708"/>
                  <a:gd name="T94" fmla="*/ 1342 w 6709"/>
                  <a:gd name="T95" fmla="*/ 4522 h 6708"/>
                  <a:gd name="T96" fmla="*/ 1264 w 6709"/>
                  <a:gd name="T97" fmla="*/ 4716 h 6708"/>
                  <a:gd name="T98" fmla="*/ 1266 w 6709"/>
                  <a:gd name="T99" fmla="*/ 4988 h 6708"/>
                  <a:gd name="T100" fmla="*/ 2146 w 6709"/>
                  <a:gd name="T101" fmla="*/ 5976 h 6708"/>
                  <a:gd name="T102" fmla="*/ 2410 w 6709"/>
                  <a:gd name="T103" fmla="*/ 6090 h 6708"/>
                  <a:gd name="T104" fmla="*/ 2588 w 6709"/>
                  <a:gd name="T105" fmla="*/ 6066 h 6708"/>
                  <a:gd name="T106" fmla="*/ 3677 w 6709"/>
                  <a:gd name="T107" fmla="*/ 5848 h 6708"/>
                  <a:gd name="T108" fmla="*/ 3855 w 6709"/>
                  <a:gd name="T109" fmla="*/ 5902 h 6708"/>
                  <a:gd name="T110" fmla="*/ 4003 w 6709"/>
                  <a:gd name="T111" fmla="*/ 5886 h 6708"/>
                  <a:gd name="T112" fmla="*/ 4153 w 6709"/>
                  <a:gd name="T113" fmla="*/ 5800 h 6708"/>
                  <a:gd name="T114" fmla="*/ 5583 w 6709"/>
                  <a:gd name="T115" fmla="*/ 4476 h 6708"/>
                  <a:gd name="T116" fmla="*/ 5657 w 6709"/>
                  <a:gd name="T117" fmla="*/ 4210 h 6708"/>
                  <a:gd name="T118" fmla="*/ 5559 w 6709"/>
                  <a:gd name="T119" fmla="*/ 4010 h 67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709" h="6708">
                    <a:moveTo>
                      <a:pt x="6709" y="0"/>
                    </a:moveTo>
                    <a:lnTo>
                      <a:pt x="0" y="0"/>
                    </a:lnTo>
                    <a:lnTo>
                      <a:pt x="0" y="6708"/>
                    </a:lnTo>
                    <a:lnTo>
                      <a:pt x="6709" y="6708"/>
                    </a:lnTo>
                    <a:lnTo>
                      <a:pt x="6709" y="6708"/>
                    </a:lnTo>
                    <a:lnTo>
                      <a:pt x="6709" y="0"/>
                    </a:lnTo>
                    <a:lnTo>
                      <a:pt x="6709" y="0"/>
                    </a:lnTo>
                    <a:close/>
                    <a:moveTo>
                      <a:pt x="1574" y="4746"/>
                    </a:moveTo>
                    <a:lnTo>
                      <a:pt x="1618" y="4708"/>
                    </a:lnTo>
                    <a:lnTo>
                      <a:pt x="2926" y="5432"/>
                    </a:lnTo>
                    <a:lnTo>
                      <a:pt x="2530" y="5772"/>
                    </a:lnTo>
                    <a:lnTo>
                      <a:pt x="2530" y="5772"/>
                    </a:lnTo>
                    <a:lnTo>
                      <a:pt x="2520" y="5780"/>
                    </a:lnTo>
                    <a:lnTo>
                      <a:pt x="2508" y="5788"/>
                    </a:lnTo>
                    <a:lnTo>
                      <a:pt x="2496" y="5794"/>
                    </a:lnTo>
                    <a:lnTo>
                      <a:pt x="2484" y="5798"/>
                    </a:lnTo>
                    <a:lnTo>
                      <a:pt x="2470" y="5802"/>
                    </a:lnTo>
                    <a:lnTo>
                      <a:pt x="2456" y="5804"/>
                    </a:lnTo>
                    <a:lnTo>
                      <a:pt x="2444" y="5806"/>
                    </a:lnTo>
                    <a:lnTo>
                      <a:pt x="2430" y="5806"/>
                    </a:lnTo>
                    <a:lnTo>
                      <a:pt x="2430" y="5806"/>
                    </a:lnTo>
                    <a:lnTo>
                      <a:pt x="2416" y="5804"/>
                    </a:lnTo>
                    <a:lnTo>
                      <a:pt x="2402" y="5800"/>
                    </a:lnTo>
                    <a:lnTo>
                      <a:pt x="2390" y="5796"/>
                    </a:lnTo>
                    <a:lnTo>
                      <a:pt x="2376" y="5790"/>
                    </a:lnTo>
                    <a:lnTo>
                      <a:pt x="2364" y="5784"/>
                    </a:lnTo>
                    <a:lnTo>
                      <a:pt x="2352" y="5774"/>
                    </a:lnTo>
                    <a:lnTo>
                      <a:pt x="2342" y="5764"/>
                    </a:lnTo>
                    <a:lnTo>
                      <a:pt x="2330" y="5752"/>
                    </a:lnTo>
                    <a:lnTo>
                      <a:pt x="1560" y="4940"/>
                    </a:lnTo>
                    <a:lnTo>
                      <a:pt x="1560" y="4940"/>
                    </a:lnTo>
                    <a:lnTo>
                      <a:pt x="1552" y="4930"/>
                    </a:lnTo>
                    <a:lnTo>
                      <a:pt x="1544" y="4918"/>
                    </a:lnTo>
                    <a:lnTo>
                      <a:pt x="1538" y="4906"/>
                    </a:lnTo>
                    <a:lnTo>
                      <a:pt x="1534" y="4892"/>
                    </a:lnTo>
                    <a:lnTo>
                      <a:pt x="1530" y="4880"/>
                    </a:lnTo>
                    <a:lnTo>
                      <a:pt x="1528" y="4866"/>
                    </a:lnTo>
                    <a:lnTo>
                      <a:pt x="1526" y="4854"/>
                    </a:lnTo>
                    <a:lnTo>
                      <a:pt x="1528" y="4840"/>
                    </a:lnTo>
                    <a:lnTo>
                      <a:pt x="1528" y="4828"/>
                    </a:lnTo>
                    <a:lnTo>
                      <a:pt x="1532" y="4814"/>
                    </a:lnTo>
                    <a:lnTo>
                      <a:pt x="1536" y="4802"/>
                    </a:lnTo>
                    <a:lnTo>
                      <a:pt x="1540" y="4790"/>
                    </a:lnTo>
                    <a:lnTo>
                      <a:pt x="1548" y="4778"/>
                    </a:lnTo>
                    <a:lnTo>
                      <a:pt x="1554" y="4766"/>
                    </a:lnTo>
                    <a:lnTo>
                      <a:pt x="1564" y="4756"/>
                    </a:lnTo>
                    <a:lnTo>
                      <a:pt x="1574" y="4746"/>
                    </a:lnTo>
                    <a:lnTo>
                      <a:pt x="1574" y="4746"/>
                    </a:lnTo>
                    <a:close/>
                    <a:moveTo>
                      <a:pt x="1658" y="4404"/>
                    </a:moveTo>
                    <a:lnTo>
                      <a:pt x="1658" y="4404"/>
                    </a:lnTo>
                    <a:lnTo>
                      <a:pt x="1630" y="4386"/>
                    </a:lnTo>
                    <a:lnTo>
                      <a:pt x="1602" y="4368"/>
                    </a:lnTo>
                    <a:lnTo>
                      <a:pt x="1576" y="4348"/>
                    </a:lnTo>
                    <a:lnTo>
                      <a:pt x="1550" y="4326"/>
                    </a:lnTo>
                    <a:lnTo>
                      <a:pt x="1526" y="4304"/>
                    </a:lnTo>
                    <a:lnTo>
                      <a:pt x="1504" y="4280"/>
                    </a:lnTo>
                    <a:lnTo>
                      <a:pt x="1484" y="4254"/>
                    </a:lnTo>
                    <a:lnTo>
                      <a:pt x="1464" y="4228"/>
                    </a:lnTo>
                    <a:lnTo>
                      <a:pt x="1446" y="4202"/>
                    </a:lnTo>
                    <a:lnTo>
                      <a:pt x="1428" y="4174"/>
                    </a:lnTo>
                    <a:lnTo>
                      <a:pt x="1414" y="4144"/>
                    </a:lnTo>
                    <a:lnTo>
                      <a:pt x="1400" y="4114"/>
                    </a:lnTo>
                    <a:lnTo>
                      <a:pt x="1388" y="4084"/>
                    </a:lnTo>
                    <a:lnTo>
                      <a:pt x="1378" y="4052"/>
                    </a:lnTo>
                    <a:lnTo>
                      <a:pt x="1368" y="4020"/>
                    </a:lnTo>
                    <a:lnTo>
                      <a:pt x="1362" y="3988"/>
                    </a:lnTo>
                    <a:lnTo>
                      <a:pt x="1238" y="3310"/>
                    </a:lnTo>
                    <a:lnTo>
                      <a:pt x="286" y="2752"/>
                    </a:lnTo>
                    <a:lnTo>
                      <a:pt x="286" y="1148"/>
                    </a:lnTo>
                    <a:lnTo>
                      <a:pt x="1868" y="2096"/>
                    </a:lnTo>
                    <a:lnTo>
                      <a:pt x="2494" y="1794"/>
                    </a:lnTo>
                    <a:lnTo>
                      <a:pt x="2494" y="1794"/>
                    </a:lnTo>
                    <a:lnTo>
                      <a:pt x="2532" y="1776"/>
                    </a:lnTo>
                    <a:lnTo>
                      <a:pt x="2570" y="1762"/>
                    </a:lnTo>
                    <a:lnTo>
                      <a:pt x="2608" y="1752"/>
                    </a:lnTo>
                    <a:lnTo>
                      <a:pt x="2646" y="1742"/>
                    </a:lnTo>
                    <a:lnTo>
                      <a:pt x="2684" y="1736"/>
                    </a:lnTo>
                    <a:lnTo>
                      <a:pt x="2724" y="1730"/>
                    </a:lnTo>
                    <a:lnTo>
                      <a:pt x="2764" y="1728"/>
                    </a:lnTo>
                    <a:lnTo>
                      <a:pt x="2802" y="1730"/>
                    </a:lnTo>
                    <a:lnTo>
                      <a:pt x="2842" y="1732"/>
                    </a:lnTo>
                    <a:lnTo>
                      <a:pt x="2880" y="1738"/>
                    </a:lnTo>
                    <a:lnTo>
                      <a:pt x="2918" y="1744"/>
                    </a:lnTo>
                    <a:lnTo>
                      <a:pt x="2958" y="1754"/>
                    </a:lnTo>
                    <a:lnTo>
                      <a:pt x="2994" y="1766"/>
                    </a:lnTo>
                    <a:lnTo>
                      <a:pt x="3032" y="1782"/>
                    </a:lnTo>
                    <a:lnTo>
                      <a:pt x="3068" y="1798"/>
                    </a:lnTo>
                    <a:lnTo>
                      <a:pt x="3104" y="1818"/>
                    </a:lnTo>
                    <a:lnTo>
                      <a:pt x="3162" y="1850"/>
                    </a:lnTo>
                    <a:lnTo>
                      <a:pt x="1732" y="3102"/>
                    </a:lnTo>
                    <a:lnTo>
                      <a:pt x="1732" y="3102"/>
                    </a:lnTo>
                    <a:lnTo>
                      <a:pt x="1698" y="3134"/>
                    </a:lnTo>
                    <a:lnTo>
                      <a:pt x="1666" y="3172"/>
                    </a:lnTo>
                    <a:lnTo>
                      <a:pt x="1638" y="3212"/>
                    </a:lnTo>
                    <a:lnTo>
                      <a:pt x="1616" y="3254"/>
                    </a:lnTo>
                    <a:lnTo>
                      <a:pt x="1596" y="3296"/>
                    </a:lnTo>
                    <a:lnTo>
                      <a:pt x="1582" y="3342"/>
                    </a:lnTo>
                    <a:lnTo>
                      <a:pt x="1572" y="3390"/>
                    </a:lnTo>
                    <a:lnTo>
                      <a:pt x="1566" y="3438"/>
                    </a:lnTo>
                    <a:lnTo>
                      <a:pt x="1566" y="3438"/>
                    </a:lnTo>
                    <a:lnTo>
                      <a:pt x="1564" y="3488"/>
                    </a:lnTo>
                    <a:lnTo>
                      <a:pt x="1568" y="3536"/>
                    </a:lnTo>
                    <a:lnTo>
                      <a:pt x="1578" y="3582"/>
                    </a:lnTo>
                    <a:lnTo>
                      <a:pt x="1590" y="3628"/>
                    </a:lnTo>
                    <a:lnTo>
                      <a:pt x="1608" y="3674"/>
                    </a:lnTo>
                    <a:lnTo>
                      <a:pt x="1630" y="3716"/>
                    </a:lnTo>
                    <a:lnTo>
                      <a:pt x="1656" y="3756"/>
                    </a:lnTo>
                    <a:lnTo>
                      <a:pt x="1686" y="3794"/>
                    </a:lnTo>
                    <a:lnTo>
                      <a:pt x="1686" y="3794"/>
                    </a:lnTo>
                    <a:lnTo>
                      <a:pt x="1704" y="3814"/>
                    </a:lnTo>
                    <a:lnTo>
                      <a:pt x="1722" y="3832"/>
                    </a:lnTo>
                    <a:lnTo>
                      <a:pt x="1740" y="3848"/>
                    </a:lnTo>
                    <a:lnTo>
                      <a:pt x="1760" y="3862"/>
                    </a:lnTo>
                    <a:lnTo>
                      <a:pt x="1778" y="3878"/>
                    </a:lnTo>
                    <a:lnTo>
                      <a:pt x="1800" y="3890"/>
                    </a:lnTo>
                    <a:lnTo>
                      <a:pt x="1842" y="3914"/>
                    </a:lnTo>
                    <a:lnTo>
                      <a:pt x="1886" y="3932"/>
                    </a:lnTo>
                    <a:lnTo>
                      <a:pt x="1930" y="3946"/>
                    </a:lnTo>
                    <a:lnTo>
                      <a:pt x="1978" y="3956"/>
                    </a:lnTo>
                    <a:lnTo>
                      <a:pt x="2024" y="3962"/>
                    </a:lnTo>
                    <a:lnTo>
                      <a:pt x="2072" y="3962"/>
                    </a:lnTo>
                    <a:lnTo>
                      <a:pt x="2118" y="3958"/>
                    </a:lnTo>
                    <a:lnTo>
                      <a:pt x="2166" y="3950"/>
                    </a:lnTo>
                    <a:lnTo>
                      <a:pt x="2212" y="3938"/>
                    </a:lnTo>
                    <a:lnTo>
                      <a:pt x="2256" y="3920"/>
                    </a:lnTo>
                    <a:lnTo>
                      <a:pt x="2278" y="3910"/>
                    </a:lnTo>
                    <a:lnTo>
                      <a:pt x="2300" y="3898"/>
                    </a:lnTo>
                    <a:lnTo>
                      <a:pt x="2320" y="3886"/>
                    </a:lnTo>
                    <a:lnTo>
                      <a:pt x="2342" y="3872"/>
                    </a:lnTo>
                    <a:lnTo>
                      <a:pt x="2362" y="3856"/>
                    </a:lnTo>
                    <a:lnTo>
                      <a:pt x="2382" y="3840"/>
                    </a:lnTo>
                    <a:lnTo>
                      <a:pt x="2882" y="3398"/>
                    </a:lnTo>
                    <a:lnTo>
                      <a:pt x="2882" y="3398"/>
                    </a:lnTo>
                    <a:lnTo>
                      <a:pt x="2928" y="3360"/>
                    </a:lnTo>
                    <a:lnTo>
                      <a:pt x="2976" y="3326"/>
                    </a:lnTo>
                    <a:lnTo>
                      <a:pt x="3024" y="3296"/>
                    </a:lnTo>
                    <a:lnTo>
                      <a:pt x="3074" y="3272"/>
                    </a:lnTo>
                    <a:lnTo>
                      <a:pt x="3122" y="3252"/>
                    </a:lnTo>
                    <a:lnTo>
                      <a:pt x="3148" y="3244"/>
                    </a:lnTo>
                    <a:lnTo>
                      <a:pt x="3172" y="3238"/>
                    </a:lnTo>
                    <a:lnTo>
                      <a:pt x="3198" y="3232"/>
                    </a:lnTo>
                    <a:lnTo>
                      <a:pt x="3222" y="3228"/>
                    </a:lnTo>
                    <a:lnTo>
                      <a:pt x="3248" y="3226"/>
                    </a:lnTo>
                    <a:lnTo>
                      <a:pt x="3274" y="3224"/>
                    </a:lnTo>
                    <a:lnTo>
                      <a:pt x="3298" y="3222"/>
                    </a:lnTo>
                    <a:lnTo>
                      <a:pt x="3324" y="3224"/>
                    </a:lnTo>
                    <a:lnTo>
                      <a:pt x="3377" y="3228"/>
                    </a:lnTo>
                    <a:lnTo>
                      <a:pt x="3429" y="3238"/>
                    </a:lnTo>
                    <a:lnTo>
                      <a:pt x="3483" y="3254"/>
                    </a:lnTo>
                    <a:lnTo>
                      <a:pt x="3537" y="3272"/>
                    </a:lnTo>
                    <a:lnTo>
                      <a:pt x="3591" y="3298"/>
                    </a:lnTo>
                    <a:lnTo>
                      <a:pt x="3645" y="3326"/>
                    </a:lnTo>
                    <a:lnTo>
                      <a:pt x="3701" y="3360"/>
                    </a:lnTo>
                    <a:lnTo>
                      <a:pt x="5341" y="4200"/>
                    </a:lnTo>
                    <a:lnTo>
                      <a:pt x="5341" y="4200"/>
                    </a:lnTo>
                    <a:lnTo>
                      <a:pt x="5349" y="4204"/>
                    </a:lnTo>
                    <a:lnTo>
                      <a:pt x="5357" y="4210"/>
                    </a:lnTo>
                    <a:lnTo>
                      <a:pt x="5365" y="4224"/>
                    </a:lnTo>
                    <a:lnTo>
                      <a:pt x="5371" y="4236"/>
                    </a:lnTo>
                    <a:lnTo>
                      <a:pt x="5373" y="4246"/>
                    </a:lnTo>
                    <a:lnTo>
                      <a:pt x="5373" y="4246"/>
                    </a:lnTo>
                    <a:lnTo>
                      <a:pt x="5373" y="4258"/>
                    </a:lnTo>
                    <a:lnTo>
                      <a:pt x="5373" y="4270"/>
                    </a:lnTo>
                    <a:lnTo>
                      <a:pt x="5367" y="4284"/>
                    </a:lnTo>
                    <a:lnTo>
                      <a:pt x="5363" y="4292"/>
                    </a:lnTo>
                    <a:lnTo>
                      <a:pt x="5359" y="4298"/>
                    </a:lnTo>
                    <a:lnTo>
                      <a:pt x="3997" y="5540"/>
                    </a:lnTo>
                    <a:lnTo>
                      <a:pt x="3985" y="5558"/>
                    </a:lnTo>
                    <a:lnTo>
                      <a:pt x="3985" y="5558"/>
                    </a:lnTo>
                    <a:lnTo>
                      <a:pt x="3979" y="5568"/>
                    </a:lnTo>
                    <a:lnTo>
                      <a:pt x="3971" y="5578"/>
                    </a:lnTo>
                    <a:lnTo>
                      <a:pt x="3953" y="5594"/>
                    </a:lnTo>
                    <a:lnTo>
                      <a:pt x="3933" y="5606"/>
                    </a:lnTo>
                    <a:lnTo>
                      <a:pt x="3911" y="5614"/>
                    </a:lnTo>
                    <a:lnTo>
                      <a:pt x="3889" y="5616"/>
                    </a:lnTo>
                    <a:lnTo>
                      <a:pt x="3865" y="5616"/>
                    </a:lnTo>
                    <a:lnTo>
                      <a:pt x="3841" y="5610"/>
                    </a:lnTo>
                    <a:lnTo>
                      <a:pt x="3831" y="5604"/>
                    </a:lnTo>
                    <a:lnTo>
                      <a:pt x="3819" y="5598"/>
                    </a:lnTo>
                    <a:lnTo>
                      <a:pt x="1658" y="4404"/>
                    </a:lnTo>
                    <a:close/>
                    <a:moveTo>
                      <a:pt x="5231" y="3404"/>
                    </a:moveTo>
                    <a:lnTo>
                      <a:pt x="5215" y="3814"/>
                    </a:lnTo>
                    <a:lnTo>
                      <a:pt x="3851" y="3116"/>
                    </a:lnTo>
                    <a:lnTo>
                      <a:pt x="3851" y="3116"/>
                    </a:lnTo>
                    <a:lnTo>
                      <a:pt x="3813" y="3092"/>
                    </a:lnTo>
                    <a:lnTo>
                      <a:pt x="3775" y="3070"/>
                    </a:lnTo>
                    <a:lnTo>
                      <a:pt x="3737" y="3050"/>
                    </a:lnTo>
                    <a:lnTo>
                      <a:pt x="3699" y="3032"/>
                    </a:lnTo>
                    <a:lnTo>
                      <a:pt x="3661" y="3014"/>
                    </a:lnTo>
                    <a:lnTo>
                      <a:pt x="3623" y="2998"/>
                    </a:lnTo>
                    <a:lnTo>
                      <a:pt x="3585" y="2986"/>
                    </a:lnTo>
                    <a:lnTo>
                      <a:pt x="3547" y="2974"/>
                    </a:lnTo>
                    <a:lnTo>
                      <a:pt x="3511" y="2962"/>
                    </a:lnTo>
                    <a:lnTo>
                      <a:pt x="3473" y="2954"/>
                    </a:lnTo>
                    <a:lnTo>
                      <a:pt x="3435" y="2946"/>
                    </a:lnTo>
                    <a:lnTo>
                      <a:pt x="3399" y="2942"/>
                    </a:lnTo>
                    <a:lnTo>
                      <a:pt x="3361" y="2938"/>
                    </a:lnTo>
                    <a:lnTo>
                      <a:pt x="3324" y="2936"/>
                    </a:lnTo>
                    <a:lnTo>
                      <a:pt x="3286" y="2936"/>
                    </a:lnTo>
                    <a:lnTo>
                      <a:pt x="3250" y="2936"/>
                    </a:lnTo>
                    <a:lnTo>
                      <a:pt x="3214" y="2940"/>
                    </a:lnTo>
                    <a:lnTo>
                      <a:pt x="3178" y="2944"/>
                    </a:lnTo>
                    <a:lnTo>
                      <a:pt x="3142" y="2950"/>
                    </a:lnTo>
                    <a:lnTo>
                      <a:pt x="3106" y="2958"/>
                    </a:lnTo>
                    <a:lnTo>
                      <a:pt x="3070" y="2968"/>
                    </a:lnTo>
                    <a:lnTo>
                      <a:pt x="3034" y="2980"/>
                    </a:lnTo>
                    <a:lnTo>
                      <a:pt x="2998" y="2992"/>
                    </a:lnTo>
                    <a:lnTo>
                      <a:pt x="2964" y="3006"/>
                    </a:lnTo>
                    <a:lnTo>
                      <a:pt x="2930" y="3024"/>
                    </a:lnTo>
                    <a:lnTo>
                      <a:pt x="2894" y="3042"/>
                    </a:lnTo>
                    <a:lnTo>
                      <a:pt x="2860" y="3060"/>
                    </a:lnTo>
                    <a:lnTo>
                      <a:pt x="2826" y="3082"/>
                    </a:lnTo>
                    <a:lnTo>
                      <a:pt x="2792" y="3106"/>
                    </a:lnTo>
                    <a:lnTo>
                      <a:pt x="2758" y="3130"/>
                    </a:lnTo>
                    <a:lnTo>
                      <a:pt x="2726" y="3156"/>
                    </a:lnTo>
                    <a:lnTo>
                      <a:pt x="2692" y="3184"/>
                    </a:lnTo>
                    <a:lnTo>
                      <a:pt x="2192" y="3626"/>
                    </a:lnTo>
                    <a:lnTo>
                      <a:pt x="2192" y="3626"/>
                    </a:lnTo>
                    <a:lnTo>
                      <a:pt x="2176" y="3638"/>
                    </a:lnTo>
                    <a:lnTo>
                      <a:pt x="2158" y="3650"/>
                    </a:lnTo>
                    <a:lnTo>
                      <a:pt x="2140" y="3660"/>
                    </a:lnTo>
                    <a:lnTo>
                      <a:pt x="2122" y="3666"/>
                    </a:lnTo>
                    <a:lnTo>
                      <a:pt x="2102" y="3672"/>
                    </a:lnTo>
                    <a:lnTo>
                      <a:pt x="2082" y="3676"/>
                    </a:lnTo>
                    <a:lnTo>
                      <a:pt x="2062" y="3676"/>
                    </a:lnTo>
                    <a:lnTo>
                      <a:pt x="2042" y="3676"/>
                    </a:lnTo>
                    <a:lnTo>
                      <a:pt x="2024" y="3674"/>
                    </a:lnTo>
                    <a:lnTo>
                      <a:pt x="2004" y="3670"/>
                    </a:lnTo>
                    <a:lnTo>
                      <a:pt x="1984" y="3664"/>
                    </a:lnTo>
                    <a:lnTo>
                      <a:pt x="1966" y="3656"/>
                    </a:lnTo>
                    <a:lnTo>
                      <a:pt x="1948" y="3646"/>
                    </a:lnTo>
                    <a:lnTo>
                      <a:pt x="1932" y="3634"/>
                    </a:lnTo>
                    <a:lnTo>
                      <a:pt x="1916" y="3622"/>
                    </a:lnTo>
                    <a:lnTo>
                      <a:pt x="1902" y="3606"/>
                    </a:lnTo>
                    <a:lnTo>
                      <a:pt x="1902" y="3606"/>
                    </a:lnTo>
                    <a:lnTo>
                      <a:pt x="1888" y="3590"/>
                    </a:lnTo>
                    <a:lnTo>
                      <a:pt x="1878" y="3574"/>
                    </a:lnTo>
                    <a:lnTo>
                      <a:pt x="1868" y="3556"/>
                    </a:lnTo>
                    <a:lnTo>
                      <a:pt x="1862" y="3538"/>
                    </a:lnTo>
                    <a:lnTo>
                      <a:pt x="1856" y="3518"/>
                    </a:lnTo>
                    <a:lnTo>
                      <a:pt x="1852" y="3498"/>
                    </a:lnTo>
                    <a:lnTo>
                      <a:pt x="1850" y="3478"/>
                    </a:lnTo>
                    <a:lnTo>
                      <a:pt x="1852" y="3458"/>
                    </a:lnTo>
                    <a:lnTo>
                      <a:pt x="1852" y="3458"/>
                    </a:lnTo>
                    <a:lnTo>
                      <a:pt x="1854" y="3438"/>
                    </a:lnTo>
                    <a:lnTo>
                      <a:pt x="1858" y="3418"/>
                    </a:lnTo>
                    <a:lnTo>
                      <a:pt x="1864" y="3398"/>
                    </a:lnTo>
                    <a:lnTo>
                      <a:pt x="1872" y="3380"/>
                    </a:lnTo>
                    <a:lnTo>
                      <a:pt x="1882" y="3362"/>
                    </a:lnTo>
                    <a:lnTo>
                      <a:pt x="1894" y="3346"/>
                    </a:lnTo>
                    <a:lnTo>
                      <a:pt x="1906" y="3330"/>
                    </a:lnTo>
                    <a:lnTo>
                      <a:pt x="1920" y="3316"/>
                    </a:lnTo>
                    <a:lnTo>
                      <a:pt x="3359" y="2060"/>
                    </a:lnTo>
                    <a:lnTo>
                      <a:pt x="3359" y="2060"/>
                    </a:lnTo>
                    <a:lnTo>
                      <a:pt x="3383" y="2038"/>
                    </a:lnTo>
                    <a:lnTo>
                      <a:pt x="3409" y="2020"/>
                    </a:lnTo>
                    <a:lnTo>
                      <a:pt x="3437" y="2004"/>
                    </a:lnTo>
                    <a:lnTo>
                      <a:pt x="3465" y="1990"/>
                    </a:lnTo>
                    <a:lnTo>
                      <a:pt x="3493" y="1978"/>
                    </a:lnTo>
                    <a:lnTo>
                      <a:pt x="3523" y="1970"/>
                    </a:lnTo>
                    <a:lnTo>
                      <a:pt x="3553" y="1962"/>
                    </a:lnTo>
                    <a:lnTo>
                      <a:pt x="3583" y="1956"/>
                    </a:lnTo>
                    <a:lnTo>
                      <a:pt x="3615" y="1954"/>
                    </a:lnTo>
                    <a:lnTo>
                      <a:pt x="3645" y="1952"/>
                    </a:lnTo>
                    <a:lnTo>
                      <a:pt x="3677" y="1954"/>
                    </a:lnTo>
                    <a:lnTo>
                      <a:pt x="3707" y="1956"/>
                    </a:lnTo>
                    <a:lnTo>
                      <a:pt x="3739" y="1962"/>
                    </a:lnTo>
                    <a:lnTo>
                      <a:pt x="3769" y="1970"/>
                    </a:lnTo>
                    <a:lnTo>
                      <a:pt x="3799" y="1982"/>
                    </a:lnTo>
                    <a:lnTo>
                      <a:pt x="3829" y="1994"/>
                    </a:lnTo>
                    <a:lnTo>
                      <a:pt x="4333" y="2234"/>
                    </a:lnTo>
                    <a:lnTo>
                      <a:pt x="6423" y="464"/>
                    </a:lnTo>
                    <a:lnTo>
                      <a:pt x="6423" y="2402"/>
                    </a:lnTo>
                    <a:lnTo>
                      <a:pt x="5231" y="3404"/>
                    </a:lnTo>
                    <a:close/>
                    <a:moveTo>
                      <a:pt x="6191" y="286"/>
                    </a:moveTo>
                    <a:lnTo>
                      <a:pt x="4289" y="1896"/>
                    </a:lnTo>
                    <a:lnTo>
                      <a:pt x="3951" y="1736"/>
                    </a:lnTo>
                    <a:lnTo>
                      <a:pt x="3951" y="1736"/>
                    </a:lnTo>
                    <a:lnTo>
                      <a:pt x="3921" y="1722"/>
                    </a:lnTo>
                    <a:lnTo>
                      <a:pt x="3891" y="1710"/>
                    </a:lnTo>
                    <a:lnTo>
                      <a:pt x="3861" y="1700"/>
                    </a:lnTo>
                    <a:lnTo>
                      <a:pt x="3831" y="1690"/>
                    </a:lnTo>
                    <a:lnTo>
                      <a:pt x="3799" y="1684"/>
                    </a:lnTo>
                    <a:lnTo>
                      <a:pt x="3769" y="1678"/>
                    </a:lnTo>
                    <a:lnTo>
                      <a:pt x="3737" y="1672"/>
                    </a:lnTo>
                    <a:lnTo>
                      <a:pt x="3705" y="1670"/>
                    </a:lnTo>
                    <a:lnTo>
                      <a:pt x="3675" y="1668"/>
                    </a:lnTo>
                    <a:lnTo>
                      <a:pt x="3643" y="1666"/>
                    </a:lnTo>
                    <a:lnTo>
                      <a:pt x="3611" y="1668"/>
                    </a:lnTo>
                    <a:lnTo>
                      <a:pt x="3579" y="1670"/>
                    </a:lnTo>
                    <a:lnTo>
                      <a:pt x="3549" y="1674"/>
                    </a:lnTo>
                    <a:lnTo>
                      <a:pt x="3517" y="1678"/>
                    </a:lnTo>
                    <a:lnTo>
                      <a:pt x="3487" y="1684"/>
                    </a:lnTo>
                    <a:lnTo>
                      <a:pt x="3457" y="1692"/>
                    </a:lnTo>
                    <a:lnTo>
                      <a:pt x="3248" y="1570"/>
                    </a:lnTo>
                    <a:lnTo>
                      <a:pt x="3248" y="1570"/>
                    </a:lnTo>
                    <a:lnTo>
                      <a:pt x="3196" y="1542"/>
                    </a:lnTo>
                    <a:lnTo>
                      <a:pt x="3144" y="1518"/>
                    </a:lnTo>
                    <a:lnTo>
                      <a:pt x="3092" y="1498"/>
                    </a:lnTo>
                    <a:lnTo>
                      <a:pt x="3036" y="1480"/>
                    </a:lnTo>
                    <a:lnTo>
                      <a:pt x="2982" y="1466"/>
                    </a:lnTo>
                    <a:lnTo>
                      <a:pt x="2926" y="1454"/>
                    </a:lnTo>
                    <a:lnTo>
                      <a:pt x="2870" y="1448"/>
                    </a:lnTo>
                    <a:lnTo>
                      <a:pt x="2814" y="1444"/>
                    </a:lnTo>
                    <a:lnTo>
                      <a:pt x="2758" y="1442"/>
                    </a:lnTo>
                    <a:lnTo>
                      <a:pt x="2700" y="1446"/>
                    </a:lnTo>
                    <a:lnTo>
                      <a:pt x="2644" y="1452"/>
                    </a:lnTo>
                    <a:lnTo>
                      <a:pt x="2588" y="1462"/>
                    </a:lnTo>
                    <a:lnTo>
                      <a:pt x="2532" y="1476"/>
                    </a:lnTo>
                    <a:lnTo>
                      <a:pt x="2478" y="1492"/>
                    </a:lnTo>
                    <a:lnTo>
                      <a:pt x="2424" y="1512"/>
                    </a:lnTo>
                    <a:lnTo>
                      <a:pt x="2370" y="1536"/>
                    </a:lnTo>
                    <a:lnTo>
                      <a:pt x="1884" y="1770"/>
                    </a:lnTo>
                    <a:lnTo>
                      <a:pt x="286" y="814"/>
                    </a:lnTo>
                    <a:lnTo>
                      <a:pt x="286" y="286"/>
                    </a:lnTo>
                    <a:lnTo>
                      <a:pt x="6191" y="286"/>
                    </a:lnTo>
                    <a:close/>
                    <a:moveTo>
                      <a:pt x="286" y="6422"/>
                    </a:moveTo>
                    <a:lnTo>
                      <a:pt x="286" y="3084"/>
                    </a:lnTo>
                    <a:lnTo>
                      <a:pt x="980" y="3492"/>
                    </a:lnTo>
                    <a:lnTo>
                      <a:pt x="1080" y="4038"/>
                    </a:lnTo>
                    <a:lnTo>
                      <a:pt x="1080" y="4038"/>
                    </a:lnTo>
                    <a:lnTo>
                      <a:pt x="1088" y="4076"/>
                    </a:lnTo>
                    <a:lnTo>
                      <a:pt x="1096" y="4112"/>
                    </a:lnTo>
                    <a:lnTo>
                      <a:pt x="1108" y="4148"/>
                    </a:lnTo>
                    <a:lnTo>
                      <a:pt x="1120" y="4184"/>
                    </a:lnTo>
                    <a:lnTo>
                      <a:pt x="1134" y="4218"/>
                    </a:lnTo>
                    <a:lnTo>
                      <a:pt x="1148" y="4252"/>
                    </a:lnTo>
                    <a:lnTo>
                      <a:pt x="1164" y="4286"/>
                    </a:lnTo>
                    <a:lnTo>
                      <a:pt x="1182" y="4318"/>
                    </a:lnTo>
                    <a:lnTo>
                      <a:pt x="1202" y="4350"/>
                    </a:lnTo>
                    <a:lnTo>
                      <a:pt x="1222" y="4382"/>
                    </a:lnTo>
                    <a:lnTo>
                      <a:pt x="1244" y="4412"/>
                    </a:lnTo>
                    <a:lnTo>
                      <a:pt x="1266" y="4440"/>
                    </a:lnTo>
                    <a:lnTo>
                      <a:pt x="1290" y="4468"/>
                    </a:lnTo>
                    <a:lnTo>
                      <a:pt x="1316" y="4496"/>
                    </a:lnTo>
                    <a:lnTo>
                      <a:pt x="1342" y="4522"/>
                    </a:lnTo>
                    <a:lnTo>
                      <a:pt x="1370" y="4548"/>
                    </a:lnTo>
                    <a:lnTo>
                      <a:pt x="1370" y="4548"/>
                    </a:lnTo>
                    <a:lnTo>
                      <a:pt x="1342" y="4578"/>
                    </a:lnTo>
                    <a:lnTo>
                      <a:pt x="1318" y="4610"/>
                    </a:lnTo>
                    <a:lnTo>
                      <a:pt x="1296" y="4644"/>
                    </a:lnTo>
                    <a:lnTo>
                      <a:pt x="1278" y="4680"/>
                    </a:lnTo>
                    <a:lnTo>
                      <a:pt x="1264" y="4716"/>
                    </a:lnTo>
                    <a:lnTo>
                      <a:pt x="1254" y="4754"/>
                    </a:lnTo>
                    <a:lnTo>
                      <a:pt x="1246" y="4794"/>
                    </a:lnTo>
                    <a:lnTo>
                      <a:pt x="1242" y="4832"/>
                    </a:lnTo>
                    <a:lnTo>
                      <a:pt x="1244" y="4872"/>
                    </a:lnTo>
                    <a:lnTo>
                      <a:pt x="1246" y="4912"/>
                    </a:lnTo>
                    <a:lnTo>
                      <a:pt x="1254" y="4950"/>
                    </a:lnTo>
                    <a:lnTo>
                      <a:pt x="1266" y="4988"/>
                    </a:lnTo>
                    <a:lnTo>
                      <a:pt x="1280" y="5026"/>
                    </a:lnTo>
                    <a:lnTo>
                      <a:pt x="1300" y="5062"/>
                    </a:lnTo>
                    <a:lnTo>
                      <a:pt x="1322" y="5098"/>
                    </a:lnTo>
                    <a:lnTo>
                      <a:pt x="1348" y="5132"/>
                    </a:lnTo>
                    <a:lnTo>
                      <a:pt x="2118" y="5944"/>
                    </a:lnTo>
                    <a:lnTo>
                      <a:pt x="2118" y="5944"/>
                    </a:lnTo>
                    <a:lnTo>
                      <a:pt x="2146" y="5976"/>
                    </a:lnTo>
                    <a:lnTo>
                      <a:pt x="2178" y="6002"/>
                    </a:lnTo>
                    <a:lnTo>
                      <a:pt x="2212" y="6026"/>
                    </a:lnTo>
                    <a:lnTo>
                      <a:pt x="2248" y="6046"/>
                    </a:lnTo>
                    <a:lnTo>
                      <a:pt x="2286" y="6064"/>
                    </a:lnTo>
                    <a:lnTo>
                      <a:pt x="2326" y="6076"/>
                    </a:lnTo>
                    <a:lnTo>
                      <a:pt x="2368" y="6086"/>
                    </a:lnTo>
                    <a:lnTo>
                      <a:pt x="2410" y="6090"/>
                    </a:lnTo>
                    <a:lnTo>
                      <a:pt x="2410" y="6090"/>
                    </a:lnTo>
                    <a:lnTo>
                      <a:pt x="2440" y="6092"/>
                    </a:lnTo>
                    <a:lnTo>
                      <a:pt x="2440" y="6092"/>
                    </a:lnTo>
                    <a:lnTo>
                      <a:pt x="2478" y="6090"/>
                    </a:lnTo>
                    <a:lnTo>
                      <a:pt x="2516" y="6086"/>
                    </a:lnTo>
                    <a:lnTo>
                      <a:pt x="2552" y="6076"/>
                    </a:lnTo>
                    <a:lnTo>
                      <a:pt x="2588" y="6066"/>
                    </a:lnTo>
                    <a:lnTo>
                      <a:pt x="2622" y="6050"/>
                    </a:lnTo>
                    <a:lnTo>
                      <a:pt x="2656" y="6032"/>
                    </a:lnTo>
                    <a:lnTo>
                      <a:pt x="2688" y="6012"/>
                    </a:lnTo>
                    <a:lnTo>
                      <a:pt x="2718" y="5988"/>
                    </a:lnTo>
                    <a:lnTo>
                      <a:pt x="3194" y="5580"/>
                    </a:lnTo>
                    <a:lnTo>
                      <a:pt x="3677" y="5848"/>
                    </a:lnTo>
                    <a:lnTo>
                      <a:pt x="3677" y="5848"/>
                    </a:lnTo>
                    <a:lnTo>
                      <a:pt x="3701" y="5860"/>
                    </a:lnTo>
                    <a:lnTo>
                      <a:pt x="3727" y="5872"/>
                    </a:lnTo>
                    <a:lnTo>
                      <a:pt x="3751" y="5882"/>
                    </a:lnTo>
                    <a:lnTo>
                      <a:pt x="3777" y="5890"/>
                    </a:lnTo>
                    <a:lnTo>
                      <a:pt x="3803" y="5896"/>
                    </a:lnTo>
                    <a:lnTo>
                      <a:pt x="3829" y="5900"/>
                    </a:lnTo>
                    <a:lnTo>
                      <a:pt x="3855" y="5902"/>
                    </a:lnTo>
                    <a:lnTo>
                      <a:pt x="3881" y="5904"/>
                    </a:lnTo>
                    <a:lnTo>
                      <a:pt x="3881" y="5904"/>
                    </a:lnTo>
                    <a:lnTo>
                      <a:pt x="3907" y="5902"/>
                    </a:lnTo>
                    <a:lnTo>
                      <a:pt x="3931" y="5900"/>
                    </a:lnTo>
                    <a:lnTo>
                      <a:pt x="3955" y="5896"/>
                    </a:lnTo>
                    <a:lnTo>
                      <a:pt x="3979" y="5892"/>
                    </a:lnTo>
                    <a:lnTo>
                      <a:pt x="4003" y="5886"/>
                    </a:lnTo>
                    <a:lnTo>
                      <a:pt x="4025" y="5878"/>
                    </a:lnTo>
                    <a:lnTo>
                      <a:pt x="4049" y="5868"/>
                    </a:lnTo>
                    <a:lnTo>
                      <a:pt x="4071" y="5858"/>
                    </a:lnTo>
                    <a:lnTo>
                      <a:pt x="4093" y="5846"/>
                    </a:lnTo>
                    <a:lnTo>
                      <a:pt x="4113" y="5832"/>
                    </a:lnTo>
                    <a:lnTo>
                      <a:pt x="4133" y="5816"/>
                    </a:lnTo>
                    <a:lnTo>
                      <a:pt x="4153" y="5800"/>
                    </a:lnTo>
                    <a:lnTo>
                      <a:pt x="4171" y="5784"/>
                    </a:lnTo>
                    <a:lnTo>
                      <a:pt x="4187" y="5766"/>
                    </a:lnTo>
                    <a:lnTo>
                      <a:pt x="4203" y="5746"/>
                    </a:lnTo>
                    <a:lnTo>
                      <a:pt x="4219" y="5724"/>
                    </a:lnTo>
                    <a:lnTo>
                      <a:pt x="5555" y="4506"/>
                    </a:lnTo>
                    <a:lnTo>
                      <a:pt x="5555" y="4506"/>
                    </a:lnTo>
                    <a:lnTo>
                      <a:pt x="5583" y="4476"/>
                    </a:lnTo>
                    <a:lnTo>
                      <a:pt x="5607" y="4442"/>
                    </a:lnTo>
                    <a:lnTo>
                      <a:pt x="5625" y="4408"/>
                    </a:lnTo>
                    <a:lnTo>
                      <a:pt x="5641" y="4370"/>
                    </a:lnTo>
                    <a:lnTo>
                      <a:pt x="5651" y="4332"/>
                    </a:lnTo>
                    <a:lnTo>
                      <a:pt x="5659" y="4292"/>
                    </a:lnTo>
                    <a:lnTo>
                      <a:pt x="5659" y="4252"/>
                    </a:lnTo>
                    <a:lnTo>
                      <a:pt x="5657" y="4210"/>
                    </a:lnTo>
                    <a:lnTo>
                      <a:pt x="5657" y="4210"/>
                    </a:lnTo>
                    <a:lnTo>
                      <a:pt x="5651" y="4172"/>
                    </a:lnTo>
                    <a:lnTo>
                      <a:pt x="5639" y="4136"/>
                    </a:lnTo>
                    <a:lnTo>
                      <a:pt x="5625" y="4102"/>
                    </a:lnTo>
                    <a:lnTo>
                      <a:pt x="5605" y="4068"/>
                    </a:lnTo>
                    <a:lnTo>
                      <a:pt x="5583" y="4038"/>
                    </a:lnTo>
                    <a:lnTo>
                      <a:pt x="5559" y="4010"/>
                    </a:lnTo>
                    <a:lnTo>
                      <a:pt x="5529" y="3984"/>
                    </a:lnTo>
                    <a:lnTo>
                      <a:pt x="5497" y="3960"/>
                    </a:lnTo>
                    <a:lnTo>
                      <a:pt x="5513" y="3540"/>
                    </a:lnTo>
                    <a:lnTo>
                      <a:pt x="6423" y="2774"/>
                    </a:lnTo>
                    <a:lnTo>
                      <a:pt x="6423" y="6422"/>
                    </a:lnTo>
                    <a:lnTo>
                      <a:pt x="286" y="6422"/>
                    </a:lnTo>
                    <a:close/>
                  </a:path>
                </a:pathLst>
              </a:custGeom>
              <a:solidFill>
                <a:srgbClr val="A32020"/>
              </a:solidFill>
              <a:ln>
                <a:noFill/>
              </a:ln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/>
              </a:p>
            </p:txBody>
          </p:sp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BB0A644A-59BD-450C-BCA9-8BEC1AA96EAB}"/>
                  </a:ext>
                </a:extLst>
              </p:cNvPr>
              <p:cNvSpPr txBox="1"/>
              <p:nvPr/>
            </p:nvSpPr>
            <p:spPr>
              <a:xfrm>
                <a:off x="10551396" y="2884807"/>
                <a:ext cx="738034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" sz="1400" b="1" noProof="0" dirty="0">
                    <a:solidFill>
                      <a:schemeClr val="tx1"/>
                    </a:solidFill>
                    <a:cs typeface="Arial" pitchFamily="34" charset="0"/>
                  </a:rPr>
                  <a:t>Э</a:t>
                </a:r>
                <a:r>
                  <a:rPr lang="ru-RU" sz="1400" b="1" noProof="0" dirty="0">
                    <a:solidFill>
                      <a:schemeClr val="tx1"/>
                    </a:solidFill>
                    <a:cs typeface="Arial" pitchFamily="34" charset="0"/>
                  </a:rPr>
                  <a:t>к</a:t>
                </a:r>
                <a:r>
                  <a:rPr lang="ru" sz="1400" b="1" noProof="0" dirty="0">
                    <a:solidFill>
                      <a:schemeClr val="tx1"/>
                    </a:solidFill>
                    <a:cs typeface="Arial" pitchFamily="34" charset="0"/>
                  </a:rPr>
                  <a:t>вити</a:t>
                </a:r>
              </a:p>
            </p:txBody>
          </p:sp>
        </p:grp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D3A3A752-5DD2-41D3-A3F9-F23F9B9389B7}"/>
                </a:ext>
              </a:extLst>
            </p:cNvPr>
            <p:cNvSpPr txBox="1"/>
            <p:nvPr/>
          </p:nvSpPr>
          <p:spPr>
            <a:xfrm>
              <a:off x="9914372" y="3321278"/>
              <a:ext cx="1469156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" sz="1400" noProof="0" dirty="0">
                  <a:solidFill>
                    <a:schemeClr val="tx1"/>
                  </a:solidFill>
                  <a:cs typeface="Arial" pitchFamily="34" charset="0"/>
                </a:rPr>
                <a:t>4 </a:t>
              </a:r>
              <a:r>
                <a:rPr lang="ru-RU" sz="1400" dirty="0">
                  <a:cs typeface="Arial" pitchFamily="34" charset="0"/>
                </a:rPr>
                <a:t>млн</a:t>
              </a:r>
              <a:r>
                <a:rPr lang="ru" sz="1400" noProof="0" dirty="0">
                  <a:solidFill>
                    <a:schemeClr val="tx1"/>
                  </a:solidFill>
                  <a:cs typeface="Arial" pitchFamily="34" charset="0"/>
                </a:rPr>
                <a:t> долл США</a:t>
              </a: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0C81CD82-0F81-41FA-B8BC-D58FD7E570A7}"/>
              </a:ext>
            </a:extLst>
          </p:cNvPr>
          <p:cNvGrpSpPr/>
          <p:nvPr/>
        </p:nvGrpSpPr>
        <p:grpSpPr>
          <a:xfrm>
            <a:off x="8611664" y="2999490"/>
            <a:ext cx="1881709" cy="773202"/>
            <a:chOff x="9914372" y="2763520"/>
            <a:chExt cx="1551356" cy="773202"/>
          </a:xfrm>
        </p:grpSpPr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33550AB9-3227-4231-953E-FEDFB17EE276}"/>
                </a:ext>
              </a:extLst>
            </p:cNvPr>
            <p:cNvGrpSpPr/>
            <p:nvPr/>
          </p:nvGrpSpPr>
          <p:grpSpPr>
            <a:xfrm>
              <a:off x="10029681" y="2763520"/>
              <a:ext cx="1436047" cy="458019"/>
              <a:chOff x="10050891" y="2763520"/>
              <a:chExt cx="1436047" cy="458019"/>
            </a:xfrm>
          </p:grpSpPr>
          <p:sp>
            <p:nvSpPr>
              <p:cNvPr id="151" name="Freeform 73">
                <a:extLst>
                  <a:ext uri="{FF2B5EF4-FFF2-40B4-BE49-F238E27FC236}">
                    <a16:creationId xmlns:a16="http://schemas.microsoft.com/office/drawing/2014/main" id="{397EB500-CD02-426D-A3C9-98EE09EA1D1B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0050891" y="2763520"/>
                <a:ext cx="458087" cy="458019"/>
              </a:xfrm>
              <a:custGeom>
                <a:avLst/>
                <a:gdLst>
                  <a:gd name="T0" fmla="*/ 6709 w 6709"/>
                  <a:gd name="T1" fmla="*/ 0 h 6708"/>
                  <a:gd name="T2" fmla="*/ 2508 w 6709"/>
                  <a:gd name="T3" fmla="*/ 5788 h 6708"/>
                  <a:gd name="T4" fmla="*/ 2430 w 6709"/>
                  <a:gd name="T5" fmla="*/ 5806 h 6708"/>
                  <a:gd name="T6" fmla="*/ 2342 w 6709"/>
                  <a:gd name="T7" fmla="*/ 5764 h 6708"/>
                  <a:gd name="T8" fmla="*/ 1534 w 6709"/>
                  <a:gd name="T9" fmla="*/ 4892 h 6708"/>
                  <a:gd name="T10" fmla="*/ 1536 w 6709"/>
                  <a:gd name="T11" fmla="*/ 4802 h 6708"/>
                  <a:gd name="T12" fmla="*/ 1658 w 6709"/>
                  <a:gd name="T13" fmla="*/ 4404 h 6708"/>
                  <a:gd name="T14" fmla="*/ 1504 w 6709"/>
                  <a:gd name="T15" fmla="*/ 4280 h 6708"/>
                  <a:gd name="T16" fmla="*/ 1388 w 6709"/>
                  <a:gd name="T17" fmla="*/ 4084 h 6708"/>
                  <a:gd name="T18" fmla="*/ 1868 w 6709"/>
                  <a:gd name="T19" fmla="*/ 2096 h 6708"/>
                  <a:gd name="T20" fmla="*/ 2684 w 6709"/>
                  <a:gd name="T21" fmla="*/ 1736 h 6708"/>
                  <a:gd name="T22" fmla="*/ 2958 w 6709"/>
                  <a:gd name="T23" fmla="*/ 1754 h 6708"/>
                  <a:gd name="T24" fmla="*/ 1732 w 6709"/>
                  <a:gd name="T25" fmla="*/ 3102 h 6708"/>
                  <a:gd name="T26" fmla="*/ 1572 w 6709"/>
                  <a:gd name="T27" fmla="*/ 3390 h 6708"/>
                  <a:gd name="T28" fmla="*/ 1608 w 6709"/>
                  <a:gd name="T29" fmla="*/ 3674 h 6708"/>
                  <a:gd name="T30" fmla="*/ 1740 w 6709"/>
                  <a:gd name="T31" fmla="*/ 3848 h 6708"/>
                  <a:gd name="T32" fmla="*/ 1978 w 6709"/>
                  <a:gd name="T33" fmla="*/ 3956 h 6708"/>
                  <a:gd name="T34" fmla="*/ 2278 w 6709"/>
                  <a:gd name="T35" fmla="*/ 3910 h 6708"/>
                  <a:gd name="T36" fmla="*/ 2882 w 6709"/>
                  <a:gd name="T37" fmla="*/ 3398 h 6708"/>
                  <a:gd name="T38" fmla="*/ 3172 w 6709"/>
                  <a:gd name="T39" fmla="*/ 3238 h 6708"/>
                  <a:gd name="T40" fmla="*/ 3377 w 6709"/>
                  <a:gd name="T41" fmla="*/ 3228 h 6708"/>
                  <a:gd name="T42" fmla="*/ 5341 w 6709"/>
                  <a:gd name="T43" fmla="*/ 4200 h 6708"/>
                  <a:gd name="T44" fmla="*/ 5373 w 6709"/>
                  <a:gd name="T45" fmla="*/ 4246 h 6708"/>
                  <a:gd name="T46" fmla="*/ 3985 w 6709"/>
                  <a:gd name="T47" fmla="*/ 5558 h 6708"/>
                  <a:gd name="T48" fmla="*/ 3889 w 6709"/>
                  <a:gd name="T49" fmla="*/ 5616 h 6708"/>
                  <a:gd name="T50" fmla="*/ 5215 w 6709"/>
                  <a:gd name="T51" fmla="*/ 3814 h 6708"/>
                  <a:gd name="T52" fmla="*/ 3661 w 6709"/>
                  <a:gd name="T53" fmla="*/ 3014 h 6708"/>
                  <a:gd name="T54" fmla="*/ 3399 w 6709"/>
                  <a:gd name="T55" fmla="*/ 2942 h 6708"/>
                  <a:gd name="T56" fmla="*/ 3142 w 6709"/>
                  <a:gd name="T57" fmla="*/ 2950 h 6708"/>
                  <a:gd name="T58" fmla="*/ 2894 w 6709"/>
                  <a:gd name="T59" fmla="*/ 3042 h 6708"/>
                  <a:gd name="T60" fmla="*/ 2192 w 6709"/>
                  <a:gd name="T61" fmla="*/ 3626 h 6708"/>
                  <a:gd name="T62" fmla="*/ 2082 w 6709"/>
                  <a:gd name="T63" fmla="*/ 3676 h 6708"/>
                  <a:gd name="T64" fmla="*/ 1948 w 6709"/>
                  <a:gd name="T65" fmla="*/ 3646 h 6708"/>
                  <a:gd name="T66" fmla="*/ 1868 w 6709"/>
                  <a:gd name="T67" fmla="*/ 3556 h 6708"/>
                  <a:gd name="T68" fmla="*/ 1854 w 6709"/>
                  <a:gd name="T69" fmla="*/ 3438 h 6708"/>
                  <a:gd name="T70" fmla="*/ 1920 w 6709"/>
                  <a:gd name="T71" fmla="*/ 3316 h 6708"/>
                  <a:gd name="T72" fmla="*/ 3493 w 6709"/>
                  <a:gd name="T73" fmla="*/ 1978 h 6708"/>
                  <a:gd name="T74" fmla="*/ 3707 w 6709"/>
                  <a:gd name="T75" fmla="*/ 1956 h 6708"/>
                  <a:gd name="T76" fmla="*/ 6423 w 6709"/>
                  <a:gd name="T77" fmla="*/ 2402 h 6708"/>
                  <a:gd name="T78" fmla="*/ 3891 w 6709"/>
                  <a:gd name="T79" fmla="*/ 1710 h 6708"/>
                  <a:gd name="T80" fmla="*/ 3675 w 6709"/>
                  <a:gd name="T81" fmla="*/ 1668 h 6708"/>
                  <a:gd name="T82" fmla="*/ 3457 w 6709"/>
                  <a:gd name="T83" fmla="*/ 1692 h 6708"/>
                  <a:gd name="T84" fmla="*/ 2982 w 6709"/>
                  <a:gd name="T85" fmla="*/ 1466 h 6708"/>
                  <a:gd name="T86" fmla="*/ 2588 w 6709"/>
                  <a:gd name="T87" fmla="*/ 1462 h 6708"/>
                  <a:gd name="T88" fmla="*/ 286 w 6709"/>
                  <a:gd name="T89" fmla="*/ 286 h 6708"/>
                  <a:gd name="T90" fmla="*/ 1088 w 6709"/>
                  <a:gd name="T91" fmla="*/ 4076 h 6708"/>
                  <a:gd name="T92" fmla="*/ 1182 w 6709"/>
                  <a:gd name="T93" fmla="*/ 4318 h 6708"/>
                  <a:gd name="T94" fmla="*/ 1342 w 6709"/>
                  <a:gd name="T95" fmla="*/ 4522 h 6708"/>
                  <a:gd name="T96" fmla="*/ 1264 w 6709"/>
                  <a:gd name="T97" fmla="*/ 4716 h 6708"/>
                  <a:gd name="T98" fmla="*/ 1266 w 6709"/>
                  <a:gd name="T99" fmla="*/ 4988 h 6708"/>
                  <a:gd name="T100" fmla="*/ 2146 w 6709"/>
                  <a:gd name="T101" fmla="*/ 5976 h 6708"/>
                  <a:gd name="T102" fmla="*/ 2410 w 6709"/>
                  <a:gd name="T103" fmla="*/ 6090 h 6708"/>
                  <a:gd name="T104" fmla="*/ 2588 w 6709"/>
                  <a:gd name="T105" fmla="*/ 6066 h 6708"/>
                  <a:gd name="T106" fmla="*/ 3677 w 6709"/>
                  <a:gd name="T107" fmla="*/ 5848 h 6708"/>
                  <a:gd name="T108" fmla="*/ 3855 w 6709"/>
                  <a:gd name="T109" fmla="*/ 5902 h 6708"/>
                  <a:gd name="T110" fmla="*/ 4003 w 6709"/>
                  <a:gd name="T111" fmla="*/ 5886 h 6708"/>
                  <a:gd name="T112" fmla="*/ 4153 w 6709"/>
                  <a:gd name="T113" fmla="*/ 5800 h 6708"/>
                  <a:gd name="T114" fmla="*/ 5583 w 6709"/>
                  <a:gd name="T115" fmla="*/ 4476 h 6708"/>
                  <a:gd name="T116" fmla="*/ 5657 w 6709"/>
                  <a:gd name="T117" fmla="*/ 4210 h 6708"/>
                  <a:gd name="T118" fmla="*/ 5559 w 6709"/>
                  <a:gd name="T119" fmla="*/ 4010 h 67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709" h="6708">
                    <a:moveTo>
                      <a:pt x="6709" y="0"/>
                    </a:moveTo>
                    <a:lnTo>
                      <a:pt x="0" y="0"/>
                    </a:lnTo>
                    <a:lnTo>
                      <a:pt x="0" y="6708"/>
                    </a:lnTo>
                    <a:lnTo>
                      <a:pt x="6709" y="6708"/>
                    </a:lnTo>
                    <a:lnTo>
                      <a:pt x="6709" y="6708"/>
                    </a:lnTo>
                    <a:lnTo>
                      <a:pt x="6709" y="0"/>
                    </a:lnTo>
                    <a:lnTo>
                      <a:pt x="6709" y="0"/>
                    </a:lnTo>
                    <a:close/>
                    <a:moveTo>
                      <a:pt x="1574" y="4746"/>
                    </a:moveTo>
                    <a:lnTo>
                      <a:pt x="1618" y="4708"/>
                    </a:lnTo>
                    <a:lnTo>
                      <a:pt x="2926" y="5432"/>
                    </a:lnTo>
                    <a:lnTo>
                      <a:pt x="2530" y="5772"/>
                    </a:lnTo>
                    <a:lnTo>
                      <a:pt x="2530" y="5772"/>
                    </a:lnTo>
                    <a:lnTo>
                      <a:pt x="2520" y="5780"/>
                    </a:lnTo>
                    <a:lnTo>
                      <a:pt x="2508" y="5788"/>
                    </a:lnTo>
                    <a:lnTo>
                      <a:pt x="2496" y="5794"/>
                    </a:lnTo>
                    <a:lnTo>
                      <a:pt x="2484" y="5798"/>
                    </a:lnTo>
                    <a:lnTo>
                      <a:pt x="2470" y="5802"/>
                    </a:lnTo>
                    <a:lnTo>
                      <a:pt x="2456" y="5804"/>
                    </a:lnTo>
                    <a:lnTo>
                      <a:pt x="2444" y="5806"/>
                    </a:lnTo>
                    <a:lnTo>
                      <a:pt x="2430" y="5806"/>
                    </a:lnTo>
                    <a:lnTo>
                      <a:pt x="2430" y="5806"/>
                    </a:lnTo>
                    <a:lnTo>
                      <a:pt x="2416" y="5804"/>
                    </a:lnTo>
                    <a:lnTo>
                      <a:pt x="2402" y="5800"/>
                    </a:lnTo>
                    <a:lnTo>
                      <a:pt x="2390" y="5796"/>
                    </a:lnTo>
                    <a:lnTo>
                      <a:pt x="2376" y="5790"/>
                    </a:lnTo>
                    <a:lnTo>
                      <a:pt x="2364" y="5784"/>
                    </a:lnTo>
                    <a:lnTo>
                      <a:pt x="2352" y="5774"/>
                    </a:lnTo>
                    <a:lnTo>
                      <a:pt x="2342" y="5764"/>
                    </a:lnTo>
                    <a:lnTo>
                      <a:pt x="2330" y="5752"/>
                    </a:lnTo>
                    <a:lnTo>
                      <a:pt x="1560" y="4940"/>
                    </a:lnTo>
                    <a:lnTo>
                      <a:pt x="1560" y="4940"/>
                    </a:lnTo>
                    <a:lnTo>
                      <a:pt x="1552" y="4930"/>
                    </a:lnTo>
                    <a:lnTo>
                      <a:pt x="1544" y="4918"/>
                    </a:lnTo>
                    <a:lnTo>
                      <a:pt x="1538" y="4906"/>
                    </a:lnTo>
                    <a:lnTo>
                      <a:pt x="1534" y="4892"/>
                    </a:lnTo>
                    <a:lnTo>
                      <a:pt x="1530" y="4880"/>
                    </a:lnTo>
                    <a:lnTo>
                      <a:pt x="1528" y="4866"/>
                    </a:lnTo>
                    <a:lnTo>
                      <a:pt x="1526" y="4854"/>
                    </a:lnTo>
                    <a:lnTo>
                      <a:pt x="1528" y="4840"/>
                    </a:lnTo>
                    <a:lnTo>
                      <a:pt x="1528" y="4828"/>
                    </a:lnTo>
                    <a:lnTo>
                      <a:pt x="1532" y="4814"/>
                    </a:lnTo>
                    <a:lnTo>
                      <a:pt x="1536" y="4802"/>
                    </a:lnTo>
                    <a:lnTo>
                      <a:pt x="1540" y="4790"/>
                    </a:lnTo>
                    <a:lnTo>
                      <a:pt x="1548" y="4778"/>
                    </a:lnTo>
                    <a:lnTo>
                      <a:pt x="1554" y="4766"/>
                    </a:lnTo>
                    <a:lnTo>
                      <a:pt x="1564" y="4756"/>
                    </a:lnTo>
                    <a:lnTo>
                      <a:pt x="1574" y="4746"/>
                    </a:lnTo>
                    <a:lnTo>
                      <a:pt x="1574" y="4746"/>
                    </a:lnTo>
                    <a:close/>
                    <a:moveTo>
                      <a:pt x="1658" y="4404"/>
                    </a:moveTo>
                    <a:lnTo>
                      <a:pt x="1658" y="4404"/>
                    </a:lnTo>
                    <a:lnTo>
                      <a:pt x="1630" y="4386"/>
                    </a:lnTo>
                    <a:lnTo>
                      <a:pt x="1602" y="4368"/>
                    </a:lnTo>
                    <a:lnTo>
                      <a:pt x="1576" y="4348"/>
                    </a:lnTo>
                    <a:lnTo>
                      <a:pt x="1550" y="4326"/>
                    </a:lnTo>
                    <a:lnTo>
                      <a:pt x="1526" y="4304"/>
                    </a:lnTo>
                    <a:lnTo>
                      <a:pt x="1504" y="4280"/>
                    </a:lnTo>
                    <a:lnTo>
                      <a:pt x="1484" y="4254"/>
                    </a:lnTo>
                    <a:lnTo>
                      <a:pt x="1464" y="4228"/>
                    </a:lnTo>
                    <a:lnTo>
                      <a:pt x="1446" y="4202"/>
                    </a:lnTo>
                    <a:lnTo>
                      <a:pt x="1428" y="4174"/>
                    </a:lnTo>
                    <a:lnTo>
                      <a:pt x="1414" y="4144"/>
                    </a:lnTo>
                    <a:lnTo>
                      <a:pt x="1400" y="4114"/>
                    </a:lnTo>
                    <a:lnTo>
                      <a:pt x="1388" y="4084"/>
                    </a:lnTo>
                    <a:lnTo>
                      <a:pt x="1378" y="4052"/>
                    </a:lnTo>
                    <a:lnTo>
                      <a:pt x="1368" y="4020"/>
                    </a:lnTo>
                    <a:lnTo>
                      <a:pt x="1362" y="3988"/>
                    </a:lnTo>
                    <a:lnTo>
                      <a:pt x="1238" y="3310"/>
                    </a:lnTo>
                    <a:lnTo>
                      <a:pt x="286" y="2752"/>
                    </a:lnTo>
                    <a:lnTo>
                      <a:pt x="286" y="1148"/>
                    </a:lnTo>
                    <a:lnTo>
                      <a:pt x="1868" y="2096"/>
                    </a:lnTo>
                    <a:lnTo>
                      <a:pt x="2494" y="1794"/>
                    </a:lnTo>
                    <a:lnTo>
                      <a:pt x="2494" y="1794"/>
                    </a:lnTo>
                    <a:lnTo>
                      <a:pt x="2532" y="1776"/>
                    </a:lnTo>
                    <a:lnTo>
                      <a:pt x="2570" y="1762"/>
                    </a:lnTo>
                    <a:lnTo>
                      <a:pt x="2608" y="1752"/>
                    </a:lnTo>
                    <a:lnTo>
                      <a:pt x="2646" y="1742"/>
                    </a:lnTo>
                    <a:lnTo>
                      <a:pt x="2684" y="1736"/>
                    </a:lnTo>
                    <a:lnTo>
                      <a:pt x="2724" y="1730"/>
                    </a:lnTo>
                    <a:lnTo>
                      <a:pt x="2764" y="1728"/>
                    </a:lnTo>
                    <a:lnTo>
                      <a:pt x="2802" y="1730"/>
                    </a:lnTo>
                    <a:lnTo>
                      <a:pt x="2842" y="1732"/>
                    </a:lnTo>
                    <a:lnTo>
                      <a:pt x="2880" y="1738"/>
                    </a:lnTo>
                    <a:lnTo>
                      <a:pt x="2918" y="1744"/>
                    </a:lnTo>
                    <a:lnTo>
                      <a:pt x="2958" y="1754"/>
                    </a:lnTo>
                    <a:lnTo>
                      <a:pt x="2994" y="1766"/>
                    </a:lnTo>
                    <a:lnTo>
                      <a:pt x="3032" y="1782"/>
                    </a:lnTo>
                    <a:lnTo>
                      <a:pt x="3068" y="1798"/>
                    </a:lnTo>
                    <a:lnTo>
                      <a:pt x="3104" y="1818"/>
                    </a:lnTo>
                    <a:lnTo>
                      <a:pt x="3162" y="1850"/>
                    </a:lnTo>
                    <a:lnTo>
                      <a:pt x="1732" y="3102"/>
                    </a:lnTo>
                    <a:lnTo>
                      <a:pt x="1732" y="3102"/>
                    </a:lnTo>
                    <a:lnTo>
                      <a:pt x="1698" y="3134"/>
                    </a:lnTo>
                    <a:lnTo>
                      <a:pt x="1666" y="3172"/>
                    </a:lnTo>
                    <a:lnTo>
                      <a:pt x="1638" y="3212"/>
                    </a:lnTo>
                    <a:lnTo>
                      <a:pt x="1616" y="3254"/>
                    </a:lnTo>
                    <a:lnTo>
                      <a:pt x="1596" y="3296"/>
                    </a:lnTo>
                    <a:lnTo>
                      <a:pt x="1582" y="3342"/>
                    </a:lnTo>
                    <a:lnTo>
                      <a:pt x="1572" y="3390"/>
                    </a:lnTo>
                    <a:lnTo>
                      <a:pt x="1566" y="3438"/>
                    </a:lnTo>
                    <a:lnTo>
                      <a:pt x="1566" y="3438"/>
                    </a:lnTo>
                    <a:lnTo>
                      <a:pt x="1564" y="3488"/>
                    </a:lnTo>
                    <a:lnTo>
                      <a:pt x="1568" y="3536"/>
                    </a:lnTo>
                    <a:lnTo>
                      <a:pt x="1578" y="3582"/>
                    </a:lnTo>
                    <a:lnTo>
                      <a:pt x="1590" y="3628"/>
                    </a:lnTo>
                    <a:lnTo>
                      <a:pt x="1608" y="3674"/>
                    </a:lnTo>
                    <a:lnTo>
                      <a:pt x="1630" y="3716"/>
                    </a:lnTo>
                    <a:lnTo>
                      <a:pt x="1656" y="3756"/>
                    </a:lnTo>
                    <a:lnTo>
                      <a:pt x="1686" y="3794"/>
                    </a:lnTo>
                    <a:lnTo>
                      <a:pt x="1686" y="3794"/>
                    </a:lnTo>
                    <a:lnTo>
                      <a:pt x="1704" y="3814"/>
                    </a:lnTo>
                    <a:lnTo>
                      <a:pt x="1722" y="3832"/>
                    </a:lnTo>
                    <a:lnTo>
                      <a:pt x="1740" y="3848"/>
                    </a:lnTo>
                    <a:lnTo>
                      <a:pt x="1760" y="3862"/>
                    </a:lnTo>
                    <a:lnTo>
                      <a:pt x="1778" y="3878"/>
                    </a:lnTo>
                    <a:lnTo>
                      <a:pt x="1800" y="3890"/>
                    </a:lnTo>
                    <a:lnTo>
                      <a:pt x="1842" y="3914"/>
                    </a:lnTo>
                    <a:lnTo>
                      <a:pt x="1886" y="3932"/>
                    </a:lnTo>
                    <a:lnTo>
                      <a:pt x="1930" y="3946"/>
                    </a:lnTo>
                    <a:lnTo>
                      <a:pt x="1978" y="3956"/>
                    </a:lnTo>
                    <a:lnTo>
                      <a:pt x="2024" y="3962"/>
                    </a:lnTo>
                    <a:lnTo>
                      <a:pt x="2072" y="3962"/>
                    </a:lnTo>
                    <a:lnTo>
                      <a:pt x="2118" y="3958"/>
                    </a:lnTo>
                    <a:lnTo>
                      <a:pt x="2166" y="3950"/>
                    </a:lnTo>
                    <a:lnTo>
                      <a:pt x="2212" y="3938"/>
                    </a:lnTo>
                    <a:lnTo>
                      <a:pt x="2256" y="3920"/>
                    </a:lnTo>
                    <a:lnTo>
                      <a:pt x="2278" y="3910"/>
                    </a:lnTo>
                    <a:lnTo>
                      <a:pt x="2300" y="3898"/>
                    </a:lnTo>
                    <a:lnTo>
                      <a:pt x="2320" y="3886"/>
                    </a:lnTo>
                    <a:lnTo>
                      <a:pt x="2342" y="3872"/>
                    </a:lnTo>
                    <a:lnTo>
                      <a:pt x="2362" y="3856"/>
                    </a:lnTo>
                    <a:lnTo>
                      <a:pt x="2382" y="3840"/>
                    </a:lnTo>
                    <a:lnTo>
                      <a:pt x="2882" y="3398"/>
                    </a:lnTo>
                    <a:lnTo>
                      <a:pt x="2882" y="3398"/>
                    </a:lnTo>
                    <a:lnTo>
                      <a:pt x="2928" y="3360"/>
                    </a:lnTo>
                    <a:lnTo>
                      <a:pt x="2976" y="3326"/>
                    </a:lnTo>
                    <a:lnTo>
                      <a:pt x="3024" y="3296"/>
                    </a:lnTo>
                    <a:lnTo>
                      <a:pt x="3074" y="3272"/>
                    </a:lnTo>
                    <a:lnTo>
                      <a:pt x="3122" y="3252"/>
                    </a:lnTo>
                    <a:lnTo>
                      <a:pt x="3148" y="3244"/>
                    </a:lnTo>
                    <a:lnTo>
                      <a:pt x="3172" y="3238"/>
                    </a:lnTo>
                    <a:lnTo>
                      <a:pt x="3198" y="3232"/>
                    </a:lnTo>
                    <a:lnTo>
                      <a:pt x="3222" y="3228"/>
                    </a:lnTo>
                    <a:lnTo>
                      <a:pt x="3248" y="3226"/>
                    </a:lnTo>
                    <a:lnTo>
                      <a:pt x="3274" y="3224"/>
                    </a:lnTo>
                    <a:lnTo>
                      <a:pt x="3298" y="3222"/>
                    </a:lnTo>
                    <a:lnTo>
                      <a:pt x="3324" y="3224"/>
                    </a:lnTo>
                    <a:lnTo>
                      <a:pt x="3377" y="3228"/>
                    </a:lnTo>
                    <a:lnTo>
                      <a:pt x="3429" y="3238"/>
                    </a:lnTo>
                    <a:lnTo>
                      <a:pt x="3483" y="3254"/>
                    </a:lnTo>
                    <a:lnTo>
                      <a:pt x="3537" y="3272"/>
                    </a:lnTo>
                    <a:lnTo>
                      <a:pt x="3591" y="3298"/>
                    </a:lnTo>
                    <a:lnTo>
                      <a:pt x="3645" y="3326"/>
                    </a:lnTo>
                    <a:lnTo>
                      <a:pt x="3701" y="3360"/>
                    </a:lnTo>
                    <a:lnTo>
                      <a:pt x="5341" y="4200"/>
                    </a:lnTo>
                    <a:lnTo>
                      <a:pt x="5341" y="4200"/>
                    </a:lnTo>
                    <a:lnTo>
                      <a:pt x="5349" y="4204"/>
                    </a:lnTo>
                    <a:lnTo>
                      <a:pt x="5357" y="4210"/>
                    </a:lnTo>
                    <a:lnTo>
                      <a:pt x="5365" y="4224"/>
                    </a:lnTo>
                    <a:lnTo>
                      <a:pt x="5371" y="4236"/>
                    </a:lnTo>
                    <a:lnTo>
                      <a:pt x="5373" y="4246"/>
                    </a:lnTo>
                    <a:lnTo>
                      <a:pt x="5373" y="4246"/>
                    </a:lnTo>
                    <a:lnTo>
                      <a:pt x="5373" y="4258"/>
                    </a:lnTo>
                    <a:lnTo>
                      <a:pt x="5373" y="4270"/>
                    </a:lnTo>
                    <a:lnTo>
                      <a:pt x="5367" y="4284"/>
                    </a:lnTo>
                    <a:lnTo>
                      <a:pt x="5363" y="4292"/>
                    </a:lnTo>
                    <a:lnTo>
                      <a:pt x="5359" y="4298"/>
                    </a:lnTo>
                    <a:lnTo>
                      <a:pt x="3997" y="5540"/>
                    </a:lnTo>
                    <a:lnTo>
                      <a:pt x="3985" y="5558"/>
                    </a:lnTo>
                    <a:lnTo>
                      <a:pt x="3985" y="5558"/>
                    </a:lnTo>
                    <a:lnTo>
                      <a:pt x="3979" y="5568"/>
                    </a:lnTo>
                    <a:lnTo>
                      <a:pt x="3971" y="5578"/>
                    </a:lnTo>
                    <a:lnTo>
                      <a:pt x="3953" y="5594"/>
                    </a:lnTo>
                    <a:lnTo>
                      <a:pt x="3933" y="5606"/>
                    </a:lnTo>
                    <a:lnTo>
                      <a:pt x="3911" y="5614"/>
                    </a:lnTo>
                    <a:lnTo>
                      <a:pt x="3889" y="5616"/>
                    </a:lnTo>
                    <a:lnTo>
                      <a:pt x="3865" y="5616"/>
                    </a:lnTo>
                    <a:lnTo>
                      <a:pt x="3841" y="5610"/>
                    </a:lnTo>
                    <a:lnTo>
                      <a:pt x="3831" y="5604"/>
                    </a:lnTo>
                    <a:lnTo>
                      <a:pt x="3819" y="5598"/>
                    </a:lnTo>
                    <a:lnTo>
                      <a:pt x="1658" y="4404"/>
                    </a:lnTo>
                    <a:close/>
                    <a:moveTo>
                      <a:pt x="5231" y="3404"/>
                    </a:moveTo>
                    <a:lnTo>
                      <a:pt x="5215" y="3814"/>
                    </a:lnTo>
                    <a:lnTo>
                      <a:pt x="3851" y="3116"/>
                    </a:lnTo>
                    <a:lnTo>
                      <a:pt x="3851" y="3116"/>
                    </a:lnTo>
                    <a:lnTo>
                      <a:pt x="3813" y="3092"/>
                    </a:lnTo>
                    <a:lnTo>
                      <a:pt x="3775" y="3070"/>
                    </a:lnTo>
                    <a:lnTo>
                      <a:pt x="3737" y="3050"/>
                    </a:lnTo>
                    <a:lnTo>
                      <a:pt x="3699" y="3032"/>
                    </a:lnTo>
                    <a:lnTo>
                      <a:pt x="3661" y="3014"/>
                    </a:lnTo>
                    <a:lnTo>
                      <a:pt x="3623" y="2998"/>
                    </a:lnTo>
                    <a:lnTo>
                      <a:pt x="3585" y="2986"/>
                    </a:lnTo>
                    <a:lnTo>
                      <a:pt x="3547" y="2974"/>
                    </a:lnTo>
                    <a:lnTo>
                      <a:pt x="3511" y="2962"/>
                    </a:lnTo>
                    <a:lnTo>
                      <a:pt x="3473" y="2954"/>
                    </a:lnTo>
                    <a:lnTo>
                      <a:pt x="3435" y="2946"/>
                    </a:lnTo>
                    <a:lnTo>
                      <a:pt x="3399" y="2942"/>
                    </a:lnTo>
                    <a:lnTo>
                      <a:pt x="3361" y="2938"/>
                    </a:lnTo>
                    <a:lnTo>
                      <a:pt x="3324" y="2936"/>
                    </a:lnTo>
                    <a:lnTo>
                      <a:pt x="3286" y="2936"/>
                    </a:lnTo>
                    <a:lnTo>
                      <a:pt x="3250" y="2936"/>
                    </a:lnTo>
                    <a:lnTo>
                      <a:pt x="3214" y="2940"/>
                    </a:lnTo>
                    <a:lnTo>
                      <a:pt x="3178" y="2944"/>
                    </a:lnTo>
                    <a:lnTo>
                      <a:pt x="3142" y="2950"/>
                    </a:lnTo>
                    <a:lnTo>
                      <a:pt x="3106" y="2958"/>
                    </a:lnTo>
                    <a:lnTo>
                      <a:pt x="3070" y="2968"/>
                    </a:lnTo>
                    <a:lnTo>
                      <a:pt x="3034" y="2980"/>
                    </a:lnTo>
                    <a:lnTo>
                      <a:pt x="2998" y="2992"/>
                    </a:lnTo>
                    <a:lnTo>
                      <a:pt x="2964" y="3006"/>
                    </a:lnTo>
                    <a:lnTo>
                      <a:pt x="2930" y="3024"/>
                    </a:lnTo>
                    <a:lnTo>
                      <a:pt x="2894" y="3042"/>
                    </a:lnTo>
                    <a:lnTo>
                      <a:pt x="2860" y="3060"/>
                    </a:lnTo>
                    <a:lnTo>
                      <a:pt x="2826" y="3082"/>
                    </a:lnTo>
                    <a:lnTo>
                      <a:pt x="2792" y="3106"/>
                    </a:lnTo>
                    <a:lnTo>
                      <a:pt x="2758" y="3130"/>
                    </a:lnTo>
                    <a:lnTo>
                      <a:pt x="2726" y="3156"/>
                    </a:lnTo>
                    <a:lnTo>
                      <a:pt x="2692" y="3184"/>
                    </a:lnTo>
                    <a:lnTo>
                      <a:pt x="2192" y="3626"/>
                    </a:lnTo>
                    <a:lnTo>
                      <a:pt x="2192" y="3626"/>
                    </a:lnTo>
                    <a:lnTo>
                      <a:pt x="2176" y="3638"/>
                    </a:lnTo>
                    <a:lnTo>
                      <a:pt x="2158" y="3650"/>
                    </a:lnTo>
                    <a:lnTo>
                      <a:pt x="2140" y="3660"/>
                    </a:lnTo>
                    <a:lnTo>
                      <a:pt x="2122" y="3666"/>
                    </a:lnTo>
                    <a:lnTo>
                      <a:pt x="2102" y="3672"/>
                    </a:lnTo>
                    <a:lnTo>
                      <a:pt x="2082" y="3676"/>
                    </a:lnTo>
                    <a:lnTo>
                      <a:pt x="2062" y="3676"/>
                    </a:lnTo>
                    <a:lnTo>
                      <a:pt x="2042" y="3676"/>
                    </a:lnTo>
                    <a:lnTo>
                      <a:pt x="2024" y="3674"/>
                    </a:lnTo>
                    <a:lnTo>
                      <a:pt x="2004" y="3670"/>
                    </a:lnTo>
                    <a:lnTo>
                      <a:pt x="1984" y="3664"/>
                    </a:lnTo>
                    <a:lnTo>
                      <a:pt x="1966" y="3656"/>
                    </a:lnTo>
                    <a:lnTo>
                      <a:pt x="1948" y="3646"/>
                    </a:lnTo>
                    <a:lnTo>
                      <a:pt x="1932" y="3634"/>
                    </a:lnTo>
                    <a:lnTo>
                      <a:pt x="1916" y="3622"/>
                    </a:lnTo>
                    <a:lnTo>
                      <a:pt x="1902" y="3606"/>
                    </a:lnTo>
                    <a:lnTo>
                      <a:pt x="1902" y="3606"/>
                    </a:lnTo>
                    <a:lnTo>
                      <a:pt x="1888" y="3590"/>
                    </a:lnTo>
                    <a:lnTo>
                      <a:pt x="1878" y="3574"/>
                    </a:lnTo>
                    <a:lnTo>
                      <a:pt x="1868" y="3556"/>
                    </a:lnTo>
                    <a:lnTo>
                      <a:pt x="1862" y="3538"/>
                    </a:lnTo>
                    <a:lnTo>
                      <a:pt x="1856" y="3518"/>
                    </a:lnTo>
                    <a:lnTo>
                      <a:pt x="1852" y="3498"/>
                    </a:lnTo>
                    <a:lnTo>
                      <a:pt x="1850" y="3478"/>
                    </a:lnTo>
                    <a:lnTo>
                      <a:pt x="1852" y="3458"/>
                    </a:lnTo>
                    <a:lnTo>
                      <a:pt x="1852" y="3458"/>
                    </a:lnTo>
                    <a:lnTo>
                      <a:pt x="1854" y="3438"/>
                    </a:lnTo>
                    <a:lnTo>
                      <a:pt x="1858" y="3418"/>
                    </a:lnTo>
                    <a:lnTo>
                      <a:pt x="1864" y="3398"/>
                    </a:lnTo>
                    <a:lnTo>
                      <a:pt x="1872" y="3380"/>
                    </a:lnTo>
                    <a:lnTo>
                      <a:pt x="1882" y="3362"/>
                    </a:lnTo>
                    <a:lnTo>
                      <a:pt x="1894" y="3346"/>
                    </a:lnTo>
                    <a:lnTo>
                      <a:pt x="1906" y="3330"/>
                    </a:lnTo>
                    <a:lnTo>
                      <a:pt x="1920" y="3316"/>
                    </a:lnTo>
                    <a:lnTo>
                      <a:pt x="3359" y="2060"/>
                    </a:lnTo>
                    <a:lnTo>
                      <a:pt x="3359" y="2060"/>
                    </a:lnTo>
                    <a:lnTo>
                      <a:pt x="3383" y="2038"/>
                    </a:lnTo>
                    <a:lnTo>
                      <a:pt x="3409" y="2020"/>
                    </a:lnTo>
                    <a:lnTo>
                      <a:pt x="3437" y="2004"/>
                    </a:lnTo>
                    <a:lnTo>
                      <a:pt x="3465" y="1990"/>
                    </a:lnTo>
                    <a:lnTo>
                      <a:pt x="3493" y="1978"/>
                    </a:lnTo>
                    <a:lnTo>
                      <a:pt x="3523" y="1970"/>
                    </a:lnTo>
                    <a:lnTo>
                      <a:pt x="3553" y="1962"/>
                    </a:lnTo>
                    <a:lnTo>
                      <a:pt x="3583" y="1956"/>
                    </a:lnTo>
                    <a:lnTo>
                      <a:pt x="3615" y="1954"/>
                    </a:lnTo>
                    <a:lnTo>
                      <a:pt x="3645" y="1952"/>
                    </a:lnTo>
                    <a:lnTo>
                      <a:pt x="3677" y="1954"/>
                    </a:lnTo>
                    <a:lnTo>
                      <a:pt x="3707" y="1956"/>
                    </a:lnTo>
                    <a:lnTo>
                      <a:pt x="3739" y="1962"/>
                    </a:lnTo>
                    <a:lnTo>
                      <a:pt x="3769" y="1970"/>
                    </a:lnTo>
                    <a:lnTo>
                      <a:pt x="3799" y="1982"/>
                    </a:lnTo>
                    <a:lnTo>
                      <a:pt x="3829" y="1994"/>
                    </a:lnTo>
                    <a:lnTo>
                      <a:pt x="4333" y="2234"/>
                    </a:lnTo>
                    <a:lnTo>
                      <a:pt x="6423" y="464"/>
                    </a:lnTo>
                    <a:lnTo>
                      <a:pt x="6423" y="2402"/>
                    </a:lnTo>
                    <a:lnTo>
                      <a:pt x="5231" y="3404"/>
                    </a:lnTo>
                    <a:close/>
                    <a:moveTo>
                      <a:pt x="6191" y="286"/>
                    </a:moveTo>
                    <a:lnTo>
                      <a:pt x="4289" y="1896"/>
                    </a:lnTo>
                    <a:lnTo>
                      <a:pt x="3951" y="1736"/>
                    </a:lnTo>
                    <a:lnTo>
                      <a:pt x="3951" y="1736"/>
                    </a:lnTo>
                    <a:lnTo>
                      <a:pt x="3921" y="1722"/>
                    </a:lnTo>
                    <a:lnTo>
                      <a:pt x="3891" y="1710"/>
                    </a:lnTo>
                    <a:lnTo>
                      <a:pt x="3861" y="1700"/>
                    </a:lnTo>
                    <a:lnTo>
                      <a:pt x="3831" y="1690"/>
                    </a:lnTo>
                    <a:lnTo>
                      <a:pt x="3799" y="1684"/>
                    </a:lnTo>
                    <a:lnTo>
                      <a:pt x="3769" y="1678"/>
                    </a:lnTo>
                    <a:lnTo>
                      <a:pt x="3737" y="1672"/>
                    </a:lnTo>
                    <a:lnTo>
                      <a:pt x="3705" y="1670"/>
                    </a:lnTo>
                    <a:lnTo>
                      <a:pt x="3675" y="1668"/>
                    </a:lnTo>
                    <a:lnTo>
                      <a:pt x="3643" y="1666"/>
                    </a:lnTo>
                    <a:lnTo>
                      <a:pt x="3611" y="1668"/>
                    </a:lnTo>
                    <a:lnTo>
                      <a:pt x="3579" y="1670"/>
                    </a:lnTo>
                    <a:lnTo>
                      <a:pt x="3549" y="1674"/>
                    </a:lnTo>
                    <a:lnTo>
                      <a:pt x="3517" y="1678"/>
                    </a:lnTo>
                    <a:lnTo>
                      <a:pt x="3487" y="1684"/>
                    </a:lnTo>
                    <a:lnTo>
                      <a:pt x="3457" y="1692"/>
                    </a:lnTo>
                    <a:lnTo>
                      <a:pt x="3248" y="1570"/>
                    </a:lnTo>
                    <a:lnTo>
                      <a:pt x="3248" y="1570"/>
                    </a:lnTo>
                    <a:lnTo>
                      <a:pt x="3196" y="1542"/>
                    </a:lnTo>
                    <a:lnTo>
                      <a:pt x="3144" y="1518"/>
                    </a:lnTo>
                    <a:lnTo>
                      <a:pt x="3092" y="1498"/>
                    </a:lnTo>
                    <a:lnTo>
                      <a:pt x="3036" y="1480"/>
                    </a:lnTo>
                    <a:lnTo>
                      <a:pt x="2982" y="1466"/>
                    </a:lnTo>
                    <a:lnTo>
                      <a:pt x="2926" y="1454"/>
                    </a:lnTo>
                    <a:lnTo>
                      <a:pt x="2870" y="1448"/>
                    </a:lnTo>
                    <a:lnTo>
                      <a:pt x="2814" y="1444"/>
                    </a:lnTo>
                    <a:lnTo>
                      <a:pt x="2758" y="1442"/>
                    </a:lnTo>
                    <a:lnTo>
                      <a:pt x="2700" y="1446"/>
                    </a:lnTo>
                    <a:lnTo>
                      <a:pt x="2644" y="1452"/>
                    </a:lnTo>
                    <a:lnTo>
                      <a:pt x="2588" y="1462"/>
                    </a:lnTo>
                    <a:lnTo>
                      <a:pt x="2532" y="1476"/>
                    </a:lnTo>
                    <a:lnTo>
                      <a:pt x="2478" y="1492"/>
                    </a:lnTo>
                    <a:lnTo>
                      <a:pt x="2424" y="1512"/>
                    </a:lnTo>
                    <a:lnTo>
                      <a:pt x="2370" y="1536"/>
                    </a:lnTo>
                    <a:lnTo>
                      <a:pt x="1884" y="1770"/>
                    </a:lnTo>
                    <a:lnTo>
                      <a:pt x="286" y="814"/>
                    </a:lnTo>
                    <a:lnTo>
                      <a:pt x="286" y="286"/>
                    </a:lnTo>
                    <a:lnTo>
                      <a:pt x="6191" y="286"/>
                    </a:lnTo>
                    <a:close/>
                    <a:moveTo>
                      <a:pt x="286" y="6422"/>
                    </a:moveTo>
                    <a:lnTo>
                      <a:pt x="286" y="3084"/>
                    </a:lnTo>
                    <a:lnTo>
                      <a:pt x="980" y="3492"/>
                    </a:lnTo>
                    <a:lnTo>
                      <a:pt x="1080" y="4038"/>
                    </a:lnTo>
                    <a:lnTo>
                      <a:pt x="1080" y="4038"/>
                    </a:lnTo>
                    <a:lnTo>
                      <a:pt x="1088" y="4076"/>
                    </a:lnTo>
                    <a:lnTo>
                      <a:pt x="1096" y="4112"/>
                    </a:lnTo>
                    <a:lnTo>
                      <a:pt x="1108" y="4148"/>
                    </a:lnTo>
                    <a:lnTo>
                      <a:pt x="1120" y="4184"/>
                    </a:lnTo>
                    <a:lnTo>
                      <a:pt x="1134" y="4218"/>
                    </a:lnTo>
                    <a:lnTo>
                      <a:pt x="1148" y="4252"/>
                    </a:lnTo>
                    <a:lnTo>
                      <a:pt x="1164" y="4286"/>
                    </a:lnTo>
                    <a:lnTo>
                      <a:pt x="1182" y="4318"/>
                    </a:lnTo>
                    <a:lnTo>
                      <a:pt x="1202" y="4350"/>
                    </a:lnTo>
                    <a:lnTo>
                      <a:pt x="1222" y="4382"/>
                    </a:lnTo>
                    <a:lnTo>
                      <a:pt x="1244" y="4412"/>
                    </a:lnTo>
                    <a:lnTo>
                      <a:pt x="1266" y="4440"/>
                    </a:lnTo>
                    <a:lnTo>
                      <a:pt x="1290" y="4468"/>
                    </a:lnTo>
                    <a:lnTo>
                      <a:pt x="1316" y="4496"/>
                    </a:lnTo>
                    <a:lnTo>
                      <a:pt x="1342" y="4522"/>
                    </a:lnTo>
                    <a:lnTo>
                      <a:pt x="1370" y="4548"/>
                    </a:lnTo>
                    <a:lnTo>
                      <a:pt x="1370" y="4548"/>
                    </a:lnTo>
                    <a:lnTo>
                      <a:pt x="1342" y="4578"/>
                    </a:lnTo>
                    <a:lnTo>
                      <a:pt x="1318" y="4610"/>
                    </a:lnTo>
                    <a:lnTo>
                      <a:pt x="1296" y="4644"/>
                    </a:lnTo>
                    <a:lnTo>
                      <a:pt x="1278" y="4680"/>
                    </a:lnTo>
                    <a:lnTo>
                      <a:pt x="1264" y="4716"/>
                    </a:lnTo>
                    <a:lnTo>
                      <a:pt x="1254" y="4754"/>
                    </a:lnTo>
                    <a:lnTo>
                      <a:pt x="1246" y="4794"/>
                    </a:lnTo>
                    <a:lnTo>
                      <a:pt x="1242" y="4832"/>
                    </a:lnTo>
                    <a:lnTo>
                      <a:pt x="1244" y="4872"/>
                    </a:lnTo>
                    <a:lnTo>
                      <a:pt x="1246" y="4912"/>
                    </a:lnTo>
                    <a:lnTo>
                      <a:pt x="1254" y="4950"/>
                    </a:lnTo>
                    <a:lnTo>
                      <a:pt x="1266" y="4988"/>
                    </a:lnTo>
                    <a:lnTo>
                      <a:pt x="1280" y="5026"/>
                    </a:lnTo>
                    <a:lnTo>
                      <a:pt x="1300" y="5062"/>
                    </a:lnTo>
                    <a:lnTo>
                      <a:pt x="1322" y="5098"/>
                    </a:lnTo>
                    <a:lnTo>
                      <a:pt x="1348" y="5132"/>
                    </a:lnTo>
                    <a:lnTo>
                      <a:pt x="2118" y="5944"/>
                    </a:lnTo>
                    <a:lnTo>
                      <a:pt x="2118" y="5944"/>
                    </a:lnTo>
                    <a:lnTo>
                      <a:pt x="2146" y="5976"/>
                    </a:lnTo>
                    <a:lnTo>
                      <a:pt x="2178" y="6002"/>
                    </a:lnTo>
                    <a:lnTo>
                      <a:pt x="2212" y="6026"/>
                    </a:lnTo>
                    <a:lnTo>
                      <a:pt x="2248" y="6046"/>
                    </a:lnTo>
                    <a:lnTo>
                      <a:pt x="2286" y="6064"/>
                    </a:lnTo>
                    <a:lnTo>
                      <a:pt x="2326" y="6076"/>
                    </a:lnTo>
                    <a:lnTo>
                      <a:pt x="2368" y="6086"/>
                    </a:lnTo>
                    <a:lnTo>
                      <a:pt x="2410" y="6090"/>
                    </a:lnTo>
                    <a:lnTo>
                      <a:pt x="2410" y="6090"/>
                    </a:lnTo>
                    <a:lnTo>
                      <a:pt x="2440" y="6092"/>
                    </a:lnTo>
                    <a:lnTo>
                      <a:pt x="2440" y="6092"/>
                    </a:lnTo>
                    <a:lnTo>
                      <a:pt x="2478" y="6090"/>
                    </a:lnTo>
                    <a:lnTo>
                      <a:pt x="2516" y="6086"/>
                    </a:lnTo>
                    <a:lnTo>
                      <a:pt x="2552" y="6076"/>
                    </a:lnTo>
                    <a:lnTo>
                      <a:pt x="2588" y="6066"/>
                    </a:lnTo>
                    <a:lnTo>
                      <a:pt x="2622" y="6050"/>
                    </a:lnTo>
                    <a:lnTo>
                      <a:pt x="2656" y="6032"/>
                    </a:lnTo>
                    <a:lnTo>
                      <a:pt x="2688" y="6012"/>
                    </a:lnTo>
                    <a:lnTo>
                      <a:pt x="2718" y="5988"/>
                    </a:lnTo>
                    <a:lnTo>
                      <a:pt x="3194" y="5580"/>
                    </a:lnTo>
                    <a:lnTo>
                      <a:pt x="3677" y="5848"/>
                    </a:lnTo>
                    <a:lnTo>
                      <a:pt x="3677" y="5848"/>
                    </a:lnTo>
                    <a:lnTo>
                      <a:pt x="3701" y="5860"/>
                    </a:lnTo>
                    <a:lnTo>
                      <a:pt x="3727" y="5872"/>
                    </a:lnTo>
                    <a:lnTo>
                      <a:pt x="3751" y="5882"/>
                    </a:lnTo>
                    <a:lnTo>
                      <a:pt x="3777" y="5890"/>
                    </a:lnTo>
                    <a:lnTo>
                      <a:pt x="3803" y="5896"/>
                    </a:lnTo>
                    <a:lnTo>
                      <a:pt x="3829" y="5900"/>
                    </a:lnTo>
                    <a:lnTo>
                      <a:pt x="3855" y="5902"/>
                    </a:lnTo>
                    <a:lnTo>
                      <a:pt x="3881" y="5904"/>
                    </a:lnTo>
                    <a:lnTo>
                      <a:pt x="3881" y="5904"/>
                    </a:lnTo>
                    <a:lnTo>
                      <a:pt x="3907" y="5902"/>
                    </a:lnTo>
                    <a:lnTo>
                      <a:pt x="3931" y="5900"/>
                    </a:lnTo>
                    <a:lnTo>
                      <a:pt x="3955" y="5896"/>
                    </a:lnTo>
                    <a:lnTo>
                      <a:pt x="3979" y="5892"/>
                    </a:lnTo>
                    <a:lnTo>
                      <a:pt x="4003" y="5886"/>
                    </a:lnTo>
                    <a:lnTo>
                      <a:pt x="4025" y="5878"/>
                    </a:lnTo>
                    <a:lnTo>
                      <a:pt x="4049" y="5868"/>
                    </a:lnTo>
                    <a:lnTo>
                      <a:pt x="4071" y="5858"/>
                    </a:lnTo>
                    <a:lnTo>
                      <a:pt x="4093" y="5846"/>
                    </a:lnTo>
                    <a:lnTo>
                      <a:pt x="4113" y="5832"/>
                    </a:lnTo>
                    <a:lnTo>
                      <a:pt x="4133" y="5816"/>
                    </a:lnTo>
                    <a:lnTo>
                      <a:pt x="4153" y="5800"/>
                    </a:lnTo>
                    <a:lnTo>
                      <a:pt x="4171" y="5784"/>
                    </a:lnTo>
                    <a:lnTo>
                      <a:pt x="4187" y="5766"/>
                    </a:lnTo>
                    <a:lnTo>
                      <a:pt x="4203" y="5746"/>
                    </a:lnTo>
                    <a:lnTo>
                      <a:pt x="4219" y="5724"/>
                    </a:lnTo>
                    <a:lnTo>
                      <a:pt x="5555" y="4506"/>
                    </a:lnTo>
                    <a:lnTo>
                      <a:pt x="5555" y="4506"/>
                    </a:lnTo>
                    <a:lnTo>
                      <a:pt x="5583" y="4476"/>
                    </a:lnTo>
                    <a:lnTo>
                      <a:pt x="5607" y="4442"/>
                    </a:lnTo>
                    <a:lnTo>
                      <a:pt x="5625" y="4408"/>
                    </a:lnTo>
                    <a:lnTo>
                      <a:pt x="5641" y="4370"/>
                    </a:lnTo>
                    <a:lnTo>
                      <a:pt x="5651" y="4332"/>
                    </a:lnTo>
                    <a:lnTo>
                      <a:pt x="5659" y="4292"/>
                    </a:lnTo>
                    <a:lnTo>
                      <a:pt x="5659" y="4252"/>
                    </a:lnTo>
                    <a:lnTo>
                      <a:pt x="5657" y="4210"/>
                    </a:lnTo>
                    <a:lnTo>
                      <a:pt x="5657" y="4210"/>
                    </a:lnTo>
                    <a:lnTo>
                      <a:pt x="5651" y="4172"/>
                    </a:lnTo>
                    <a:lnTo>
                      <a:pt x="5639" y="4136"/>
                    </a:lnTo>
                    <a:lnTo>
                      <a:pt x="5625" y="4102"/>
                    </a:lnTo>
                    <a:lnTo>
                      <a:pt x="5605" y="4068"/>
                    </a:lnTo>
                    <a:lnTo>
                      <a:pt x="5583" y="4038"/>
                    </a:lnTo>
                    <a:lnTo>
                      <a:pt x="5559" y="4010"/>
                    </a:lnTo>
                    <a:lnTo>
                      <a:pt x="5529" y="3984"/>
                    </a:lnTo>
                    <a:lnTo>
                      <a:pt x="5497" y="3960"/>
                    </a:lnTo>
                    <a:lnTo>
                      <a:pt x="5513" y="3540"/>
                    </a:lnTo>
                    <a:lnTo>
                      <a:pt x="6423" y="2774"/>
                    </a:lnTo>
                    <a:lnTo>
                      <a:pt x="6423" y="6422"/>
                    </a:lnTo>
                    <a:lnTo>
                      <a:pt x="286" y="6422"/>
                    </a:lnTo>
                    <a:close/>
                  </a:path>
                </a:pathLst>
              </a:custGeom>
              <a:solidFill>
                <a:srgbClr val="A32020"/>
              </a:solidFill>
              <a:ln>
                <a:noFill/>
              </a:ln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/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6DBED1D0-6C34-470B-9F9D-4FDA97A7CC27}"/>
                  </a:ext>
                </a:extLst>
              </p:cNvPr>
              <p:cNvSpPr txBox="1"/>
              <p:nvPr/>
            </p:nvSpPr>
            <p:spPr>
              <a:xfrm>
                <a:off x="10493330" y="2777599"/>
                <a:ext cx="993608" cy="43088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" sz="1400" b="1" noProof="0" dirty="0">
                    <a:solidFill>
                      <a:schemeClr val="tx1"/>
                    </a:solidFill>
                    <a:cs typeface="Arial" pitchFamily="34" charset="0"/>
                  </a:rPr>
                  <a:t>Заемные средства</a:t>
                </a:r>
              </a:p>
            </p:txBody>
          </p:sp>
        </p:grp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02C026A6-01F2-436C-A525-78F31BEBEE91}"/>
                </a:ext>
              </a:extLst>
            </p:cNvPr>
            <p:cNvSpPr txBox="1"/>
            <p:nvPr/>
          </p:nvSpPr>
          <p:spPr>
            <a:xfrm>
              <a:off x="9914372" y="3321278"/>
              <a:ext cx="1469156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" sz="1400" noProof="0" dirty="0">
                  <a:solidFill>
                    <a:schemeClr val="tx1"/>
                  </a:solidFill>
                  <a:cs typeface="Arial" pitchFamily="34" charset="0"/>
                </a:rPr>
                <a:t>4,4 </a:t>
              </a:r>
              <a:r>
                <a:rPr lang="ru-RU" sz="1400" dirty="0">
                  <a:cs typeface="Arial" pitchFamily="34" charset="0"/>
                </a:rPr>
                <a:t>млн</a:t>
              </a:r>
              <a:r>
                <a:rPr lang="ru" sz="1400" noProof="0" dirty="0">
                  <a:solidFill>
                    <a:schemeClr val="tx1"/>
                  </a:solidFill>
                  <a:cs typeface="Arial" pitchFamily="34" charset="0"/>
                </a:rPr>
                <a:t> долл США</a:t>
              </a:r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815BF34E-E47A-4935-935E-F2AC482392AB}"/>
              </a:ext>
            </a:extLst>
          </p:cNvPr>
          <p:cNvGrpSpPr/>
          <p:nvPr/>
        </p:nvGrpSpPr>
        <p:grpSpPr>
          <a:xfrm>
            <a:off x="3594473" y="2999490"/>
            <a:ext cx="2307407" cy="773202"/>
            <a:chOff x="9914371" y="2763520"/>
            <a:chExt cx="2307407" cy="773202"/>
          </a:xfrm>
        </p:grpSpPr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58DFA0B9-A6AB-4287-9759-C5AB2EAE8F3F}"/>
                </a:ext>
              </a:extLst>
            </p:cNvPr>
            <p:cNvGrpSpPr/>
            <p:nvPr/>
          </p:nvGrpSpPr>
          <p:grpSpPr>
            <a:xfrm>
              <a:off x="10029681" y="2763520"/>
              <a:ext cx="2192097" cy="458019"/>
              <a:chOff x="10050891" y="2763520"/>
              <a:chExt cx="2192097" cy="458019"/>
            </a:xfrm>
          </p:grpSpPr>
          <p:sp>
            <p:nvSpPr>
              <p:cNvPr id="156" name="Freeform 73">
                <a:extLst>
                  <a:ext uri="{FF2B5EF4-FFF2-40B4-BE49-F238E27FC236}">
                    <a16:creationId xmlns:a16="http://schemas.microsoft.com/office/drawing/2014/main" id="{965BCA2E-A409-40C0-84AA-4E53834AC31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0050891" y="2763520"/>
                <a:ext cx="458087" cy="458019"/>
              </a:xfrm>
              <a:custGeom>
                <a:avLst/>
                <a:gdLst>
                  <a:gd name="T0" fmla="*/ 6709 w 6709"/>
                  <a:gd name="T1" fmla="*/ 0 h 6708"/>
                  <a:gd name="T2" fmla="*/ 2508 w 6709"/>
                  <a:gd name="T3" fmla="*/ 5788 h 6708"/>
                  <a:gd name="T4" fmla="*/ 2430 w 6709"/>
                  <a:gd name="T5" fmla="*/ 5806 h 6708"/>
                  <a:gd name="T6" fmla="*/ 2342 w 6709"/>
                  <a:gd name="T7" fmla="*/ 5764 h 6708"/>
                  <a:gd name="T8" fmla="*/ 1534 w 6709"/>
                  <a:gd name="T9" fmla="*/ 4892 h 6708"/>
                  <a:gd name="T10" fmla="*/ 1536 w 6709"/>
                  <a:gd name="T11" fmla="*/ 4802 h 6708"/>
                  <a:gd name="T12" fmla="*/ 1658 w 6709"/>
                  <a:gd name="T13" fmla="*/ 4404 h 6708"/>
                  <a:gd name="T14" fmla="*/ 1504 w 6709"/>
                  <a:gd name="T15" fmla="*/ 4280 h 6708"/>
                  <a:gd name="T16" fmla="*/ 1388 w 6709"/>
                  <a:gd name="T17" fmla="*/ 4084 h 6708"/>
                  <a:gd name="T18" fmla="*/ 1868 w 6709"/>
                  <a:gd name="T19" fmla="*/ 2096 h 6708"/>
                  <a:gd name="T20" fmla="*/ 2684 w 6709"/>
                  <a:gd name="T21" fmla="*/ 1736 h 6708"/>
                  <a:gd name="T22" fmla="*/ 2958 w 6709"/>
                  <a:gd name="T23" fmla="*/ 1754 h 6708"/>
                  <a:gd name="T24" fmla="*/ 1732 w 6709"/>
                  <a:gd name="T25" fmla="*/ 3102 h 6708"/>
                  <a:gd name="T26" fmla="*/ 1572 w 6709"/>
                  <a:gd name="T27" fmla="*/ 3390 h 6708"/>
                  <a:gd name="T28" fmla="*/ 1608 w 6709"/>
                  <a:gd name="T29" fmla="*/ 3674 h 6708"/>
                  <a:gd name="T30" fmla="*/ 1740 w 6709"/>
                  <a:gd name="T31" fmla="*/ 3848 h 6708"/>
                  <a:gd name="T32" fmla="*/ 1978 w 6709"/>
                  <a:gd name="T33" fmla="*/ 3956 h 6708"/>
                  <a:gd name="T34" fmla="*/ 2278 w 6709"/>
                  <a:gd name="T35" fmla="*/ 3910 h 6708"/>
                  <a:gd name="T36" fmla="*/ 2882 w 6709"/>
                  <a:gd name="T37" fmla="*/ 3398 h 6708"/>
                  <a:gd name="T38" fmla="*/ 3172 w 6709"/>
                  <a:gd name="T39" fmla="*/ 3238 h 6708"/>
                  <a:gd name="T40" fmla="*/ 3377 w 6709"/>
                  <a:gd name="T41" fmla="*/ 3228 h 6708"/>
                  <a:gd name="T42" fmla="*/ 5341 w 6709"/>
                  <a:gd name="T43" fmla="*/ 4200 h 6708"/>
                  <a:gd name="T44" fmla="*/ 5373 w 6709"/>
                  <a:gd name="T45" fmla="*/ 4246 h 6708"/>
                  <a:gd name="T46" fmla="*/ 3985 w 6709"/>
                  <a:gd name="T47" fmla="*/ 5558 h 6708"/>
                  <a:gd name="T48" fmla="*/ 3889 w 6709"/>
                  <a:gd name="T49" fmla="*/ 5616 h 6708"/>
                  <a:gd name="T50" fmla="*/ 5215 w 6709"/>
                  <a:gd name="T51" fmla="*/ 3814 h 6708"/>
                  <a:gd name="T52" fmla="*/ 3661 w 6709"/>
                  <a:gd name="T53" fmla="*/ 3014 h 6708"/>
                  <a:gd name="T54" fmla="*/ 3399 w 6709"/>
                  <a:gd name="T55" fmla="*/ 2942 h 6708"/>
                  <a:gd name="T56" fmla="*/ 3142 w 6709"/>
                  <a:gd name="T57" fmla="*/ 2950 h 6708"/>
                  <a:gd name="T58" fmla="*/ 2894 w 6709"/>
                  <a:gd name="T59" fmla="*/ 3042 h 6708"/>
                  <a:gd name="T60" fmla="*/ 2192 w 6709"/>
                  <a:gd name="T61" fmla="*/ 3626 h 6708"/>
                  <a:gd name="T62" fmla="*/ 2082 w 6709"/>
                  <a:gd name="T63" fmla="*/ 3676 h 6708"/>
                  <a:gd name="T64" fmla="*/ 1948 w 6709"/>
                  <a:gd name="T65" fmla="*/ 3646 h 6708"/>
                  <a:gd name="T66" fmla="*/ 1868 w 6709"/>
                  <a:gd name="T67" fmla="*/ 3556 h 6708"/>
                  <a:gd name="T68" fmla="*/ 1854 w 6709"/>
                  <a:gd name="T69" fmla="*/ 3438 h 6708"/>
                  <a:gd name="T70" fmla="*/ 1920 w 6709"/>
                  <a:gd name="T71" fmla="*/ 3316 h 6708"/>
                  <a:gd name="T72" fmla="*/ 3493 w 6709"/>
                  <a:gd name="T73" fmla="*/ 1978 h 6708"/>
                  <a:gd name="T74" fmla="*/ 3707 w 6709"/>
                  <a:gd name="T75" fmla="*/ 1956 h 6708"/>
                  <a:gd name="T76" fmla="*/ 6423 w 6709"/>
                  <a:gd name="T77" fmla="*/ 2402 h 6708"/>
                  <a:gd name="T78" fmla="*/ 3891 w 6709"/>
                  <a:gd name="T79" fmla="*/ 1710 h 6708"/>
                  <a:gd name="T80" fmla="*/ 3675 w 6709"/>
                  <a:gd name="T81" fmla="*/ 1668 h 6708"/>
                  <a:gd name="T82" fmla="*/ 3457 w 6709"/>
                  <a:gd name="T83" fmla="*/ 1692 h 6708"/>
                  <a:gd name="T84" fmla="*/ 2982 w 6709"/>
                  <a:gd name="T85" fmla="*/ 1466 h 6708"/>
                  <a:gd name="T86" fmla="*/ 2588 w 6709"/>
                  <a:gd name="T87" fmla="*/ 1462 h 6708"/>
                  <a:gd name="T88" fmla="*/ 286 w 6709"/>
                  <a:gd name="T89" fmla="*/ 286 h 6708"/>
                  <a:gd name="T90" fmla="*/ 1088 w 6709"/>
                  <a:gd name="T91" fmla="*/ 4076 h 6708"/>
                  <a:gd name="T92" fmla="*/ 1182 w 6709"/>
                  <a:gd name="T93" fmla="*/ 4318 h 6708"/>
                  <a:gd name="T94" fmla="*/ 1342 w 6709"/>
                  <a:gd name="T95" fmla="*/ 4522 h 6708"/>
                  <a:gd name="T96" fmla="*/ 1264 w 6709"/>
                  <a:gd name="T97" fmla="*/ 4716 h 6708"/>
                  <a:gd name="T98" fmla="*/ 1266 w 6709"/>
                  <a:gd name="T99" fmla="*/ 4988 h 6708"/>
                  <a:gd name="T100" fmla="*/ 2146 w 6709"/>
                  <a:gd name="T101" fmla="*/ 5976 h 6708"/>
                  <a:gd name="T102" fmla="*/ 2410 w 6709"/>
                  <a:gd name="T103" fmla="*/ 6090 h 6708"/>
                  <a:gd name="T104" fmla="*/ 2588 w 6709"/>
                  <a:gd name="T105" fmla="*/ 6066 h 6708"/>
                  <a:gd name="T106" fmla="*/ 3677 w 6709"/>
                  <a:gd name="T107" fmla="*/ 5848 h 6708"/>
                  <a:gd name="T108" fmla="*/ 3855 w 6709"/>
                  <a:gd name="T109" fmla="*/ 5902 h 6708"/>
                  <a:gd name="T110" fmla="*/ 4003 w 6709"/>
                  <a:gd name="T111" fmla="*/ 5886 h 6708"/>
                  <a:gd name="T112" fmla="*/ 4153 w 6709"/>
                  <a:gd name="T113" fmla="*/ 5800 h 6708"/>
                  <a:gd name="T114" fmla="*/ 5583 w 6709"/>
                  <a:gd name="T115" fmla="*/ 4476 h 6708"/>
                  <a:gd name="T116" fmla="*/ 5657 w 6709"/>
                  <a:gd name="T117" fmla="*/ 4210 h 6708"/>
                  <a:gd name="T118" fmla="*/ 5559 w 6709"/>
                  <a:gd name="T119" fmla="*/ 4010 h 67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709" h="6708">
                    <a:moveTo>
                      <a:pt x="6709" y="0"/>
                    </a:moveTo>
                    <a:lnTo>
                      <a:pt x="0" y="0"/>
                    </a:lnTo>
                    <a:lnTo>
                      <a:pt x="0" y="6708"/>
                    </a:lnTo>
                    <a:lnTo>
                      <a:pt x="6709" y="6708"/>
                    </a:lnTo>
                    <a:lnTo>
                      <a:pt x="6709" y="6708"/>
                    </a:lnTo>
                    <a:lnTo>
                      <a:pt x="6709" y="0"/>
                    </a:lnTo>
                    <a:lnTo>
                      <a:pt x="6709" y="0"/>
                    </a:lnTo>
                    <a:close/>
                    <a:moveTo>
                      <a:pt x="1574" y="4746"/>
                    </a:moveTo>
                    <a:lnTo>
                      <a:pt x="1618" y="4708"/>
                    </a:lnTo>
                    <a:lnTo>
                      <a:pt x="2926" y="5432"/>
                    </a:lnTo>
                    <a:lnTo>
                      <a:pt x="2530" y="5772"/>
                    </a:lnTo>
                    <a:lnTo>
                      <a:pt x="2530" y="5772"/>
                    </a:lnTo>
                    <a:lnTo>
                      <a:pt x="2520" y="5780"/>
                    </a:lnTo>
                    <a:lnTo>
                      <a:pt x="2508" y="5788"/>
                    </a:lnTo>
                    <a:lnTo>
                      <a:pt x="2496" y="5794"/>
                    </a:lnTo>
                    <a:lnTo>
                      <a:pt x="2484" y="5798"/>
                    </a:lnTo>
                    <a:lnTo>
                      <a:pt x="2470" y="5802"/>
                    </a:lnTo>
                    <a:lnTo>
                      <a:pt x="2456" y="5804"/>
                    </a:lnTo>
                    <a:lnTo>
                      <a:pt x="2444" y="5806"/>
                    </a:lnTo>
                    <a:lnTo>
                      <a:pt x="2430" y="5806"/>
                    </a:lnTo>
                    <a:lnTo>
                      <a:pt x="2430" y="5806"/>
                    </a:lnTo>
                    <a:lnTo>
                      <a:pt x="2416" y="5804"/>
                    </a:lnTo>
                    <a:lnTo>
                      <a:pt x="2402" y="5800"/>
                    </a:lnTo>
                    <a:lnTo>
                      <a:pt x="2390" y="5796"/>
                    </a:lnTo>
                    <a:lnTo>
                      <a:pt x="2376" y="5790"/>
                    </a:lnTo>
                    <a:lnTo>
                      <a:pt x="2364" y="5784"/>
                    </a:lnTo>
                    <a:lnTo>
                      <a:pt x="2352" y="5774"/>
                    </a:lnTo>
                    <a:lnTo>
                      <a:pt x="2342" y="5764"/>
                    </a:lnTo>
                    <a:lnTo>
                      <a:pt x="2330" y="5752"/>
                    </a:lnTo>
                    <a:lnTo>
                      <a:pt x="1560" y="4940"/>
                    </a:lnTo>
                    <a:lnTo>
                      <a:pt x="1560" y="4940"/>
                    </a:lnTo>
                    <a:lnTo>
                      <a:pt x="1552" y="4930"/>
                    </a:lnTo>
                    <a:lnTo>
                      <a:pt x="1544" y="4918"/>
                    </a:lnTo>
                    <a:lnTo>
                      <a:pt x="1538" y="4906"/>
                    </a:lnTo>
                    <a:lnTo>
                      <a:pt x="1534" y="4892"/>
                    </a:lnTo>
                    <a:lnTo>
                      <a:pt x="1530" y="4880"/>
                    </a:lnTo>
                    <a:lnTo>
                      <a:pt x="1528" y="4866"/>
                    </a:lnTo>
                    <a:lnTo>
                      <a:pt x="1526" y="4854"/>
                    </a:lnTo>
                    <a:lnTo>
                      <a:pt x="1528" y="4840"/>
                    </a:lnTo>
                    <a:lnTo>
                      <a:pt x="1528" y="4828"/>
                    </a:lnTo>
                    <a:lnTo>
                      <a:pt x="1532" y="4814"/>
                    </a:lnTo>
                    <a:lnTo>
                      <a:pt x="1536" y="4802"/>
                    </a:lnTo>
                    <a:lnTo>
                      <a:pt x="1540" y="4790"/>
                    </a:lnTo>
                    <a:lnTo>
                      <a:pt x="1548" y="4778"/>
                    </a:lnTo>
                    <a:lnTo>
                      <a:pt x="1554" y="4766"/>
                    </a:lnTo>
                    <a:lnTo>
                      <a:pt x="1564" y="4756"/>
                    </a:lnTo>
                    <a:lnTo>
                      <a:pt x="1574" y="4746"/>
                    </a:lnTo>
                    <a:lnTo>
                      <a:pt x="1574" y="4746"/>
                    </a:lnTo>
                    <a:close/>
                    <a:moveTo>
                      <a:pt x="1658" y="4404"/>
                    </a:moveTo>
                    <a:lnTo>
                      <a:pt x="1658" y="4404"/>
                    </a:lnTo>
                    <a:lnTo>
                      <a:pt x="1630" y="4386"/>
                    </a:lnTo>
                    <a:lnTo>
                      <a:pt x="1602" y="4368"/>
                    </a:lnTo>
                    <a:lnTo>
                      <a:pt x="1576" y="4348"/>
                    </a:lnTo>
                    <a:lnTo>
                      <a:pt x="1550" y="4326"/>
                    </a:lnTo>
                    <a:lnTo>
                      <a:pt x="1526" y="4304"/>
                    </a:lnTo>
                    <a:lnTo>
                      <a:pt x="1504" y="4280"/>
                    </a:lnTo>
                    <a:lnTo>
                      <a:pt x="1484" y="4254"/>
                    </a:lnTo>
                    <a:lnTo>
                      <a:pt x="1464" y="4228"/>
                    </a:lnTo>
                    <a:lnTo>
                      <a:pt x="1446" y="4202"/>
                    </a:lnTo>
                    <a:lnTo>
                      <a:pt x="1428" y="4174"/>
                    </a:lnTo>
                    <a:lnTo>
                      <a:pt x="1414" y="4144"/>
                    </a:lnTo>
                    <a:lnTo>
                      <a:pt x="1400" y="4114"/>
                    </a:lnTo>
                    <a:lnTo>
                      <a:pt x="1388" y="4084"/>
                    </a:lnTo>
                    <a:lnTo>
                      <a:pt x="1378" y="4052"/>
                    </a:lnTo>
                    <a:lnTo>
                      <a:pt x="1368" y="4020"/>
                    </a:lnTo>
                    <a:lnTo>
                      <a:pt x="1362" y="3988"/>
                    </a:lnTo>
                    <a:lnTo>
                      <a:pt x="1238" y="3310"/>
                    </a:lnTo>
                    <a:lnTo>
                      <a:pt x="286" y="2752"/>
                    </a:lnTo>
                    <a:lnTo>
                      <a:pt x="286" y="1148"/>
                    </a:lnTo>
                    <a:lnTo>
                      <a:pt x="1868" y="2096"/>
                    </a:lnTo>
                    <a:lnTo>
                      <a:pt x="2494" y="1794"/>
                    </a:lnTo>
                    <a:lnTo>
                      <a:pt x="2494" y="1794"/>
                    </a:lnTo>
                    <a:lnTo>
                      <a:pt x="2532" y="1776"/>
                    </a:lnTo>
                    <a:lnTo>
                      <a:pt x="2570" y="1762"/>
                    </a:lnTo>
                    <a:lnTo>
                      <a:pt x="2608" y="1752"/>
                    </a:lnTo>
                    <a:lnTo>
                      <a:pt x="2646" y="1742"/>
                    </a:lnTo>
                    <a:lnTo>
                      <a:pt x="2684" y="1736"/>
                    </a:lnTo>
                    <a:lnTo>
                      <a:pt x="2724" y="1730"/>
                    </a:lnTo>
                    <a:lnTo>
                      <a:pt x="2764" y="1728"/>
                    </a:lnTo>
                    <a:lnTo>
                      <a:pt x="2802" y="1730"/>
                    </a:lnTo>
                    <a:lnTo>
                      <a:pt x="2842" y="1732"/>
                    </a:lnTo>
                    <a:lnTo>
                      <a:pt x="2880" y="1738"/>
                    </a:lnTo>
                    <a:lnTo>
                      <a:pt x="2918" y="1744"/>
                    </a:lnTo>
                    <a:lnTo>
                      <a:pt x="2958" y="1754"/>
                    </a:lnTo>
                    <a:lnTo>
                      <a:pt x="2994" y="1766"/>
                    </a:lnTo>
                    <a:lnTo>
                      <a:pt x="3032" y="1782"/>
                    </a:lnTo>
                    <a:lnTo>
                      <a:pt x="3068" y="1798"/>
                    </a:lnTo>
                    <a:lnTo>
                      <a:pt x="3104" y="1818"/>
                    </a:lnTo>
                    <a:lnTo>
                      <a:pt x="3162" y="1850"/>
                    </a:lnTo>
                    <a:lnTo>
                      <a:pt x="1732" y="3102"/>
                    </a:lnTo>
                    <a:lnTo>
                      <a:pt x="1732" y="3102"/>
                    </a:lnTo>
                    <a:lnTo>
                      <a:pt x="1698" y="3134"/>
                    </a:lnTo>
                    <a:lnTo>
                      <a:pt x="1666" y="3172"/>
                    </a:lnTo>
                    <a:lnTo>
                      <a:pt x="1638" y="3212"/>
                    </a:lnTo>
                    <a:lnTo>
                      <a:pt x="1616" y="3254"/>
                    </a:lnTo>
                    <a:lnTo>
                      <a:pt x="1596" y="3296"/>
                    </a:lnTo>
                    <a:lnTo>
                      <a:pt x="1582" y="3342"/>
                    </a:lnTo>
                    <a:lnTo>
                      <a:pt x="1572" y="3390"/>
                    </a:lnTo>
                    <a:lnTo>
                      <a:pt x="1566" y="3438"/>
                    </a:lnTo>
                    <a:lnTo>
                      <a:pt x="1566" y="3438"/>
                    </a:lnTo>
                    <a:lnTo>
                      <a:pt x="1564" y="3488"/>
                    </a:lnTo>
                    <a:lnTo>
                      <a:pt x="1568" y="3536"/>
                    </a:lnTo>
                    <a:lnTo>
                      <a:pt x="1578" y="3582"/>
                    </a:lnTo>
                    <a:lnTo>
                      <a:pt x="1590" y="3628"/>
                    </a:lnTo>
                    <a:lnTo>
                      <a:pt x="1608" y="3674"/>
                    </a:lnTo>
                    <a:lnTo>
                      <a:pt x="1630" y="3716"/>
                    </a:lnTo>
                    <a:lnTo>
                      <a:pt x="1656" y="3756"/>
                    </a:lnTo>
                    <a:lnTo>
                      <a:pt x="1686" y="3794"/>
                    </a:lnTo>
                    <a:lnTo>
                      <a:pt x="1686" y="3794"/>
                    </a:lnTo>
                    <a:lnTo>
                      <a:pt x="1704" y="3814"/>
                    </a:lnTo>
                    <a:lnTo>
                      <a:pt x="1722" y="3832"/>
                    </a:lnTo>
                    <a:lnTo>
                      <a:pt x="1740" y="3848"/>
                    </a:lnTo>
                    <a:lnTo>
                      <a:pt x="1760" y="3862"/>
                    </a:lnTo>
                    <a:lnTo>
                      <a:pt x="1778" y="3878"/>
                    </a:lnTo>
                    <a:lnTo>
                      <a:pt x="1800" y="3890"/>
                    </a:lnTo>
                    <a:lnTo>
                      <a:pt x="1842" y="3914"/>
                    </a:lnTo>
                    <a:lnTo>
                      <a:pt x="1886" y="3932"/>
                    </a:lnTo>
                    <a:lnTo>
                      <a:pt x="1930" y="3946"/>
                    </a:lnTo>
                    <a:lnTo>
                      <a:pt x="1978" y="3956"/>
                    </a:lnTo>
                    <a:lnTo>
                      <a:pt x="2024" y="3962"/>
                    </a:lnTo>
                    <a:lnTo>
                      <a:pt x="2072" y="3962"/>
                    </a:lnTo>
                    <a:lnTo>
                      <a:pt x="2118" y="3958"/>
                    </a:lnTo>
                    <a:lnTo>
                      <a:pt x="2166" y="3950"/>
                    </a:lnTo>
                    <a:lnTo>
                      <a:pt x="2212" y="3938"/>
                    </a:lnTo>
                    <a:lnTo>
                      <a:pt x="2256" y="3920"/>
                    </a:lnTo>
                    <a:lnTo>
                      <a:pt x="2278" y="3910"/>
                    </a:lnTo>
                    <a:lnTo>
                      <a:pt x="2300" y="3898"/>
                    </a:lnTo>
                    <a:lnTo>
                      <a:pt x="2320" y="3886"/>
                    </a:lnTo>
                    <a:lnTo>
                      <a:pt x="2342" y="3872"/>
                    </a:lnTo>
                    <a:lnTo>
                      <a:pt x="2362" y="3856"/>
                    </a:lnTo>
                    <a:lnTo>
                      <a:pt x="2382" y="3840"/>
                    </a:lnTo>
                    <a:lnTo>
                      <a:pt x="2882" y="3398"/>
                    </a:lnTo>
                    <a:lnTo>
                      <a:pt x="2882" y="3398"/>
                    </a:lnTo>
                    <a:lnTo>
                      <a:pt x="2928" y="3360"/>
                    </a:lnTo>
                    <a:lnTo>
                      <a:pt x="2976" y="3326"/>
                    </a:lnTo>
                    <a:lnTo>
                      <a:pt x="3024" y="3296"/>
                    </a:lnTo>
                    <a:lnTo>
                      <a:pt x="3074" y="3272"/>
                    </a:lnTo>
                    <a:lnTo>
                      <a:pt x="3122" y="3252"/>
                    </a:lnTo>
                    <a:lnTo>
                      <a:pt x="3148" y="3244"/>
                    </a:lnTo>
                    <a:lnTo>
                      <a:pt x="3172" y="3238"/>
                    </a:lnTo>
                    <a:lnTo>
                      <a:pt x="3198" y="3232"/>
                    </a:lnTo>
                    <a:lnTo>
                      <a:pt x="3222" y="3228"/>
                    </a:lnTo>
                    <a:lnTo>
                      <a:pt x="3248" y="3226"/>
                    </a:lnTo>
                    <a:lnTo>
                      <a:pt x="3274" y="3224"/>
                    </a:lnTo>
                    <a:lnTo>
                      <a:pt x="3298" y="3222"/>
                    </a:lnTo>
                    <a:lnTo>
                      <a:pt x="3324" y="3224"/>
                    </a:lnTo>
                    <a:lnTo>
                      <a:pt x="3377" y="3228"/>
                    </a:lnTo>
                    <a:lnTo>
                      <a:pt x="3429" y="3238"/>
                    </a:lnTo>
                    <a:lnTo>
                      <a:pt x="3483" y="3254"/>
                    </a:lnTo>
                    <a:lnTo>
                      <a:pt x="3537" y="3272"/>
                    </a:lnTo>
                    <a:lnTo>
                      <a:pt x="3591" y="3298"/>
                    </a:lnTo>
                    <a:lnTo>
                      <a:pt x="3645" y="3326"/>
                    </a:lnTo>
                    <a:lnTo>
                      <a:pt x="3701" y="3360"/>
                    </a:lnTo>
                    <a:lnTo>
                      <a:pt x="5341" y="4200"/>
                    </a:lnTo>
                    <a:lnTo>
                      <a:pt x="5341" y="4200"/>
                    </a:lnTo>
                    <a:lnTo>
                      <a:pt x="5349" y="4204"/>
                    </a:lnTo>
                    <a:lnTo>
                      <a:pt x="5357" y="4210"/>
                    </a:lnTo>
                    <a:lnTo>
                      <a:pt x="5365" y="4224"/>
                    </a:lnTo>
                    <a:lnTo>
                      <a:pt x="5371" y="4236"/>
                    </a:lnTo>
                    <a:lnTo>
                      <a:pt x="5373" y="4246"/>
                    </a:lnTo>
                    <a:lnTo>
                      <a:pt x="5373" y="4246"/>
                    </a:lnTo>
                    <a:lnTo>
                      <a:pt x="5373" y="4258"/>
                    </a:lnTo>
                    <a:lnTo>
                      <a:pt x="5373" y="4270"/>
                    </a:lnTo>
                    <a:lnTo>
                      <a:pt x="5367" y="4284"/>
                    </a:lnTo>
                    <a:lnTo>
                      <a:pt x="5363" y="4292"/>
                    </a:lnTo>
                    <a:lnTo>
                      <a:pt x="5359" y="4298"/>
                    </a:lnTo>
                    <a:lnTo>
                      <a:pt x="3997" y="5540"/>
                    </a:lnTo>
                    <a:lnTo>
                      <a:pt x="3985" y="5558"/>
                    </a:lnTo>
                    <a:lnTo>
                      <a:pt x="3985" y="5558"/>
                    </a:lnTo>
                    <a:lnTo>
                      <a:pt x="3979" y="5568"/>
                    </a:lnTo>
                    <a:lnTo>
                      <a:pt x="3971" y="5578"/>
                    </a:lnTo>
                    <a:lnTo>
                      <a:pt x="3953" y="5594"/>
                    </a:lnTo>
                    <a:lnTo>
                      <a:pt x="3933" y="5606"/>
                    </a:lnTo>
                    <a:lnTo>
                      <a:pt x="3911" y="5614"/>
                    </a:lnTo>
                    <a:lnTo>
                      <a:pt x="3889" y="5616"/>
                    </a:lnTo>
                    <a:lnTo>
                      <a:pt x="3865" y="5616"/>
                    </a:lnTo>
                    <a:lnTo>
                      <a:pt x="3841" y="5610"/>
                    </a:lnTo>
                    <a:lnTo>
                      <a:pt x="3831" y="5604"/>
                    </a:lnTo>
                    <a:lnTo>
                      <a:pt x="3819" y="5598"/>
                    </a:lnTo>
                    <a:lnTo>
                      <a:pt x="1658" y="4404"/>
                    </a:lnTo>
                    <a:close/>
                    <a:moveTo>
                      <a:pt x="5231" y="3404"/>
                    </a:moveTo>
                    <a:lnTo>
                      <a:pt x="5215" y="3814"/>
                    </a:lnTo>
                    <a:lnTo>
                      <a:pt x="3851" y="3116"/>
                    </a:lnTo>
                    <a:lnTo>
                      <a:pt x="3851" y="3116"/>
                    </a:lnTo>
                    <a:lnTo>
                      <a:pt x="3813" y="3092"/>
                    </a:lnTo>
                    <a:lnTo>
                      <a:pt x="3775" y="3070"/>
                    </a:lnTo>
                    <a:lnTo>
                      <a:pt x="3737" y="3050"/>
                    </a:lnTo>
                    <a:lnTo>
                      <a:pt x="3699" y="3032"/>
                    </a:lnTo>
                    <a:lnTo>
                      <a:pt x="3661" y="3014"/>
                    </a:lnTo>
                    <a:lnTo>
                      <a:pt x="3623" y="2998"/>
                    </a:lnTo>
                    <a:lnTo>
                      <a:pt x="3585" y="2986"/>
                    </a:lnTo>
                    <a:lnTo>
                      <a:pt x="3547" y="2974"/>
                    </a:lnTo>
                    <a:lnTo>
                      <a:pt x="3511" y="2962"/>
                    </a:lnTo>
                    <a:lnTo>
                      <a:pt x="3473" y="2954"/>
                    </a:lnTo>
                    <a:lnTo>
                      <a:pt x="3435" y="2946"/>
                    </a:lnTo>
                    <a:lnTo>
                      <a:pt x="3399" y="2942"/>
                    </a:lnTo>
                    <a:lnTo>
                      <a:pt x="3361" y="2938"/>
                    </a:lnTo>
                    <a:lnTo>
                      <a:pt x="3324" y="2936"/>
                    </a:lnTo>
                    <a:lnTo>
                      <a:pt x="3286" y="2936"/>
                    </a:lnTo>
                    <a:lnTo>
                      <a:pt x="3250" y="2936"/>
                    </a:lnTo>
                    <a:lnTo>
                      <a:pt x="3214" y="2940"/>
                    </a:lnTo>
                    <a:lnTo>
                      <a:pt x="3178" y="2944"/>
                    </a:lnTo>
                    <a:lnTo>
                      <a:pt x="3142" y="2950"/>
                    </a:lnTo>
                    <a:lnTo>
                      <a:pt x="3106" y="2958"/>
                    </a:lnTo>
                    <a:lnTo>
                      <a:pt x="3070" y="2968"/>
                    </a:lnTo>
                    <a:lnTo>
                      <a:pt x="3034" y="2980"/>
                    </a:lnTo>
                    <a:lnTo>
                      <a:pt x="2998" y="2992"/>
                    </a:lnTo>
                    <a:lnTo>
                      <a:pt x="2964" y="3006"/>
                    </a:lnTo>
                    <a:lnTo>
                      <a:pt x="2930" y="3024"/>
                    </a:lnTo>
                    <a:lnTo>
                      <a:pt x="2894" y="3042"/>
                    </a:lnTo>
                    <a:lnTo>
                      <a:pt x="2860" y="3060"/>
                    </a:lnTo>
                    <a:lnTo>
                      <a:pt x="2826" y="3082"/>
                    </a:lnTo>
                    <a:lnTo>
                      <a:pt x="2792" y="3106"/>
                    </a:lnTo>
                    <a:lnTo>
                      <a:pt x="2758" y="3130"/>
                    </a:lnTo>
                    <a:lnTo>
                      <a:pt x="2726" y="3156"/>
                    </a:lnTo>
                    <a:lnTo>
                      <a:pt x="2692" y="3184"/>
                    </a:lnTo>
                    <a:lnTo>
                      <a:pt x="2192" y="3626"/>
                    </a:lnTo>
                    <a:lnTo>
                      <a:pt x="2192" y="3626"/>
                    </a:lnTo>
                    <a:lnTo>
                      <a:pt x="2176" y="3638"/>
                    </a:lnTo>
                    <a:lnTo>
                      <a:pt x="2158" y="3650"/>
                    </a:lnTo>
                    <a:lnTo>
                      <a:pt x="2140" y="3660"/>
                    </a:lnTo>
                    <a:lnTo>
                      <a:pt x="2122" y="3666"/>
                    </a:lnTo>
                    <a:lnTo>
                      <a:pt x="2102" y="3672"/>
                    </a:lnTo>
                    <a:lnTo>
                      <a:pt x="2082" y="3676"/>
                    </a:lnTo>
                    <a:lnTo>
                      <a:pt x="2062" y="3676"/>
                    </a:lnTo>
                    <a:lnTo>
                      <a:pt x="2042" y="3676"/>
                    </a:lnTo>
                    <a:lnTo>
                      <a:pt x="2024" y="3674"/>
                    </a:lnTo>
                    <a:lnTo>
                      <a:pt x="2004" y="3670"/>
                    </a:lnTo>
                    <a:lnTo>
                      <a:pt x="1984" y="3664"/>
                    </a:lnTo>
                    <a:lnTo>
                      <a:pt x="1966" y="3656"/>
                    </a:lnTo>
                    <a:lnTo>
                      <a:pt x="1948" y="3646"/>
                    </a:lnTo>
                    <a:lnTo>
                      <a:pt x="1932" y="3634"/>
                    </a:lnTo>
                    <a:lnTo>
                      <a:pt x="1916" y="3622"/>
                    </a:lnTo>
                    <a:lnTo>
                      <a:pt x="1902" y="3606"/>
                    </a:lnTo>
                    <a:lnTo>
                      <a:pt x="1902" y="3606"/>
                    </a:lnTo>
                    <a:lnTo>
                      <a:pt x="1888" y="3590"/>
                    </a:lnTo>
                    <a:lnTo>
                      <a:pt x="1878" y="3574"/>
                    </a:lnTo>
                    <a:lnTo>
                      <a:pt x="1868" y="3556"/>
                    </a:lnTo>
                    <a:lnTo>
                      <a:pt x="1862" y="3538"/>
                    </a:lnTo>
                    <a:lnTo>
                      <a:pt x="1856" y="3518"/>
                    </a:lnTo>
                    <a:lnTo>
                      <a:pt x="1852" y="3498"/>
                    </a:lnTo>
                    <a:lnTo>
                      <a:pt x="1850" y="3478"/>
                    </a:lnTo>
                    <a:lnTo>
                      <a:pt x="1852" y="3458"/>
                    </a:lnTo>
                    <a:lnTo>
                      <a:pt x="1852" y="3458"/>
                    </a:lnTo>
                    <a:lnTo>
                      <a:pt x="1854" y="3438"/>
                    </a:lnTo>
                    <a:lnTo>
                      <a:pt x="1858" y="3418"/>
                    </a:lnTo>
                    <a:lnTo>
                      <a:pt x="1864" y="3398"/>
                    </a:lnTo>
                    <a:lnTo>
                      <a:pt x="1872" y="3380"/>
                    </a:lnTo>
                    <a:lnTo>
                      <a:pt x="1882" y="3362"/>
                    </a:lnTo>
                    <a:lnTo>
                      <a:pt x="1894" y="3346"/>
                    </a:lnTo>
                    <a:lnTo>
                      <a:pt x="1906" y="3330"/>
                    </a:lnTo>
                    <a:lnTo>
                      <a:pt x="1920" y="3316"/>
                    </a:lnTo>
                    <a:lnTo>
                      <a:pt x="3359" y="2060"/>
                    </a:lnTo>
                    <a:lnTo>
                      <a:pt x="3359" y="2060"/>
                    </a:lnTo>
                    <a:lnTo>
                      <a:pt x="3383" y="2038"/>
                    </a:lnTo>
                    <a:lnTo>
                      <a:pt x="3409" y="2020"/>
                    </a:lnTo>
                    <a:lnTo>
                      <a:pt x="3437" y="2004"/>
                    </a:lnTo>
                    <a:lnTo>
                      <a:pt x="3465" y="1990"/>
                    </a:lnTo>
                    <a:lnTo>
                      <a:pt x="3493" y="1978"/>
                    </a:lnTo>
                    <a:lnTo>
                      <a:pt x="3523" y="1970"/>
                    </a:lnTo>
                    <a:lnTo>
                      <a:pt x="3553" y="1962"/>
                    </a:lnTo>
                    <a:lnTo>
                      <a:pt x="3583" y="1956"/>
                    </a:lnTo>
                    <a:lnTo>
                      <a:pt x="3615" y="1954"/>
                    </a:lnTo>
                    <a:lnTo>
                      <a:pt x="3645" y="1952"/>
                    </a:lnTo>
                    <a:lnTo>
                      <a:pt x="3677" y="1954"/>
                    </a:lnTo>
                    <a:lnTo>
                      <a:pt x="3707" y="1956"/>
                    </a:lnTo>
                    <a:lnTo>
                      <a:pt x="3739" y="1962"/>
                    </a:lnTo>
                    <a:lnTo>
                      <a:pt x="3769" y="1970"/>
                    </a:lnTo>
                    <a:lnTo>
                      <a:pt x="3799" y="1982"/>
                    </a:lnTo>
                    <a:lnTo>
                      <a:pt x="3829" y="1994"/>
                    </a:lnTo>
                    <a:lnTo>
                      <a:pt x="4333" y="2234"/>
                    </a:lnTo>
                    <a:lnTo>
                      <a:pt x="6423" y="464"/>
                    </a:lnTo>
                    <a:lnTo>
                      <a:pt x="6423" y="2402"/>
                    </a:lnTo>
                    <a:lnTo>
                      <a:pt x="5231" y="3404"/>
                    </a:lnTo>
                    <a:close/>
                    <a:moveTo>
                      <a:pt x="6191" y="286"/>
                    </a:moveTo>
                    <a:lnTo>
                      <a:pt x="4289" y="1896"/>
                    </a:lnTo>
                    <a:lnTo>
                      <a:pt x="3951" y="1736"/>
                    </a:lnTo>
                    <a:lnTo>
                      <a:pt x="3951" y="1736"/>
                    </a:lnTo>
                    <a:lnTo>
                      <a:pt x="3921" y="1722"/>
                    </a:lnTo>
                    <a:lnTo>
                      <a:pt x="3891" y="1710"/>
                    </a:lnTo>
                    <a:lnTo>
                      <a:pt x="3861" y="1700"/>
                    </a:lnTo>
                    <a:lnTo>
                      <a:pt x="3831" y="1690"/>
                    </a:lnTo>
                    <a:lnTo>
                      <a:pt x="3799" y="1684"/>
                    </a:lnTo>
                    <a:lnTo>
                      <a:pt x="3769" y="1678"/>
                    </a:lnTo>
                    <a:lnTo>
                      <a:pt x="3737" y="1672"/>
                    </a:lnTo>
                    <a:lnTo>
                      <a:pt x="3705" y="1670"/>
                    </a:lnTo>
                    <a:lnTo>
                      <a:pt x="3675" y="1668"/>
                    </a:lnTo>
                    <a:lnTo>
                      <a:pt x="3643" y="1666"/>
                    </a:lnTo>
                    <a:lnTo>
                      <a:pt x="3611" y="1668"/>
                    </a:lnTo>
                    <a:lnTo>
                      <a:pt x="3579" y="1670"/>
                    </a:lnTo>
                    <a:lnTo>
                      <a:pt x="3549" y="1674"/>
                    </a:lnTo>
                    <a:lnTo>
                      <a:pt x="3517" y="1678"/>
                    </a:lnTo>
                    <a:lnTo>
                      <a:pt x="3487" y="1684"/>
                    </a:lnTo>
                    <a:lnTo>
                      <a:pt x="3457" y="1692"/>
                    </a:lnTo>
                    <a:lnTo>
                      <a:pt x="3248" y="1570"/>
                    </a:lnTo>
                    <a:lnTo>
                      <a:pt x="3248" y="1570"/>
                    </a:lnTo>
                    <a:lnTo>
                      <a:pt x="3196" y="1542"/>
                    </a:lnTo>
                    <a:lnTo>
                      <a:pt x="3144" y="1518"/>
                    </a:lnTo>
                    <a:lnTo>
                      <a:pt x="3092" y="1498"/>
                    </a:lnTo>
                    <a:lnTo>
                      <a:pt x="3036" y="1480"/>
                    </a:lnTo>
                    <a:lnTo>
                      <a:pt x="2982" y="1466"/>
                    </a:lnTo>
                    <a:lnTo>
                      <a:pt x="2926" y="1454"/>
                    </a:lnTo>
                    <a:lnTo>
                      <a:pt x="2870" y="1448"/>
                    </a:lnTo>
                    <a:lnTo>
                      <a:pt x="2814" y="1444"/>
                    </a:lnTo>
                    <a:lnTo>
                      <a:pt x="2758" y="1442"/>
                    </a:lnTo>
                    <a:lnTo>
                      <a:pt x="2700" y="1446"/>
                    </a:lnTo>
                    <a:lnTo>
                      <a:pt x="2644" y="1452"/>
                    </a:lnTo>
                    <a:lnTo>
                      <a:pt x="2588" y="1462"/>
                    </a:lnTo>
                    <a:lnTo>
                      <a:pt x="2532" y="1476"/>
                    </a:lnTo>
                    <a:lnTo>
                      <a:pt x="2478" y="1492"/>
                    </a:lnTo>
                    <a:lnTo>
                      <a:pt x="2424" y="1512"/>
                    </a:lnTo>
                    <a:lnTo>
                      <a:pt x="2370" y="1536"/>
                    </a:lnTo>
                    <a:lnTo>
                      <a:pt x="1884" y="1770"/>
                    </a:lnTo>
                    <a:lnTo>
                      <a:pt x="286" y="814"/>
                    </a:lnTo>
                    <a:lnTo>
                      <a:pt x="286" y="286"/>
                    </a:lnTo>
                    <a:lnTo>
                      <a:pt x="6191" y="286"/>
                    </a:lnTo>
                    <a:close/>
                    <a:moveTo>
                      <a:pt x="286" y="6422"/>
                    </a:moveTo>
                    <a:lnTo>
                      <a:pt x="286" y="3084"/>
                    </a:lnTo>
                    <a:lnTo>
                      <a:pt x="980" y="3492"/>
                    </a:lnTo>
                    <a:lnTo>
                      <a:pt x="1080" y="4038"/>
                    </a:lnTo>
                    <a:lnTo>
                      <a:pt x="1080" y="4038"/>
                    </a:lnTo>
                    <a:lnTo>
                      <a:pt x="1088" y="4076"/>
                    </a:lnTo>
                    <a:lnTo>
                      <a:pt x="1096" y="4112"/>
                    </a:lnTo>
                    <a:lnTo>
                      <a:pt x="1108" y="4148"/>
                    </a:lnTo>
                    <a:lnTo>
                      <a:pt x="1120" y="4184"/>
                    </a:lnTo>
                    <a:lnTo>
                      <a:pt x="1134" y="4218"/>
                    </a:lnTo>
                    <a:lnTo>
                      <a:pt x="1148" y="4252"/>
                    </a:lnTo>
                    <a:lnTo>
                      <a:pt x="1164" y="4286"/>
                    </a:lnTo>
                    <a:lnTo>
                      <a:pt x="1182" y="4318"/>
                    </a:lnTo>
                    <a:lnTo>
                      <a:pt x="1202" y="4350"/>
                    </a:lnTo>
                    <a:lnTo>
                      <a:pt x="1222" y="4382"/>
                    </a:lnTo>
                    <a:lnTo>
                      <a:pt x="1244" y="4412"/>
                    </a:lnTo>
                    <a:lnTo>
                      <a:pt x="1266" y="4440"/>
                    </a:lnTo>
                    <a:lnTo>
                      <a:pt x="1290" y="4468"/>
                    </a:lnTo>
                    <a:lnTo>
                      <a:pt x="1316" y="4496"/>
                    </a:lnTo>
                    <a:lnTo>
                      <a:pt x="1342" y="4522"/>
                    </a:lnTo>
                    <a:lnTo>
                      <a:pt x="1370" y="4548"/>
                    </a:lnTo>
                    <a:lnTo>
                      <a:pt x="1370" y="4548"/>
                    </a:lnTo>
                    <a:lnTo>
                      <a:pt x="1342" y="4578"/>
                    </a:lnTo>
                    <a:lnTo>
                      <a:pt x="1318" y="4610"/>
                    </a:lnTo>
                    <a:lnTo>
                      <a:pt x="1296" y="4644"/>
                    </a:lnTo>
                    <a:lnTo>
                      <a:pt x="1278" y="4680"/>
                    </a:lnTo>
                    <a:lnTo>
                      <a:pt x="1264" y="4716"/>
                    </a:lnTo>
                    <a:lnTo>
                      <a:pt x="1254" y="4754"/>
                    </a:lnTo>
                    <a:lnTo>
                      <a:pt x="1246" y="4794"/>
                    </a:lnTo>
                    <a:lnTo>
                      <a:pt x="1242" y="4832"/>
                    </a:lnTo>
                    <a:lnTo>
                      <a:pt x="1244" y="4872"/>
                    </a:lnTo>
                    <a:lnTo>
                      <a:pt x="1246" y="4912"/>
                    </a:lnTo>
                    <a:lnTo>
                      <a:pt x="1254" y="4950"/>
                    </a:lnTo>
                    <a:lnTo>
                      <a:pt x="1266" y="4988"/>
                    </a:lnTo>
                    <a:lnTo>
                      <a:pt x="1280" y="5026"/>
                    </a:lnTo>
                    <a:lnTo>
                      <a:pt x="1300" y="5062"/>
                    </a:lnTo>
                    <a:lnTo>
                      <a:pt x="1322" y="5098"/>
                    </a:lnTo>
                    <a:lnTo>
                      <a:pt x="1348" y="5132"/>
                    </a:lnTo>
                    <a:lnTo>
                      <a:pt x="2118" y="5944"/>
                    </a:lnTo>
                    <a:lnTo>
                      <a:pt x="2118" y="5944"/>
                    </a:lnTo>
                    <a:lnTo>
                      <a:pt x="2146" y="5976"/>
                    </a:lnTo>
                    <a:lnTo>
                      <a:pt x="2178" y="6002"/>
                    </a:lnTo>
                    <a:lnTo>
                      <a:pt x="2212" y="6026"/>
                    </a:lnTo>
                    <a:lnTo>
                      <a:pt x="2248" y="6046"/>
                    </a:lnTo>
                    <a:lnTo>
                      <a:pt x="2286" y="6064"/>
                    </a:lnTo>
                    <a:lnTo>
                      <a:pt x="2326" y="6076"/>
                    </a:lnTo>
                    <a:lnTo>
                      <a:pt x="2368" y="6086"/>
                    </a:lnTo>
                    <a:lnTo>
                      <a:pt x="2410" y="6090"/>
                    </a:lnTo>
                    <a:lnTo>
                      <a:pt x="2410" y="6090"/>
                    </a:lnTo>
                    <a:lnTo>
                      <a:pt x="2440" y="6092"/>
                    </a:lnTo>
                    <a:lnTo>
                      <a:pt x="2440" y="6092"/>
                    </a:lnTo>
                    <a:lnTo>
                      <a:pt x="2478" y="6090"/>
                    </a:lnTo>
                    <a:lnTo>
                      <a:pt x="2516" y="6086"/>
                    </a:lnTo>
                    <a:lnTo>
                      <a:pt x="2552" y="6076"/>
                    </a:lnTo>
                    <a:lnTo>
                      <a:pt x="2588" y="6066"/>
                    </a:lnTo>
                    <a:lnTo>
                      <a:pt x="2622" y="6050"/>
                    </a:lnTo>
                    <a:lnTo>
                      <a:pt x="2656" y="6032"/>
                    </a:lnTo>
                    <a:lnTo>
                      <a:pt x="2688" y="6012"/>
                    </a:lnTo>
                    <a:lnTo>
                      <a:pt x="2718" y="5988"/>
                    </a:lnTo>
                    <a:lnTo>
                      <a:pt x="3194" y="5580"/>
                    </a:lnTo>
                    <a:lnTo>
                      <a:pt x="3677" y="5848"/>
                    </a:lnTo>
                    <a:lnTo>
                      <a:pt x="3677" y="5848"/>
                    </a:lnTo>
                    <a:lnTo>
                      <a:pt x="3701" y="5860"/>
                    </a:lnTo>
                    <a:lnTo>
                      <a:pt x="3727" y="5872"/>
                    </a:lnTo>
                    <a:lnTo>
                      <a:pt x="3751" y="5882"/>
                    </a:lnTo>
                    <a:lnTo>
                      <a:pt x="3777" y="5890"/>
                    </a:lnTo>
                    <a:lnTo>
                      <a:pt x="3803" y="5896"/>
                    </a:lnTo>
                    <a:lnTo>
                      <a:pt x="3829" y="5900"/>
                    </a:lnTo>
                    <a:lnTo>
                      <a:pt x="3855" y="5902"/>
                    </a:lnTo>
                    <a:lnTo>
                      <a:pt x="3881" y="5904"/>
                    </a:lnTo>
                    <a:lnTo>
                      <a:pt x="3881" y="5904"/>
                    </a:lnTo>
                    <a:lnTo>
                      <a:pt x="3907" y="5902"/>
                    </a:lnTo>
                    <a:lnTo>
                      <a:pt x="3931" y="5900"/>
                    </a:lnTo>
                    <a:lnTo>
                      <a:pt x="3955" y="5896"/>
                    </a:lnTo>
                    <a:lnTo>
                      <a:pt x="3979" y="5892"/>
                    </a:lnTo>
                    <a:lnTo>
                      <a:pt x="4003" y="5886"/>
                    </a:lnTo>
                    <a:lnTo>
                      <a:pt x="4025" y="5878"/>
                    </a:lnTo>
                    <a:lnTo>
                      <a:pt x="4049" y="5868"/>
                    </a:lnTo>
                    <a:lnTo>
                      <a:pt x="4071" y="5858"/>
                    </a:lnTo>
                    <a:lnTo>
                      <a:pt x="4093" y="5846"/>
                    </a:lnTo>
                    <a:lnTo>
                      <a:pt x="4113" y="5832"/>
                    </a:lnTo>
                    <a:lnTo>
                      <a:pt x="4133" y="5816"/>
                    </a:lnTo>
                    <a:lnTo>
                      <a:pt x="4153" y="5800"/>
                    </a:lnTo>
                    <a:lnTo>
                      <a:pt x="4171" y="5784"/>
                    </a:lnTo>
                    <a:lnTo>
                      <a:pt x="4187" y="5766"/>
                    </a:lnTo>
                    <a:lnTo>
                      <a:pt x="4203" y="5746"/>
                    </a:lnTo>
                    <a:lnTo>
                      <a:pt x="4219" y="5724"/>
                    </a:lnTo>
                    <a:lnTo>
                      <a:pt x="5555" y="4506"/>
                    </a:lnTo>
                    <a:lnTo>
                      <a:pt x="5555" y="4506"/>
                    </a:lnTo>
                    <a:lnTo>
                      <a:pt x="5583" y="4476"/>
                    </a:lnTo>
                    <a:lnTo>
                      <a:pt x="5607" y="4442"/>
                    </a:lnTo>
                    <a:lnTo>
                      <a:pt x="5625" y="4408"/>
                    </a:lnTo>
                    <a:lnTo>
                      <a:pt x="5641" y="4370"/>
                    </a:lnTo>
                    <a:lnTo>
                      <a:pt x="5651" y="4332"/>
                    </a:lnTo>
                    <a:lnTo>
                      <a:pt x="5659" y="4292"/>
                    </a:lnTo>
                    <a:lnTo>
                      <a:pt x="5659" y="4252"/>
                    </a:lnTo>
                    <a:lnTo>
                      <a:pt x="5657" y="4210"/>
                    </a:lnTo>
                    <a:lnTo>
                      <a:pt x="5657" y="4210"/>
                    </a:lnTo>
                    <a:lnTo>
                      <a:pt x="5651" y="4172"/>
                    </a:lnTo>
                    <a:lnTo>
                      <a:pt x="5639" y="4136"/>
                    </a:lnTo>
                    <a:lnTo>
                      <a:pt x="5625" y="4102"/>
                    </a:lnTo>
                    <a:lnTo>
                      <a:pt x="5605" y="4068"/>
                    </a:lnTo>
                    <a:lnTo>
                      <a:pt x="5583" y="4038"/>
                    </a:lnTo>
                    <a:lnTo>
                      <a:pt x="5559" y="4010"/>
                    </a:lnTo>
                    <a:lnTo>
                      <a:pt x="5529" y="3984"/>
                    </a:lnTo>
                    <a:lnTo>
                      <a:pt x="5497" y="3960"/>
                    </a:lnTo>
                    <a:lnTo>
                      <a:pt x="5513" y="3540"/>
                    </a:lnTo>
                    <a:lnTo>
                      <a:pt x="6423" y="2774"/>
                    </a:lnTo>
                    <a:lnTo>
                      <a:pt x="6423" y="6422"/>
                    </a:lnTo>
                    <a:lnTo>
                      <a:pt x="286" y="6422"/>
                    </a:lnTo>
                    <a:close/>
                  </a:path>
                </a:pathLst>
              </a:custGeom>
              <a:solidFill>
                <a:srgbClr val="A32020"/>
              </a:solidFill>
              <a:ln>
                <a:noFill/>
              </a:ln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/>
              </a:p>
            </p:txBody>
          </p:sp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3C8F25A2-AACA-4EBB-9F8B-6290AC45E481}"/>
                  </a:ext>
                </a:extLst>
              </p:cNvPr>
              <p:cNvSpPr txBox="1"/>
              <p:nvPr/>
            </p:nvSpPr>
            <p:spPr>
              <a:xfrm>
                <a:off x="10551396" y="2884807"/>
                <a:ext cx="1691592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" sz="1400" b="1" noProof="0" dirty="0">
                    <a:solidFill>
                      <a:schemeClr val="tx1"/>
                    </a:solidFill>
                    <a:cs typeface="Arial" pitchFamily="34" charset="0"/>
                  </a:rPr>
                  <a:t>Заемные средства</a:t>
                </a:r>
              </a:p>
            </p:txBody>
          </p:sp>
        </p:grp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85A7CC54-4ED2-4ACC-8A74-CEE064A2EB47}"/>
                </a:ext>
              </a:extLst>
            </p:cNvPr>
            <p:cNvSpPr txBox="1"/>
            <p:nvPr/>
          </p:nvSpPr>
          <p:spPr>
            <a:xfrm>
              <a:off x="9914371" y="3321278"/>
              <a:ext cx="187417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" sz="1400" noProof="0" dirty="0">
                  <a:solidFill>
                    <a:schemeClr val="tx1"/>
                  </a:solidFill>
                  <a:cs typeface="Arial" pitchFamily="34" charset="0"/>
                </a:rPr>
                <a:t>16,9 млн долл США</a:t>
              </a:r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75C5E2AE-B253-41C7-A375-90095AA824CF}"/>
              </a:ext>
            </a:extLst>
          </p:cNvPr>
          <p:cNvGrpSpPr/>
          <p:nvPr/>
        </p:nvGrpSpPr>
        <p:grpSpPr>
          <a:xfrm>
            <a:off x="1287067" y="2999490"/>
            <a:ext cx="1782005" cy="773202"/>
            <a:chOff x="9914371" y="2763520"/>
            <a:chExt cx="1782005" cy="773202"/>
          </a:xfrm>
        </p:grpSpPr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A7BB73AA-7613-407F-9609-9F9D5B1C799B}"/>
                </a:ext>
              </a:extLst>
            </p:cNvPr>
            <p:cNvGrpSpPr/>
            <p:nvPr/>
          </p:nvGrpSpPr>
          <p:grpSpPr>
            <a:xfrm>
              <a:off x="10029681" y="2763520"/>
              <a:ext cx="1238539" cy="458019"/>
              <a:chOff x="10050891" y="2763520"/>
              <a:chExt cx="1238539" cy="458019"/>
            </a:xfrm>
          </p:grpSpPr>
          <p:sp>
            <p:nvSpPr>
              <p:cNvPr id="161" name="Freeform 73">
                <a:extLst>
                  <a:ext uri="{FF2B5EF4-FFF2-40B4-BE49-F238E27FC236}">
                    <a16:creationId xmlns:a16="http://schemas.microsoft.com/office/drawing/2014/main" id="{614D1F39-843C-4149-B49F-F2BE0161B8F8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0050891" y="2763520"/>
                <a:ext cx="458087" cy="458019"/>
              </a:xfrm>
              <a:custGeom>
                <a:avLst/>
                <a:gdLst>
                  <a:gd name="T0" fmla="*/ 6709 w 6709"/>
                  <a:gd name="T1" fmla="*/ 0 h 6708"/>
                  <a:gd name="T2" fmla="*/ 2508 w 6709"/>
                  <a:gd name="T3" fmla="*/ 5788 h 6708"/>
                  <a:gd name="T4" fmla="*/ 2430 w 6709"/>
                  <a:gd name="T5" fmla="*/ 5806 h 6708"/>
                  <a:gd name="T6" fmla="*/ 2342 w 6709"/>
                  <a:gd name="T7" fmla="*/ 5764 h 6708"/>
                  <a:gd name="T8" fmla="*/ 1534 w 6709"/>
                  <a:gd name="T9" fmla="*/ 4892 h 6708"/>
                  <a:gd name="T10" fmla="*/ 1536 w 6709"/>
                  <a:gd name="T11" fmla="*/ 4802 h 6708"/>
                  <a:gd name="T12" fmla="*/ 1658 w 6709"/>
                  <a:gd name="T13" fmla="*/ 4404 h 6708"/>
                  <a:gd name="T14" fmla="*/ 1504 w 6709"/>
                  <a:gd name="T15" fmla="*/ 4280 h 6708"/>
                  <a:gd name="T16" fmla="*/ 1388 w 6709"/>
                  <a:gd name="T17" fmla="*/ 4084 h 6708"/>
                  <a:gd name="T18" fmla="*/ 1868 w 6709"/>
                  <a:gd name="T19" fmla="*/ 2096 h 6708"/>
                  <a:gd name="T20" fmla="*/ 2684 w 6709"/>
                  <a:gd name="T21" fmla="*/ 1736 h 6708"/>
                  <a:gd name="T22" fmla="*/ 2958 w 6709"/>
                  <a:gd name="T23" fmla="*/ 1754 h 6708"/>
                  <a:gd name="T24" fmla="*/ 1732 w 6709"/>
                  <a:gd name="T25" fmla="*/ 3102 h 6708"/>
                  <a:gd name="T26" fmla="*/ 1572 w 6709"/>
                  <a:gd name="T27" fmla="*/ 3390 h 6708"/>
                  <a:gd name="T28" fmla="*/ 1608 w 6709"/>
                  <a:gd name="T29" fmla="*/ 3674 h 6708"/>
                  <a:gd name="T30" fmla="*/ 1740 w 6709"/>
                  <a:gd name="T31" fmla="*/ 3848 h 6708"/>
                  <a:gd name="T32" fmla="*/ 1978 w 6709"/>
                  <a:gd name="T33" fmla="*/ 3956 h 6708"/>
                  <a:gd name="T34" fmla="*/ 2278 w 6709"/>
                  <a:gd name="T35" fmla="*/ 3910 h 6708"/>
                  <a:gd name="T36" fmla="*/ 2882 w 6709"/>
                  <a:gd name="T37" fmla="*/ 3398 h 6708"/>
                  <a:gd name="T38" fmla="*/ 3172 w 6709"/>
                  <a:gd name="T39" fmla="*/ 3238 h 6708"/>
                  <a:gd name="T40" fmla="*/ 3377 w 6709"/>
                  <a:gd name="T41" fmla="*/ 3228 h 6708"/>
                  <a:gd name="T42" fmla="*/ 5341 w 6709"/>
                  <a:gd name="T43" fmla="*/ 4200 h 6708"/>
                  <a:gd name="T44" fmla="*/ 5373 w 6709"/>
                  <a:gd name="T45" fmla="*/ 4246 h 6708"/>
                  <a:gd name="T46" fmla="*/ 3985 w 6709"/>
                  <a:gd name="T47" fmla="*/ 5558 h 6708"/>
                  <a:gd name="T48" fmla="*/ 3889 w 6709"/>
                  <a:gd name="T49" fmla="*/ 5616 h 6708"/>
                  <a:gd name="T50" fmla="*/ 5215 w 6709"/>
                  <a:gd name="T51" fmla="*/ 3814 h 6708"/>
                  <a:gd name="T52" fmla="*/ 3661 w 6709"/>
                  <a:gd name="T53" fmla="*/ 3014 h 6708"/>
                  <a:gd name="T54" fmla="*/ 3399 w 6709"/>
                  <a:gd name="T55" fmla="*/ 2942 h 6708"/>
                  <a:gd name="T56" fmla="*/ 3142 w 6709"/>
                  <a:gd name="T57" fmla="*/ 2950 h 6708"/>
                  <a:gd name="T58" fmla="*/ 2894 w 6709"/>
                  <a:gd name="T59" fmla="*/ 3042 h 6708"/>
                  <a:gd name="T60" fmla="*/ 2192 w 6709"/>
                  <a:gd name="T61" fmla="*/ 3626 h 6708"/>
                  <a:gd name="T62" fmla="*/ 2082 w 6709"/>
                  <a:gd name="T63" fmla="*/ 3676 h 6708"/>
                  <a:gd name="T64" fmla="*/ 1948 w 6709"/>
                  <a:gd name="T65" fmla="*/ 3646 h 6708"/>
                  <a:gd name="T66" fmla="*/ 1868 w 6709"/>
                  <a:gd name="T67" fmla="*/ 3556 h 6708"/>
                  <a:gd name="T68" fmla="*/ 1854 w 6709"/>
                  <a:gd name="T69" fmla="*/ 3438 h 6708"/>
                  <a:gd name="T70" fmla="*/ 1920 w 6709"/>
                  <a:gd name="T71" fmla="*/ 3316 h 6708"/>
                  <a:gd name="T72" fmla="*/ 3493 w 6709"/>
                  <a:gd name="T73" fmla="*/ 1978 h 6708"/>
                  <a:gd name="T74" fmla="*/ 3707 w 6709"/>
                  <a:gd name="T75" fmla="*/ 1956 h 6708"/>
                  <a:gd name="T76" fmla="*/ 6423 w 6709"/>
                  <a:gd name="T77" fmla="*/ 2402 h 6708"/>
                  <a:gd name="T78" fmla="*/ 3891 w 6709"/>
                  <a:gd name="T79" fmla="*/ 1710 h 6708"/>
                  <a:gd name="T80" fmla="*/ 3675 w 6709"/>
                  <a:gd name="T81" fmla="*/ 1668 h 6708"/>
                  <a:gd name="T82" fmla="*/ 3457 w 6709"/>
                  <a:gd name="T83" fmla="*/ 1692 h 6708"/>
                  <a:gd name="T84" fmla="*/ 2982 w 6709"/>
                  <a:gd name="T85" fmla="*/ 1466 h 6708"/>
                  <a:gd name="T86" fmla="*/ 2588 w 6709"/>
                  <a:gd name="T87" fmla="*/ 1462 h 6708"/>
                  <a:gd name="T88" fmla="*/ 286 w 6709"/>
                  <a:gd name="T89" fmla="*/ 286 h 6708"/>
                  <a:gd name="T90" fmla="*/ 1088 w 6709"/>
                  <a:gd name="T91" fmla="*/ 4076 h 6708"/>
                  <a:gd name="T92" fmla="*/ 1182 w 6709"/>
                  <a:gd name="T93" fmla="*/ 4318 h 6708"/>
                  <a:gd name="T94" fmla="*/ 1342 w 6709"/>
                  <a:gd name="T95" fmla="*/ 4522 h 6708"/>
                  <a:gd name="T96" fmla="*/ 1264 w 6709"/>
                  <a:gd name="T97" fmla="*/ 4716 h 6708"/>
                  <a:gd name="T98" fmla="*/ 1266 w 6709"/>
                  <a:gd name="T99" fmla="*/ 4988 h 6708"/>
                  <a:gd name="T100" fmla="*/ 2146 w 6709"/>
                  <a:gd name="T101" fmla="*/ 5976 h 6708"/>
                  <a:gd name="T102" fmla="*/ 2410 w 6709"/>
                  <a:gd name="T103" fmla="*/ 6090 h 6708"/>
                  <a:gd name="T104" fmla="*/ 2588 w 6709"/>
                  <a:gd name="T105" fmla="*/ 6066 h 6708"/>
                  <a:gd name="T106" fmla="*/ 3677 w 6709"/>
                  <a:gd name="T107" fmla="*/ 5848 h 6708"/>
                  <a:gd name="T108" fmla="*/ 3855 w 6709"/>
                  <a:gd name="T109" fmla="*/ 5902 h 6708"/>
                  <a:gd name="T110" fmla="*/ 4003 w 6709"/>
                  <a:gd name="T111" fmla="*/ 5886 h 6708"/>
                  <a:gd name="T112" fmla="*/ 4153 w 6709"/>
                  <a:gd name="T113" fmla="*/ 5800 h 6708"/>
                  <a:gd name="T114" fmla="*/ 5583 w 6709"/>
                  <a:gd name="T115" fmla="*/ 4476 h 6708"/>
                  <a:gd name="T116" fmla="*/ 5657 w 6709"/>
                  <a:gd name="T117" fmla="*/ 4210 h 6708"/>
                  <a:gd name="T118" fmla="*/ 5559 w 6709"/>
                  <a:gd name="T119" fmla="*/ 4010 h 67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709" h="6708">
                    <a:moveTo>
                      <a:pt x="6709" y="0"/>
                    </a:moveTo>
                    <a:lnTo>
                      <a:pt x="0" y="0"/>
                    </a:lnTo>
                    <a:lnTo>
                      <a:pt x="0" y="6708"/>
                    </a:lnTo>
                    <a:lnTo>
                      <a:pt x="6709" y="6708"/>
                    </a:lnTo>
                    <a:lnTo>
                      <a:pt x="6709" y="6708"/>
                    </a:lnTo>
                    <a:lnTo>
                      <a:pt x="6709" y="0"/>
                    </a:lnTo>
                    <a:lnTo>
                      <a:pt x="6709" y="0"/>
                    </a:lnTo>
                    <a:close/>
                    <a:moveTo>
                      <a:pt x="1574" y="4746"/>
                    </a:moveTo>
                    <a:lnTo>
                      <a:pt x="1618" y="4708"/>
                    </a:lnTo>
                    <a:lnTo>
                      <a:pt x="2926" y="5432"/>
                    </a:lnTo>
                    <a:lnTo>
                      <a:pt x="2530" y="5772"/>
                    </a:lnTo>
                    <a:lnTo>
                      <a:pt x="2530" y="5772"/>
                    </a:lnTo>
                    <a:lnTo>
                      <a:pt x="2520" y="5780"/>
                    </a:lnTo>
                    <a:lnTo>
                      <a:pt x="2508" y="5788"/>
                    </a:lnTo>
                    <a:lnTo>
                      <a:pt x="2496" y="5794"/>
                    </a:lnTo>
                    <a:lnTo>
                      <a:pt x="2484" y="5798"/>
                    </a:lnTo>
                    <a:lnTo>
                      <a:pt x="2470" y="5802"/>
                    </a:lnTo>
                    <a:lnTo>
                      <a:pt x="2456" y="5804"/>
                    </a:lnTo>
                    <a:lnTo>
                      <a:pt x="2444" y="5806"/>
                    </a:lnTo>
                    <a:lnTo>
                      <a:pt x="2430" y="5806"/>
                    </a:lnTo>
                    <a:lnTo>
                      <a:pt x="2430" y="5806"/>
                    </a:lnTo>
                    <a:lnTo>
                      <a:pt x="2416" y="5804"/>
                    </a:lnTo>
                    <a:lnTo>
                      <a:pt x="2402" y="5800"/>
                    </a:lnTo>
                    <a:lnTo>
                      <a:pt x="2390" y="5796"/>
                    </a:lnTo>
                    <a:lnTo>
                      <a:pt x="2376" y="5790"/>
                    </a:lnTo>
                    <a:lnTo>
                      <a:pt x="2364" y="5784"/>
                    </a:lnTo>
                    <a:lnTo>
                      <a:pt x="2352" y="5774"/>
                    </a:lnTo>
                    <a:lnTo>
                      <a:pt x="2342" y="5764"/>
                    </a:lnTo>
                    <a:lnTo>
                      <a:pt x="2330" y="5752"/>
                    </a:lnTo>
                    <a:lnTo>
                      <a:pt x="1560" y="4940"/>
                    </a:lnTo>
                    <a:lnTo>
                      <a:pt x="1560" y="4940"/>
                    </a:lnTo>
                    <a:lnTo>
                      <a:pt x="1552" y="4930"/>
                    </a:lnTo>
                    <a:lnTo>
                      <a:pt x="1544" y="4918"/>
                    </a:lnTo>
                    <a:lnTo>
                      <a:pt x="1538" y="4906"/>
                    </a:lnTo>
                    <a:lnTo>
                      <a:pt x="1534" y="4892"/>
                    </a:lnTo>
                    <a:lnTo>
                      <a:pt x="1530" y="4880"/>
                    </a:lnTo>
                    <a:lnTo>
                      <a:pt x="1528" y="4866"/>
                    </a:lnTo>
                    <a:lnTo>
                      <a:pt x="1526" y="4854"/>
                    </a:lnTo>
                    <a:lnTo>
                      <a:pt x="1528" y="4840"/>
                    </a:lnTo>
                    <a:lnTo>
                      <a:pt x="1528" y="4828"/>
                    </a:lnTo>
                    <a:lnTo>
                      <a:pt x="1532" y="4814"/>
                    </a:lnTo>
                    <a:lnTo>
                      <a:pt x="1536" y="4802"/>
                    </a:lnTo>
                    <a:lnTo>
                      <a:pt x="1540" y="4790"/>
                    </a:lnTo>
                    <a:lnTo>
                      <a:pt x="1548" y="4778"/>
                    </a:lnTo>
                    <a:lnTo>
                      <a:pt x="1554" y="4766"/>
                    </a:lnTo>
                    <a:lnTo>
                      <a:pt x="1564" y="4756"/>
                    </a:lnTo>
                    <a:lnTo>
                      <a:pt x="1574" y="4746"/>
                    </a:lnTo>
                    <a:lnTo>
                      <a:pt x="1574" y="4746"/>
                    </a:lnTo>
                    <a:close/>
                    <a:moveTo>
                      <a:pt x="1658" y="4404"/>
                    </a:moveTo>
                    <a:lnTo>
                      <a:pt x="1658" y="4404"/>
                    </a:lnTo>
                    <a:lnTo>
                      <a:pt x="1630" y="4386"/>
                    </a:lnTo>
                    <a:lnTo>
                      <a:pt x="1602" y="4368"/>
                    </a:lnTo>
                    <a:lnTo>
                      <a:pt x="1576" y="4348"/>
                    </a:lnTo>
                    <a:lnTo>
                      <a:pt x="1550" y="4326"/>
                    </a:lnTo>
                    <a:lnTo>
                      <a:pt x="1526" y="4304"/>
                    </a:lnTo>
                    <a:lnTo>
                      <a:pt x="1504" y="4280"/>
                    </a:lnTo>
                    <a:lnTo>
                      <a:pt x="1484" y="4254"/>
                    </a:lnTo>
                    <a:lnTo>
                      <a:pt x="1464" y="4228"/>
                    </a:lnTo>
                    <a:lnTo>
                      <a:pt x="1446" y="4202"/>
                    </a:lnTo>
                    <a:lnTo>
                      <a:pt x="1428" y="4174"/>
                    </a:lnTo>
                    <a:lnTo>
                      <a:pt x="1414" y="4144"/>
                    </a:lnTo>
                    <a:lnTo>
                      <a:pt x="1400" y="4114"/>
                    </a:lnTo>
                    <a:lnTo>
                      <a:pt x="1388" y="4084"/>
                    </a:lnTo>
                    <a:lnTo>
                      <a:pt x="1378" y="4052"/>
                    </a:lnTo>
                    <a:lnTo>
                      <a:pt x="1368" y="4020"/>
                    </a:lnTo>
                    <a:lnTo>
                      <a:pt x="1362" y="3988"/>
                    </a:lnTo>
                    <a:lnTo>
                      <a:pt x="1238" y="3310"/>
                    </a:lnTo>
                    <a:lnTo>
                      <a:pt x="286" y="2752"/>
                    </a:lnTo>
                    <a:lnTo>
                      <a:pt x="286" y="1148"/>
                    </a:lnTo>
                    <a:lnTo>
                      <a:pt x="1868" y="2096"/>
                    </a:lnTo>
                    <a:lnTo>
                      <a:pt x="2494" y="1794"/>
                    </a:lnTo>
                    <a:lnTo>
                      <a:pt x="2494" y="1794"/>
                    </a:lnTo>
                    <a:lnTo>
                      <a:pt x="2532" y="1776"/>
                    </a:lnTo>
                    <a:lnTo>
                      <a:pt x="2570" y="1762"/>
                    </a:lnTo>
                    <a:lnTo>
                      <a:pt x="2608" y="1752"/>
                    </a:lnTo>
                    <a:lnTo>
                      <a:pt x="2646" y="1742"/>
                    </a:lnTo>
                    <a:lnTo>
                      <a:pt x="2684" y="1736"/>
                    </a:lnTo>
                    <a:lnTo>
                      <a:pt x="2724" y="1730"/>
                    </a:lnTo>
                    <a:lnTo>
                      <a:pt x="2764" y="1728"/>
                    </a:lnTo>
                    <a:lnTo>
                      <a:pt x="2802" y="1730"/>
                    </a:lnTo>
                    <a:lnTo>
                      <a:pt x="2842" y="1732"/>
                    </a:lnTo>
                    <a:lnTo>
                      <a:pt x="2880" y="1738"/>
                    </a:lnTo>
                    <a:lnTo>
                      <a:pt x="2918" y="1744"/>
                    </a:lnTo>
                    <a:lnTo>
                      <a:pt x="2958" y="1754"/>
                    </a:lnTo>
                    <a:lnTo>
                      <a:pt x="2994" y="1766"/>
                    </a:lnTo>
                    <a:lnTo>
                      <a:pt x="3032" y="1782"/>
                    </a:lnTo>
                    <a:lnTo>
                      <a:pt x="3068" y="1798"/>
                    </a:lnTo>
                    <a:lnTo>
                      <a:pt x="3104" y="1818"/>
                    </a:lnTo>
                    <a:lnTo>
                      <a:pt x="3162" y="1850"/>
                    </a:lnTo>
                    <a:lnTo>
                      <a:pt x="1732" y="3102"/>
                    </a:lnTo>
                    <a:lnTo>
                      <a:pt x="1732" y="3102"/>
                    </a:lnTo>
                    <a:lnTo>
                      <a:pt x="1698" y="3134"/>
                    </a:lnTo>
                    <a:lnTo>
                      <a:pt x="1666" y="3172"/>
                    </a:lnTo>
                    <a:lnTo>
                      <a:pt x="1638" y="3212"/>
                    </a:lnTo>
                    <a:lnTo>
                      <a:pt x="1616" y="3254"/>
                    </a:lnTo>
                    <a:lnTo>
                      <a:pt x="1596" y="3296"/>
                    </a:lnTo>
                    <a:lnTo>
                      <a:pt x="1582" y="3342"/>
                    </a:lnTo>
                    <a:lnTo>
                      <a:pt x="1572" y="3390"/>
                    </a:lnTo>
                    <a:lnTo>
                      <a:pt x="1566" y="3438"/>
                    </a:lnTo>
                    <a:lnTo>
                      <a:pt x="1566" y="3438"/>
                    </a:lnTo>
                    <a:lnTo>
                      <a:pt x="1564" y="3488"/>
                    </a:lnTo>
                    <a:lnTo>
                      <a:pt x="1568" y="3536"/>
                    </a:lnTo>
                    <a:lnTo>
                      <a:pt x="1578" y="3582"/>
                    </a:lnTo>
                    <a:lnTo>
                      <a:pt x="1590" y="3628"/>
                    </a:lnTo>
                    <a:lnTo>
                      <a:pt x="1608" y="3674"/>
                    </a:lnTo>
                    <a:lnTo>
                      <a:pt x="1630" y="3716"/>
                    </a:lnTo>
                    <a:lnTo>
                      <a:pt x="1656" y="3756"/>
                    </a:lnTo>
                    <a:lnTo>
                      <a:pt x="1686" y="3794"/>
                    </a:lnTo>
                    <a:lnTo>
                      <a:pt x="1686" y="3794"/>
                    </a:lnTo>
                    <a:lnTo>
                      <a:pt x="1704" y="3814"/>
                    </a:lnTo>
                    <a:lnTo>
                      <a:pt x="1722" y="3832"/>
                    </a:lnTo>
                    <a:lnTo>
                      <a:pt x="1740" y="3848"/>
                    </a:lnTo>
                    <a:lnTo>
                      <a:pt x="1760" y="3862"/>
                    </a:lnTo>
                    <a:lnTo>
                      <a:pt x="1778" y="3878"/>
                    </a:lnTo>
                    <a:lnTo>
                      <a:pt x="1800" y="3890"/>
                    </a:lnTo>
                    <a:lnTo>
                      <a:pt x="1842" y="3914"/>
                    </a:lnTo>
                    <a:lnTo>
                      <a:pt x="1886" y="3932"/>
                    </a:lnTo>
                    <a:lnTo>
                      <a:pt x="1930" y="3946"/>
                    </a:lnTo>
                    <a:lnTo>
                      <a:pt x="1978" y="3956"/>
                    </a:lnTo>
                    <a:lnTo>
                      <a:pt x="2024" y="3962"/>
                    </a:lnTo>
                    <a:lnTo>
                      <a:pt x="2072" y="3962"/>
                    </a:lnTo>
                    <a:lnTo>
                      <a:pt x="2118" y="3958"/>
                    </a:lnTo>
                    <a:lnTo>
                      <a:pt x="2166" y="3950"/>
                    </a:lnTo>
                    <a:lnTo>
                      <a:pt x="2212" y="3938"/>
                    </a:lnTo>
                    <a:lnTo>
                      <a:pt x="2256" y="3920"/>
                    </a:lnTo>
                    <a:lnTo>
                      <a:pt x="2278" y="3910"/>
                    </a:lnTo>
                    <a:lnTo>
                      <a:pt x="2300" y="3898"/>
                    </a:lnTo>
                    <a:lnTo>
                      <a:pt x="2320" y="3886"/>
                    </a:lnTo>
                    <a:lnTo>
                      <a:pt x="2342" y="3872"/>
                    </a:lnTo>
                    <a:lnTo>
                      <a:pt x="2362" y="3856"/>
                    </a:lnTo>
                    <a:lnTo>
                      <a:pt x="2382" y="3840"/>
                    </a:lnTo>
                    <a:lnTo>
                      <a:pt x="2882" y="3398"/>
                    </a:lnTo>
                    <a:lnTo>
                      <a:pt x="2882" y="3398"/>
                    </a:lnTo>
                    <a:lnTo>
                      <a:pt x="2928" y="3360"/>
                    </a:lnTo>
                    <a:lnTo>
                      <a:pt x="2976" y="3326"/>
                    </a:lnTo>
                    <a:lnTo>
                      <a:pt x="3024" y="3296"/>
                    </a:lnTo>
                    <a:lnTo>
                      <a:pt x="3074" y="3272"/>
                    </a:lnTo>
                    <a:lnTo>
                      <a:pt x="3122" y="3252"/>
                    </a:lnTo>
                    <a:lnTo>
                      <a:pt x="3148" y="3244"/>
                    </a:lnTo>
                    <a:lnTo>
                      <a:pt x="3172" y="3238"/>
                    </a:lnTo>
                    <a:lnTo>
                      <a:pt x="3198" y="3232"/>
                    </a:lnTo>
                    <a:lnTo>
                      <a:pt x="3222" y="3228"/>
                    </a:lnTo>
                    <a:lnTo>
                      <a:pt x="3248" y="3226"/>
                    </a:lnTo>
                    <a:lnTo>
                      <a:pt x="3274" y="3224"/>
                    </a:lnTo>
                    <a:lnTo>
                      <a:pt x="3298" y="3222"/>
                    </a:lnTo>
                    <a:lnTo>
                      <a:pt x="3324" y="3224"/>
                    </a:lnTo>
                    <a:lnTo>
                      <a:pt x="3377" y="3228"/>
                    </a:lnTo>
                    <a:lnTo>
                      <a:pt x="3429" y="3238"/>
                    </a:lnTo>
                    <a:lnTo>
                      <a:pt x="3483" y="3254"/>
                    </a:lnTo>
                    <a:lnTo>
                      <a:pt x="3537" y="3272"/>
                    </a:lnTo>
                    <a:lnTo>
                      <a:pt x="3591" y="3298"/>
                    </a:lnTo>
                    <a:lnTo>
                      <a:pt x="3645" y="3326"/>
                    </a:lnTo>
                    <a:lnTo>
                      <a:pt x="3701" y="3360"/>
                    </a:lnTo>
                    <a:lnTo>
                      <a:pt x="5341" y="4200"/>
                    </a:lnTo>
                    <a:lnTo>
                      <a:pt x="5341" y="4200"/>
                    </a:lnTo>
                    <a:lnTo>
                      <a:pt x="5349" y="4204"/>
                    </a:lnTo>
                    <a:lnTo>
                      <a:pt x="5357" y="4210"/>
                    </a:lnTo>
                    <a:lnTo>
                      <a:pt x="5365" y="4224"/>
                    </a:lnTo>
                    <a:lnTo>
                      <a:pt x="5371" y="4236"/>
                    </a:lnTo>
                    <a:lnTo>
                      <a:pt x="5373" y="4246"/>
                    </a:lnTo>
                    <a:lnTo>
                      <a:pt x="5373" y="4246"/>
                    </a:lnTo>
                    <a:lnTo>
                      <a:pt x="5373" y="4258"/>
                    </a:lnTo>
                    <a:lnTo>
                      <a:pt x="5373" y="4270"/>
                    </a:lnTo>
                    <a:lnTo>
                      <a:pt x="5367" y="4284"/>
                    </a:lnTo>
                    <a:lnTo>
                      <a:pt x="5363" y="4292"/>
                    </a:lnTo>
                    <a:lnTo>
                      <a:pt x="5359" y="4298"/>
                    </a:lnTo>
                    <a:lnTo>
                      <a:pt x="3997" y="5540"/>
                    </a:lnTo>
                    <a:lnTo>
                      <a:pt x="3985" y="5558"/>
                    </a:lnTo>
                    <a:lnTo>
                      <a:pt x="3985" y="5558"/>
                    </a:lnTo>
                    <a:lnTo>
                      <a:pt x="3979" y="5568"/>
                    </a:lnTo>
                    <a:lnTo>
                      <a:pt x="3971" y="5578"/>
                    </a:lnTo>
                    <a:lnTo>
                      <a:pt x="3953" y="5594"/>
                    </a:lnTo>
                    <a:lnTo>
                      <a:pt x="3933" y="5606"/>
                    </a:lnTo>
                    <a:lnTo>
                      <a:pt x="3911" y="5614"/>
                    </a:lnTo>
                    <a:lnTo>
                      <a:pt x="3889" y="5616"/>
                    </a:lnTo>
                    <a:lnTo>
                      <a:pt x="3865" y="5616"/>
                    </a:lnTo>
                    <a:lnTo>
                      <a:pt x="3841" y="5610"/>
                    </a:lnTo>
                    <a:lnTo>
                      <a:pt x="3831" y="5604"/>
                    </a:lnTo>
                    <a:lnTo>
                      <a:pt x="3819" y="5598"/>
                    </a:lnTo>
                    <a:lnTo>
                      <a:pt x="1658" y="4404"/>
                    </a:lnTo>
                    <a:close/>
                    <a:moveTo>
                      <a:pt x="5231" y="3404"/>
                    </a:moveTo>
                    <a:lnTo>
                      <a:pt x="5215" y="3814"/>
                    </a:lnTo>
                    <a:lnTo>
                      <a:pt x="3851" y="3116"/>
                    </a:lnTo>
                    <a:lnTo>
                      <a:pt x="3851" y="3116"/>
                    </a:lnTo>
                    <a:lnTo>
                      <a:pt x="3813" y="3092"/>
                    </a:lnTo>
                    <a:lnTo>
                      <a:pt x="3775" y="3070"/>
                    </a:lnTo>
                    <a:lnTo>
                      <a:pt x="3737" y="3050"/>
                    </a:lnTo>
                    <a:lnTo>
                      <a:pt x="3699" y="3032"/>
                    </a:lnTo>
                    <a:lnTo>
                      <a:pt x="3661" y="3014"/>
                    </a:lnTo>
                    <a:lnTo>
                      <a:pt x="3623" y="2998"/>
                    </a:lnTo>
                    <a:lnTo>
                      <a:pt x="3585" y="2986"/>
                    </a:lnTo>
                    <a:lnTo>
                      <a:pt x="3547" y="2974"/>
                    </a:lnTo>
                    <a:lnTo>
                      <a:pt x="3511" y="2962"/>
                    </a:lnTo>
                    <a:lnTo>
                      <a:pt x="3473" y="2954"/>
                    </a:lnTo>
                    <a:lnTo>
                      <a:pt x="3435" y="2946"/>
                    </a:lnTo>
                    <a:lnTo>
                      <a:pt x="3399" y="2942"/>
                    </a:lnTo>
                    <a:lnTo>
                      <a:pt x="3361" y="2938"/>
                    </a:lnTo>
                    <a:lnTo>
                      <a:pt x="3324" y="2936"/>
                    </a:lnTo>
                    <a:lnTo>
                      <a:pt x="3286" y="2936"/>
                    </a:lnTo>
                    <a:lnTo>
                      <a:pt x="3250" y="2936"/>
                    </a:lnTo>
                    <a:lnTo>
                      <a:pt x="3214" y="2940"/>
                    </a:lnTo>
                    <a:lnTo>
                      <a:pt x="3178" y="2944"/>
                    </a:lnTo>
                    <a:lnTo>
                      <a:pt x="3142" y="2950"/>
                    </a:lnTo>
                    <a:lnTo>
                      <a:pt x="3106" y="2958"/>
                    </a:lnTo>
                    <a:lnTo>
                      <a:pt x="3070" y="2968"/>
                    </a:lnTo>
                    <a:lnTo>
                      <a:pt x="3034" y="2980"/>
                    </a:lnTo>
                    <a:lnTo>
                      <a:pt x="2998" y="2992"/>
                    </a:lnTo>
                    <a:lnTo>
                      <a:pt x="2964" y="3006"/>
                    </a:lnTo>
                    <a:lnTo>
                      <a:pt x="2930" y="3024"/>
                    </a:lnTo>
                    <a:lnTo>
                      <a:pt x="2894" y="3042"/>
                    </a:lnTo>
                    <a:lnTo>
                      <a:pt x="2860" y="3060"/>
                    </a:lnTo>
                    <a:lnTo>
                      <a:pt x="2826" y="3082"/>
                    </a:lnTo>
                    <a:lnTo>
                      <a:pt x="2792" y="3106"/>
                    </a:lnTo>
                    <a:lnTo>
                      <a:pt x="2758" y="3130"/>
                    </a:lnTo>
                    <a:lnTo>
                      <a:pt x="2726" y="3156"/>
                    </a:lnTo>
                    <a:lnTo>
                      <a:pt x="2692" y="3184"/>
                    </a:lnTo>
                    <a:lnTo>
                      <a:pt x="2192" y="3626"/>
                    </a:lnTo>
                    <a:lnTo>
                      <a:pt x="2192" y="3626"/>
                    </a:lnTo>
                    <a:lnTo>
                      <a:pt x="2176" y="3638"/>
                    </a:lnTo>
                    <a:lnTo>
                      <a:pt x="2158" y="3650"/>
                    </a:lnTo>
                    <a:lnTo>
                      <a:pt x="2140" y="3660"/>
                    </a:lnTo>
                    <a:lnTo>
                      <a:pt x="2122" y="3666"/>
                    </a:lnTo>
                    <a:lnTo>
                      <a:pt x="2102" y="3672"/>
                    </a:lnTo>
                    <a:lnTo>
                      <a:pt x="2082" y="3676"/>
                    </a:lnTo>
                    <a:lnTo>
                      <a:pt x="2062" y="3676"/>
                    </a:lnTo>
                    <a:lnTo>
                      <a:pt x="2042" y="3676"/>
                    </a:lnTo>
                    <a:lnTo>
                      <a:pt x="2024" y="3674"/>
                    </a:lnTo>
                    <a:lnTo>
                      <a:pt x="2004" y="3670"/>
                    </a:lnTo>
                    <a:lnTo>
                      <a:pt x="1984" y="3664"/>
                    </a:lnTo>
                    <a:lnTo>
                      <a:pt x="1966" y="3656"/>
                    </a:lnTo>
                    <a:lnTo>
                      <a:pt x="1948" y="3646"/>
                    </a:lnTo>
                    <a:lnTo>
                      <a:pt x="1932" y="3634"/>
                    </a:lnTo>
                    <a:lnTo>
                      <a:pt x="1916" y="3622"/>
                    </a:lnTo>
                    <a:lnTo>
                      <a:pt x="1902" y="3606"/>
                    </a:lnTo>
                    <a:lnTo>
                      <a:pt x="1902" y="3606"/>
                    </a:lnTo>
                    <a:lnTo>
                      <a:pt x="1888" y="3590"/>
                    </a:lnTo>
                    <a:lnTo>
                      <a:pt x="1878" y="3574"/>
                    </a:lnTo>
                    <a:lnTo>
                      <a:pt x="1868" y="3556"/>
                    </a:lnTo>
                    <a:lnTo>
                      <a:pt x="1862" y="3538"/>
                    </a:lnTo>
                    <a:lnTo>
                      <a:pt x="1856" y="3518"/>
                    </a:lnTo>
                    <a:lnTo>
                      <a:pt x="1852" y="3498"/>
                    </a:lnTo>
                    <a:lnTo>
                      <a:pt x="1850" y="3478"/>
                    </a:lnTo>
                    <a:lnTo>
                      <a:pt x="1852" y="3458"/>
                    </a:lnTo>
                    <a:lnTo>
                      <a:pt x="1852" y="3458"/>
                    </a:lnTo>
                    <a:lnTo>
                      <a:pt x="1854" y="3438"/>
                    </a:lnTo>
                    <a:lnTo>
                      <a:pt x="1858" y="3418"/>
                    </a:lnTo>
                    <a:lnTo>
                      <a:pt x="1864" y="3398"/>
                    </a:lnTo>
                    <a:lnTo>
                      <a:pt x="1872" y="3380"/>
                    </a:lnTo>
                    <a:lnTo>
                      <a:pt x="1882" y="3362"/>
                    </a:lnTo>
                    <a:lnTo>
                      <a:pt x="1894" y="3346"/>
                    </a:lnTo>
                    <a:lnTo>
                      <a:pt x="1906" y="3330"/>
                    </a:lnTo>
                    <a:lnTo>
                      <a:pt x="1920" y="3316"/>
                    </a:lnTo>
                    <a:lnTo>
                      <a:pt x="3359" y="2060"/>
                    </a:lnTo>
                    <a:lnTo>
                      <a:pt x="3359" y="2060"/>
                    </a:lnTo>
                    <a:lnTo>
                      <a:pt x="3383" y="2038"/>
                    </a:lnTo>
                    <a:lnTo>
                      <a:pt x="3409" y="2020"/>
                    </a:lnTo>
                    <a:lnTo>
                      <a:pt x="3437" y="2004"/>
                    </a:lnTo>
                    <a:lnTo>
                      <a:pt x="3465" y="1990"/>
                    </a:lnTo>
                    <a:lnTo>
                      <a:pt x="3493" y="1978"/>
                    </a:lnTo>
                    <a:lnTo>
                      <a:pt x="3523" y="1970"/>
                    </a:lnTo>
                    <a:lnTo>
                      <a:pt x="3553" y="1962"/>
                    </a:lnTo>
                    <a:lnTo>
                      <a:pt x="3583" y="1956"/>
                    </a:lnTo>
                    <a:lnTo>
                      <a:pt x="3615" y="1954"/>
                    </a:lnTo>
                    <a:lnTo>
                      <a:pt x="3645" y="1952"/>
                    </a:lnTo>
                    <a:lnTo>
                      <a:pt x="3677" y="1954"/>
                    </a:lnTo>
                    <a:lnTo>
                      <a:pt x="3707" y="1956"/>
                    </a:lnTo>
                    <a:lnTo>
                      <a:pt x="3739" y="1962"/>
                    </a:lnTo>
                    <a:lnTo>
                      <a:pt x="3769" y="1970"/>
                    </a:lnTo>
                    <a:lnTo>
                      <a:pt x="3799" y="1982"/>
                    </a:lnTo>
                    <a:lnTo>
                      <a:pt x="3829" y="1994"/>
                    </a:lnTo>
                    <a:lnTo>
                      <a:pt x="4333" y="2234"/>
                    </a:lnTo>
                    <a:lnTo>
                      <a:pt x="6423" y="464"/>
                    </a:lnTo>
                    <a:lnTo>
                      <a:pt x="6423" y="2402"/>
                    </a:lnTo>
                    <a:lnTo>
                      <a:pt x="5231" y="3404"/>
                    </a:lnTo>
                    <a:close/>
                    <a:moveTo>
                      <a:pt x="6191" y="286"/>
                    </a:moveTo>
                    <a:lnTo>
                      <a:pt x="4289" y="1896"/>
                    </a:lnTo>
                    <a:lnTo>
                      <a:pt x="3951" y="1736"/>
                    </a:lnTo>
                    <a:lnTo>
                      <a:pt x="3951" y="1736"/>
                    </a:lnTo>
                    <a:lnTo>
                      <a:pt x="3921" y="1722"/>
                    </a:lnTo>
                    <a:lnTo>
                      <a:pt x="3891" y="1710"/>
                    </a:lnTo>
                    <a:lnTo>
                      <a:pt x="3861" y="1700"/>
                    </a:lnTo>
                    <a:lnTo>
                      <a:pt x="3831" y="1690"/>
                    </a:lnTo>
                    <a:lnTo>
                      <a:pt x="3799" y="1684"/>
                    </a:lnTo>
                    <a:lnTo>
                      <a:pt x="3769" y="1678"/>
                    </a:lnTo>
                    <a:lnTo>
                      <a:pt x="3737" y="1672"/>
                    </a:lnTo>
                    <a:lnTo>
                      <a:pt x="3705" y="1670"/>
                    </a:lnTo>
                    <a:lnTo>
                      <a:pt x="3675" y="1668"/>
                    </a:lnTo>
                    <a:lnTo>
                      <a:pt x="3643" y="1666"/>
                    </a:lnTo>
                    <a:lnTo>
                      <a:pt x="3611" y="1668"/>
                    </a:lnTo>
                    <a:lnTo>
                      <a:pt x="3579" y="1670"/>
                    </a:lnTo>
                    <a:lnTo>
                      <a:pt x="3549" y="1674"/>
                    </a:lnTo>
                    <a:lnTo>
                      <a:pt x="3517" y="1678"/>
                    </a:lnTo>
                    <a:lnTo>
                      <a:pt x="3487" y="1684"/>
                    </a:lnTo>
                    <a:lnTo>
                      <a:pt x="3457" y="1692"/>
                    </a:lnTo>
                    <a:lnTo>
                      <a:pt x="3248" y="1570"/>
                    </a:lnTo>
                    <a:lnTo>
                      <a:pt x="3248" y="1570"/>
                    </a:lnTo>
                    <a:lnTo>
                      <a:pt x="3196" y="1542"/>
                    </a:lnTo>
                    <a:lnTo>
                      <a:pt x="3144" y="1518"/>
                    </a:lnTo>
                    <a:lnTo>
                      <a:pt x="3092" y="1498"/>
                    </a:lnTo>
                    <a:lnTo>
                      <a:pt x="3036" y="1480"/>
                    </a:lnTo>
                    <a:lnTo>
                      <a:pt x="2982" y="1466"/>
                    </a:lnTo>
                    <a:lnTo>
                      <a:pt x="2926" y="1454"/>
                    </a:lnTo>
                    <a:lnTo>
                      <a:pt x="2870" y="1448"/>
                    </a:lnTo>
                    <a:lnTo>
                      <a:pt x="2814" y="1444"/>
                    </a:lnTo>
                    <a:lnTo>
                      <a:pt x="2758" y="1442"/>
                    </a:lnTo>
                    <a:lnTo>
                      <a:pt x="2700" y="1446"/>
                    </a:lnTo>
                    <a:lnTo>
                      <a:pt x="2644" y="1452"/>
                    </a:lnTo>
                    <a:lnTo>
                      <a:pt x="2588" y="1462"/>
                    </a:lnTo>
                    <a:lnTo>
                      <a:pt x="2532" y="1476"/>
                    </a:lnTo>
                    <a:lnTo>
                      <a:pt x="2478" y="1492"/>
                    </a:lnTo>
                    <a:lnTo>
                      <a:pt x="2424" y="1512"/>
                    </a:lnTo>
                    <a:lnTo>
                      <a:pt x="2370" y="1536"/>
                    </a:lnTo>
                    <a:lnTo>
                      <a:pt x="1884" y="1770"/>
                    </a:lnTo>
                    <a:lnTo>
                      <a:pt x="286" y="814"/>
                    </a:lnTo>
                    <a:lnTo>
                      <a:pt x="286" y="286"/>
                    </a:lnTo>
                    <a:lnTo>
                      <a:pt x="6191" y="286"/>
                    </a:lnTo>
                    <a:close/>
                    <a:moveTo>
                      <a:pt x="286" y="6422"/>
                    </a:moveTo>
                    <a:lnTo>
                      <a:pt x="286" y="3084"/>
                    </a:lnTo>
                    <a:lnTo>
                      <a:pt x="980" y="3492"/>
                    </a:lnTo>
                    <a:lnTo>
                      <a:pt x="1080" y="4038"/>
                    </a:lnTo>
                    <a:lnTo>
                      <a:pt x="1080" y="4038"/>
                    </a:lnTo>
                    <a:lnTo>
                      <a:pt x="1088" y="4076"/>
                    </a:lnTo>
                    <a:lnTo>
                      <a:pt x="1096" y="4112"/>
                    </a:lnTo>
                    <a:lnTo>
                      <a:pt x="1108" y="4148"/>
                    </a:lnTo>
                    <a:lnTo>
                      <a:pt x="1120" y="4184"/>
                    </a:lnTo>
                    <a:lnTo>
                      <a:pt x="1134" y="4218"/>
                    </a:lnTo>
                    <a:lnTo>
                      <a:pt x="1148" y="4252"/>
                    </a:lnTo>
                    <a:lnTo>
                      <a:pt x="1164" y="4286"/>
                    </a:lnTo>
                    <a:lnTo>
                      <a:pt x="1182" y="4318"/>
                    </a:lnTo>
                    <a:lnTo>
                      <a:pt x="1202" y="4350"/>
                    </a:lnTo>
                    <a:lnTo>
                      <a:pt x="1222" y="4382"/>
                    </a:lnTo>
                    <a:lnTo>
                      <a:pt x="1244" y="4412"/>
                    </a:lnTo>
                    <a:lnTo>
                      <a:pt x="1266" y="4440"/>
                    </a:lnTo>
                    <a:lnTo>
                      <a:pt x="1290" y="4468"/>
                    </a:lnTo>
                    <a:lnTo>
                      <a:pt x="1316" y="4496"/>
                    </a:lnTo>
                    <a:lnTo>
                      <a:pt x="1342" y="4522"/>
                    </a:lnTo>
                    <a:lnTo>
                      <a:pt x="1370" y="4548"/>
                    </a:lnTo>
                    <a:lnTo>
                      <a:pt x="1370" y="4548"/>
                    </a:lnTo>
                    <a:lnTo>
                      <a:pt x="1342" y="4578"/>
                    </a:lnTo>
                    <a:lnTo>
                      <a:pt x="1318" y="4610"/>
                    </a:lnTo>
                    <a:lnTo>
                      <a:pt x="1296" y="4644"/>
                    </a:lnTo>
                    <a:lnTo>
                      <a:pt x="1278" y="4680"/>
                    </a:lnTo>
                    <a:lnTo>
                      <a:pt x="1264" y="4716"/>
                    </a:lnTo>
                    <a:lnTo>
                      <a:pt x="1254" y="4754"/>
                    </a:lnTo>
                    <a:lnTo>
                      <a:pt x="1246" y="4794"/>
                    </a:lnTo>
                    <a:lnTo>
                      <a:pt x="1242" y="4832"/>
                    </a:lnTo>
                    <a:lnTo>
                      <a:pt x="1244" y="4872"/>
                    </a:lnTo>
                    <a:lnTo>
                      <a:pt x="1246" y="4912"/>
                    </a:lnTo>
                    <a:lnTo>
                      <a:pt x="1254" y="4950"/>
                    </a:lnTo>
                    <a:lnTo>
                      <a:pt x="1266" y="4988"/>
                    </a:lnTo>
                    <a:lnTo>
                      <a:pt x="1280" y="5026"/>
                    </a:lnTo>
                    <a:lnTo>
                      <a:pt x="1300" y="5062"/>
                    </a:lnTo>
                    <a:lnTo>
                      <a:pt x="1322" y="5098"/>
                    </a:lnTo>
                    <a:lnTo>
                      <a:pt x="1348" y="5132"/>
                    </a:lnTo>
                    <a:lnTo>
                      <a:pt x="2118" y="5944"/>
                    </a:lnTo>
                    <a:lnTo>
                      <a:pt x="2118" y="5944"/>
                    </a:lnTo>
                    <a:lnTo>
                      <a:pt x="2146" y="5976"/>
                    </a:lnTo>
                    <a:lnTo>
                      <a:pt x="2178" y="6002"/>
                    </a:lnTo>
                    <a:lnTo>
                      <a:pt x="2212" y="6026"/>
                    </a:lnTo>
                    <a:lnTo>
                      <a:pt x="2248" y="6046"/>
                    </a:lnTo>
                    <a:lnTo>
                      <a:pt x="2286" y="6064"/>
                    </a:lnTo>
                    <a:lnTo>
                      <a:pt x="2326" y="6076"/>
                    </a:lnTo>
                    <a:lnTo>
                      <a:pt x="2368" y="6086"/>
                    </a:lnTo>
                    <a:lnTo>
                      <a:pt x="2410" y="6090"/>
                    </a:lnTo>
                    <a:lnTo>
                      <a:pt x="2410" y="6090"/>
                    </a:lnTo>
                    <a:lnTo>
                      <a:pt x="2440" y="6092"/>
                    </a:lnTo>
                    <a:lnTo>
                      <a:pt x="2440" y="6092"/>
                    </a:lnTo>
                    <a:lnTo>
                      <a:pt x="2478" y="6090"/>
                    </a:lnTo>
                    <a:lnTo>
                      <a:pt x="2516" y="6086"/>
                    </a:lnTo>
                    <a:lnTo>
                      <a:pt x="2552" y="6076"/>
                    </a:lnTo>
                    <a:lnTo>
                      <a:pt x="2588" y="6066"/>
                    </a:lnTo>
                    <a:lnTo>
                      <a:pt x="2622" y="6050"/>
                    </a:lnTo>
                    <a:lnTo>
                      <a:pt x="2656" y="6032"/>
                    </a:lnTo>
                    <a:lnTo>
                      <a:pt x="2688" y="6012"/>
                    </a:lnTo>
                    <a:lnTo>
                      <a:pt x="2718" y="5988"/>
                    </a:lnTo>
                    <a:lnTo>
                      <a:pt x="3194" y="5580"/>
                    </a:lnTo>
                    <a:lnTo>
                      <a:pt x="3677" y="5848"/>
                    </a:lnTo>
                    <a:lnTo>
                      <a:pt x="3677" y="5848"/>
                    </a:lnTo>
                    <a:lnTo>
                      <a:pt x="3701" y="5860"/>
                    </a:lnTo>
                    <a:lnTo>
                      <a:pt x="3727" y="5872"/>
                    </a:lnTo>
                    <a:lnTo>
                      <a:pt x="3751" y="5882"/>
                    </a:lnTo>
                    <a:lnTo>
                      <a:pt x="3777" y="5890"/>
                    </a:lnTo>
                    <a:lnTo>
                      <a:pt x="3803" y="5896"/>
                    </a:lnTo>
                    <a:lnTo>
                      <a:pt x="3829" y="5900"/>
                    </a:lnTo>
                    <a:lnTo>
                      <a:pt x="3855" y="5902"/>
                    </a:lnTo>
                    <a:lnTo>
                      <a:pt x="3881" y="5904"/>
                    </a:lnTo>
                    <a:lnTo>
                      <a:pt x="3881" y="5904"/>
                    </a:lnTo>
                    <a:lnTo>
                      <a:pt x="3907" y="5902"/>
                    </a:lnTo>
                    <a:lnTo>
                      <a:pt x="3931" y="5900"/>
                    </a:lnTo>
                    <a:lnTo>
                      <a:pt x="3955" y="5896"/>
                    </a:lnTo>
                    <a:lnTo>
                      <a:pt x="3979" y="5892"/>
                    </a:lnTo>
                    <a:lnTo>
                      <a:pt x="4003" y="5886"/>
                    </a:lnTo>
                    <a:lnTo>
                      <a:pt x="4025" y="5878"/>
                    </a:lnTo>
                    <a:lnTo>
                      <a:pt x="4049" y="5868"/>
                    </a:lnTo>
                    <a:lnTo>
                      <a:pt x="4071" y="5858"/>
                    </a:lnTo>
                    <a:lnTo>
                      <a:pt x="4093" y="5846"/>
                    </a:lnTo>
                    <a:lnTo>
                      <a:pt x="4113" y="5832"/>
                    </a:lnTo>
                    <a:lnTo>
                      <a:pt x="4133" y="5816"/>
                    </a:lnTo>
                    <a:lnTo>
                      <a:pt x="4153" y="5800"/>
                    </a:lnTo>
                    <a:lnTo>
                      <a:pt x="4171" y="5784"/>
                    </a:lnTo>
                    <a:lnTo>
                      <a:pt x="4187" y="5766"/>
                    </a:lnTo>
                    <a:lnTo>
                      <a:pt x="4203" y="5746"/>
                    </a:lnTo>
                    <a:lnTo>
                      <a:pt x="4219" y="5724"/>
                    </a:lnTo>
                    <a:lnTo>
                      <a:pt x="5555" y="4506"/>
                    </a:lnTo>
                    <a:lnTo>
                      <a:pt x="5555" y="4506"/>
                    </a:lnTo>
                    <a:lnTo>
                      <a:pt x="5583" y="4476"/>
                    </a:lnTo>
                    <a:lnTo>
                      <a:pt x="5607" y="4442"/>
                    </a:lnTo>
                    <a:lnTo>
                      <a:pt x="5625" y="4408"/>
                    </a:lnTo>
                    <a:lnTo>
                      <a:pt x="5641" y="4370"/>
                    </a:lnTo>
                    <a:lnTo>
                      <a:pt x="5651" y="4332"/>
                    </a:lnTo>
                    <a:lnTo>
                      <a:pt x="5659" y="4292"/>
                    </a:lnTo>
                    <a:lnTo>
                      <a:pt x="5659" y="4252"/>
                    </a:lnTo>
                    <a:lnTo>
                      <a:pt x="5657" y="4210"/>
                    </a:lnTo>
                    <a:lnTo>
                      <a:pt x="5657" y="4210"/>
                    </a:lnTo>
                    <a:lnTo>
                      <a:pt x="5651" y="4172"/>
                    </a:lnTo>
                    <a:lnTo>
                      <a:pt x="5639" y="4136"/>
                    </a:lnTo>
                    <a:lnTo>
                      <a:pt x="5625" y="4102"/>
                    </a:lnTo>
                    <a:lnTo>
                      <a:pt x="5605" y="4068"/>
                    </a:lnTo>
                    <a:lnTo>
                      <a:pt x="5583" y="4038"/>
                    </a:lnTo>
                    <a:lnTo>
                      <a:pt x="5559" y="4010"/>
                    </a:lnTo>
                    <a:lnTo>
                      <a:pt x="5529" y="3984"/>
                    </a:lnTo>
                    <a:lnTo>
                      <a:pt x="5497" y="3960"/>
                    </a:lnTo>
                    <a:lnTo>
                      <a:pt x="5513" y="3540"/>
                    </a:lnTo>
                    <a:lnTo>
                      <a:pt x="6423" y="2774"/>
                    </a:lnTo>
                    <a:lnTo>
                      <a:pt x="6423" y="6422"/>
                    </a:lnTo>
                    <a:lnTo>
                      <a:pt x="286" y="6422"/>
                    </a:lnTo>
                    <a:close/>
                  </a:path>
                </a:pathLst>
              </a:custGeom>
              <a:solidFill>
                <a:srgbClr val="A32020"/>
              </a:solidFill>
              <a:ln>
                <a:noFill/>
              </a:ln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/>
              </a:p>
            </p:txBody>
          </p:sp>
          <p:sp>
            <p:nvSpPr>
              <p:cNvPr id="162" name="TextBox 161">
                <a:extLst>
                  <a:ext uri="{FF2B5EF4-FFF2-40B4-BE49-F238E27FC236}">
                    <a16:creationId xmlns:a16="http://schemas.microsoft.com/office/drawing/2014/main" id="{D9733778-6853-411B-B0DF-ABA7DE97A634}"/>
                  </a:ext>
                </a:extLst>
              </p:cNvPr>
              <p:cNvSpPr txBox="1"/>
              <p:nvPr/>
            </p:nvSpPr>
            <p:spPr>
              <a:xfrm>
                <a:off x="10551396" y="2884807"/>
                <a:ext cx="738034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ru" sz="1400" b="1" noProof="0" dirty="0">
                    <a:solidFill>
                      <a:schemeClr val="tx1"/>
                    </a:solidFill>
                    <a:cs typeface="Arial" pitchFamily="34" charset="0"/>
                  </a:rPr>
                  <a:t>Эквити</a:t>
                </a:r>
              </a:p>
            </p:txBody>
          </p:sp>
        </p:grp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40C48C17-FF65-464A-85F3-782BF0B59937}"/>
                </a:ext>
              </a:extLst>
            </p:cNvPr>
            <p:cNvSpPr txBox="1"/>
            <p:nvPr/>
          </p:nvSpPr>
          <p:spPr>
            <a:xfrm>
              <a:off x="9914371" y="3321278"/>
              <a:ext cx="178200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" sz="1400" noProof="0" dirty="0">
                  <a:solidFill>
                    <a:schemeClr val="tx1"/>
                  </a:solidFill>
                  <a:cs typeface="Arial" pitchFamily="34" charset="0"/>
                </a:rPr>
                <a:t>15,6 млн долл США</a:t>
              </a:r>
            </a:p>
          </p:txBody>
        </p:sp>
      </p:grpSp>
      <p:graphicFrame>
        <p:nvGraphicFramePr>
          <p:cNvPr id="244" name="Chart 243">
            <a:extLst>
              <a:ext uri="{FF2B5EF4-FFF2-40B4-BE49-F238E27FC236}">
                <a16:creationId xmlns:a16="http://schemas.microsoft.com/office/drawing/2014/main" id="{10691EBA-3127-4A27-86F0-EE79C5D37158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160489026"/>
              </p:ext>
            </p:extLst>
          </p:nvPr>
        </p:nvGraphicFramePr>
        <p:xfrm>
          <a:off x="430213" y="4094163"/>
          <a:ext cx="11728450" cy="715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ABB55E0D-5475-4C9B-B011-5691EDEE04E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50813" y="4287838"/>
            <a:ext cx="1524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r>
              <a:rPr lang="ru-RU" altLang="en-US" sz="1200" dirty="0"/>
              <a:t>Проектное </a:t>
            </a:r>
            <a:r>
              <a:rPr lang="en-US" altLang="en-US" sz="1200" dirty="0"/>
              <a:t>NPV</a:t>
            </a:r>
            <a:r>
              <a:rPr lang="ru-RU" altLang="en-US" sz="1200" dirty="0"/>
              <a:t>, </a:t>
            </a:r>
          </a:p>
          <a:p>
            <a:pPr lvl="0" algn="r">
              <a:spcBef>
                <a:spcPct val="0"/>
              </a:spcBef>
              <a:spcAft>
                <a:spcPct val="0"/>
              </a:spcAft>
            </a:pPr>
            <a:r>
              <a:rPr lang="ru-RU" altLang="en-US" sz="1200" dirty="0" err="1"/>
              <a:t>тыс</a:t>
            </a:r>
            <a:r>
              <a:rPr lang="ru-RU" altLang="en-US" sz="1200" dirty="0"/>
              <a:t> </a:t>
            </a:r>
            <a:r>
              <a:rPr lang="ru-RU" altLang="en-US" sz="1200" dirty="0" err="1"/>
              <a:t>долл</a:t>
            </a:r>
            <a:r>
              <a:rPr lang="ru-RU" altLang="en-US" sz="1200" dirty="0"/>
              <a:t> США</a:t>
            </a:r>
            <a:endParaRPr lang="en-US" sz="1200" noProof="0" dirty="0"/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3B6FB9B7-15DC-48FF-8A11-0C1E319AFD2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118600" y="3968750"/>
            <a:ext cx="134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BD6E482-B734-49B6-9C4A-1F0FA009E286}" type="datetime'''''''''''''''''''''4'''''''">
              <a:rPr lang="en-US" altLang="en-US" sz="1200" b="1" smtClean="0">
                <a:effectLst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200" b="1" noProof="0"/>
          </a:p>
        </p:txBody>
      </p:sp>
      <p:graphicFrame>
        <p:nvGraphicFramePr>
          <p:cNvPr id="243" name="Chart 242">
            <a:extLst>
              <a:ext uri="{FF2B5EF4-FFF2-40B4-BE49-F238E27FC236}">
                <a16:creationId xmlns:a16="http://schemas.microsoft.com/office/drawing/2014/main" id="{9849673E-C239-4ADE-B914-6FF55E6E714A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625275805"/>
              </p:ext>
            </p:extLst>
          </p:nvPr>
        </p:nvGraphicFramePr>
        <p:xfrm>
          <a:off x="420688" y="4618038"/>
          <a:ext cx="11728450" cy="715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AF19BCD3-1873-4034-A9E3-C4D428D16C4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87414" y="5043488"/>
            <a:ext cx="7778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r>
              <a:rPr lang="ru-RU" altLang="en-US" sz="1200" dirty="0"/>
              <a:t>Проектный </a:t>
            </a:r>
            <a:r>
              <a:rPr lang="en-US" altLang="en-US" sz="1200" dirty="0"/>
              <a:t>IRR</a:t>
            </a:r>
            <a:endParaRPr lang="en-US" sz="1200" noProof="0" dirty="0"/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D7B2B50D-A812-4CA5-BEAE-C6BE69323576}"/>
              </a:ext>
            </a:extLst>
          </p:cNvPr>
          <p:cNvSpPr txBox="1"/>
          <p:nvPr/>
        </p:nvSpPr>
        <p:spPr>
          <a:xfrm>
            <a:off x="2756224" y="4960730"/>
            <a:ext cx="1469156" cy="2159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>
                <a:cs typeface="Arial" pitchFamily="34" charset="0"/>
              </a:rPr>
              <a:t>Н</a:t>
            </a:r>
            <a:r>
              <a:rPr lang="en-US" sz="1400" b="1" dirty="0">
                <a:cs typeface="Arial" pitchFamily="34" charset="0"/>
              </a:rPr>
              <a:t>/</a:t>
            </a:r>
            <a:r>
              <a:rPr lang="ru-RU" sz="1400" b="1" dirty="0">
                <a:cs typeface="Arial" pitchFamily="34" charset="0"/>
              </a:rPr>
              <a:t>П</a:t>
            </a:r>
            <a:endParaRPr lang="ru" sz="1400" b="1" noProof="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40" name="Freeform 18">
            <a:extLst>
              <a:ext uri="{FF2B5EF4-FFF2-40B4-BE49-F238E27FC236}">
                <a16:creationId xmlns:a16="http://schemas.microsoft.com/office/drawing/2014/main" id="{DED40B76-B0D3-4B77-9D06-6822BBC76B14}"/>
              </a:ext>
            </a:extLst>
          </p:cNvPr>
          <p:cNvSpPr>
            <a:spLocks noChangeAspect="1"/>
          </p:cNvSpPr>
          <p:nvPr/>
        </p:nvSpPr>
        <p:spPr bwMode="auto">
          <a:xfrm>
            <a:off x="9104943" y="5368925"/>
            <a:ext cx="482600" cy="376238"/>
          </a:xfrm>
          <a:custGeom>
            <a:avLst/>
            <a:gdLst>
              <a:gd name="T0" fmla="*/ 263 w 304"/>
              <a:gd name="T1" fmla="*/ 0 h 237"/>
              <a:gd name="T2" fmla="*/ 108 w 304"/>
              <a:gd name="T3" fmla="*/ 157 h 237"/>
              <a:gd name="T4" fmla="*/ 40 w 304"/>
              <a:gd name="T5" fmla="*/ 88 h 237"/>
              <a:gd name="T6" fmla="*/ 0 w 304"/>
              <a:gd name="T7" fmla="*/ 128 h 237"/>
              <a:gd name="T8" fmla="*/ 108 w 304"/>
              <a:gd name="T9" fmla="*/ 237 h 237"/>
              <a:gd name="T10" fmla="*/ 304 w 304"/>
              <a:gd name="T11" fmla="*/ 41 h 237"/>
              <a:gd name="T12" fmla="*/ 263 w 304"/>
              <a:gd name="T13" fmla="*/ 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4" h="237">
                <a:moveTo>
                  <a:pt x="263" y="0"/>
                </a:moveTo>
                <a:lnTo>
                  <a:pt x="108" y="157"/>
                </a:lnTo>
                <a:lnTo>
                  <a:pt x="40" y="88"/>
                </a:lnTo>
                <a:lnTo>
                  <a:pt x="0" y="128"/>
                </a:lnTo>
                <a:lnTo>
                  <a:pt x="108" y="237"/>
                </a:lnTo>
                <a:lnTo>
                  <a:pt x="304" y="41"/>
                </a:lnTo>
                <a:lnTo>
                  <a:pt x="263" y="0"/>
                </a:lnTo>
                <a:close/>
              </a:path>
            </a:pathLst>
          </a:custGeom>
          <a:solidFill>
            <a:srgbClr val="2C8646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241" name="Freeform 100">
            <a:extLst>
              <a:ext uri="{FF2B5EF4-FFF2-40B4-BE49-F238E27FC236}">
                <a16:creationId xmlns:a16="http://schemas.microsoft.com/office/drawing/2014/main" id="{56D8E52C-2488-4A24-8254-EE0D4F7E0415}"/>
              </a:ext>
            </a:extLst>
          </p:cNvPr>
          <p:cNvSpPr>
            <a:spLocks noChangeAspect="1"/>
          </p:cNvSpPr>
          <p:nvPr/>
        </p:nvSpPr>
        <p:spPr bwMode="auto">
          <a:xfrm>
            <a:off x="2931098" y="5387206"/>
            <a:ext cx="482599" cy="481013"/>
          </a:xfrm>
          <a:custGeom>
            <a:avLst/>
            <a:gdLst>
              <a:gd name="T0" fmla="*/ 117 w 304"/>
              <a:gd name="T1" fmla="*/ 151 h 303"/>
              <a:gd name="T2" fmla="*/ 0 w 304"/>
              <a:gd name="T3" fmla="*/ 35 h 303"/>
              <a:gd name="T4" fmla="*/ 35 w 304"/>
              <a:gd name="T5" fmla="*/ 0 h 303"/>
              <a:gd name="T6" fmla="*/ 152 w 304"/>
              <a:gd name="T7" fmla="*/ 116 h 303"/>
              <a:gd name="T8" fmla="*/ 269 w 304"/>
              <a:gd name="T9" fmla="*/ 0 h 303"/>
              <a:gd name="T10" fmla="*/ 304 w 304"/>
              <a:gd name="T11" fmla="*/ 35 h 303"/>
              <a:gd name="T12" fmla="*/ 187 w 304"/>
              <a:gd name="T13" fmla="*/ 151 h 303"/>
              <a:gd name="T14" fmla="*/ 304 w 304"/>
              <a:gd name="T15" fmla="*/ 268 h 303"/>
              <a:gd name="T16" fmla="*/ 269 w 304"/>
              <a:gd name="T17" fmla="*/ 303 h 303"/>
              <a:gd name="T18" fmla="*/ 152 w 304"/>
              <a:gd name="T19" fmla="*/ 186 h 303"/>
              <a:gd name="T20" fmla="*/ 35 w 304"/>
              <a:gd name="T21" fmla="*/ 303 h 303"/>
              <a:gd name="T22" fmla="*/ 0 w 304"/>
              <a:gd name="T23" fmla="*/ 268 h 303"/>
              <a:gd name="T24" fmla="*/ 117 w 304"/>
              <a:gd name="T25" fmla="*/ 151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04" h="303">
                <a:moveTo>
                  <a:pt x="117" y="151"/>
                </a:moveTo>
                <a:lnTo>
                  <a:pt x="0" y="35"/>
                </a:lnTo>
                <a:lnTo>
                  <a:pt x="35" y="0"/>
                </a:lnTo>
                <a:lnTo>
                  <a:pt x="152" y="116"/>
                </a:lnTo>
                <a:lnTo>
                  <a:pt x="269" y="0"/>
                </a:lnTo>
                <a:lnTo>
                  <a:pt x="304" y="35"/>
                </a:lnTo>
                <a:lnTo>
                  <a:pt x="187" y="151"/>
                </a:lnTo>
                <a:lnTo>
                  <a:pt x="304" y="268"/>
                </a:lnTo>
                <a:lnTo>
                  <a:pt x="269" y="303"/>
                </a:lnTo>
                <a:lnTo>
                  <a:pt x="152" y="186"/>
                </a:lnTo>
                <a:lnTo>
                  <a:pt x="35" y="303"/>
                </a:lnTo>
                <a:lnTo>
                  <a:pt x="0" y="268"/>
                </a:lnTo>
                <a:lnTo>
                  <a:pt x="117" y="151"/>
                </a:lnTo>
                <a:close/>
              </a:path>
            </a:pathLst>
          </a:custGeom>
          <a:solidFill>
            <a:srgbClr val="E0301E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2EDA859D-7BB0-453B-A653-E06AAB0F7638}"/>
              </a:ext>
            </a:extLst>
          </p:cNvPr>
          <p:cNvSpPr txBox="1"/>
          <p:nvPr/>
        </p:nvSpPr>
        <p:spPr>
          <a:xfrm>
            <a:off x="442914" y="6469063"/>
            <a:ext cx="462279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ru" sz="1000" noProof="0">
                <a:solidFill>
                  <a:schemeClr val="tx1"/>
                </a:solidFill>
                <a:cs typeface="Arial" pitchFamily="34" charset="0"/>
              </a:rPr>
              <a:t>Источник: анализ исследовательской группы.</a:t>
            </a:r>
          </a:p>
        </p:txBody>
      </p:sp>
      <p:grpSp>
        <p:nvGrpSpPr>
          <p:cNvPr id="253" name="Group 114">
            <a:extLst>
              <a:ext uri="{FF2B5EF4-FFF2-40B4-BE49-F238E27FC236}">
                <a16:creationId xmlns:a16="http://schemas.microsoft.com/office/drawing/2014/main" id="{5C1B2E27-0006-4658-AFBF-444E87F942E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722349" y="3000309"/>
            <a:ext cx="457268" cy="457200"/>
            <a:chOff x="986" y="0"/>
            <a:chExt cx="6709" cy="6708"/>
          </a:xfrm>
          <a:solidFill>
            <a:srgbClr val="A32020"/>
          </a:solidFill>
        </p:grpSpPr>
        <p:sp>
          <p:nvSpPr>
            <p:cNvPr id="254" name="Freeform 115">
              <a:extLst>
                <a:ext uri="{FF2B5EF4-FFF2-40B4-BE49-F238E27FC236}">
                  <a16:creationId xmlns:a16="http://schemas.microsoft.com/office/drawing/2014/main" id="{D2CFF67B-4C8C-4F02-A0CB-49F234BAA8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" y="0"/>
              <a:ext cx="6709" cy="6708"/>
            </a:xfrm>
            <a:custGeom>
              <a:avLst/>
              <a:gdLst>
                <a:gd name="T0" fmla="*/ 0 w 6709"/>
                <a:gd name="T1" fmla="*/ 0 h 6708"/>
                <a:gd name="T2" fmla="*/ 0 w 6709"/>
                <a:gd name="T3" fmla="*/ 6708 h 6708"/>
                <a:gd name="T4" fmla="*/ 6709 w 6709"/>
                <a:gd name="T5" fmla="*/ 6708 h 6708"/>
                <a:gd name="T6" fmla="*/ 6709 w 6709"/>
                <a:gd name="T7" fmla="*/ 0 h 6708"/>
                <a:gd name="T8" fmla="*/ 0 w 6709"/>
                <a:gd name="T9" fmla="*/ 0 h 6708"/>
                <a:gd name="T10" fmla="*/ 6423 w 6709"/>
                <a:gd name="T11" fmla="*/ 6422 h 6708"/>
                <a:gd name="T12" fmla="*/ 286 w 6709"/>
                <a:gd name="T13" fmla="*/ 6422 h 6708"/>
                <a:gd name="T14" fmla="*/ 286 w 6709"/>
                <a:gd name="T15" fmla="*/ 286 h 6708"/>
                <a:gd name="T16" fmla="*/ 6423 w 6709"/>
                <a:gd name="T17" fmla="*/ 286 h 6708"/>
                <a:gd name="T18" fmla="*/ 6423 w 6709"/>
                <a:gd name="T19" fmla="*/ 6422 h 6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09" h="6708">
                  <a:moveTo>
                    <a:pt x="0" y="0"/>
                  </a:moveTo>
                  <a:lnTo>
                    <a:pt x="0" y="6708"/>
                  </a:lnTo>
                  <a:lnTo>
                    <a:pt x="6709" y="6708"/>
                  </a:lnTo>
                  <a:lnTo>
                    <a:pt x="6709" y="0"/>
                  </a:lnTo>
                  <a:lnTo>
                    <a:pt x="0" y="0"/>
                  </a:lnTo>
                  <a:close/>
                  <a:moveTo>
                    <a:pt x="6423" y="6422"/>
                  </a:moveTo>
                  <a:lnTo>
                    <a:pt x="286" y="6422"/>
                  </a:lnTo>
                  <a:lnTo>
                    <a:pt x="286" y="286"/>
                  </a:lnTo>
                  <a:lnTo>
                    <a:pt x="6423" y="286"/>
                  </a:lnTo>
                  <a:lnTo>
                    <a:pt x="6423" y="64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  <p:sp>
          <p:nvSpPr>
            <p:cNvPr id="255" name="Rectangle 116">
              <a:extLst>
                <a:ext uri="{FF2B5EF4-FFF2-40B4-BE49-F238E27FC236}">
                  <a16:creationId xmlns:a16="http://schemas.microsoft.com/office/drawing/2014/main" id="{9FEAD837-155A-4320-ACA8-01327FA59A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4" y="5576"/>
              <a:ext cx="4957" cy="28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  <p:sp>
          <p:nvSpPr>
            <p:cNvPr id="256" name="Freeform 117">
              <a:extLst>
                <a:ext uri="{FF2B5EF4-FFF2-40B4-BE49-F238E27FC236}">
                  <a16:creationId xmlns:a16="http://schemas.microsoft.com/office/drawing/2014/main" id="{48904D7C-CAA3-46EE-95E8-A482F81E1D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4" y="926"/>
              <a:ext cx="4957" cy="1734"/>
            </a:xfrm>
            <a:custGeom>
              <a:avLst/>
              <a:gdLst>
                <a:gd name="T0" fmla="*/ 4957 w 4957"/>
                <a:gd name="T1" fmla="*/ 1448 h 1734"/>
                <a:gd name="T2" fmla="*/ 2661 w 4957"/>
                <a:gd name="T3" fmla="*/ 1448 h 1734"/>
                <a:gd name="T4" fmla="*/ 2661 w 4957"/>
                <a:gd name="T5" fmla="*/ 1010 h 1734"/>
                <a:gd name="T6" fmla="*/ 3175 w 4957"/>
                <a:gd name="T7" fmla="*/ 1010 h 1734"/>
                <a:gd name="T8" fmla="*/ 3175 w 4957"/>
                <a:gd name="T9" fmla="*/ 1278 h 1734"/>
                <a:gd name="T10" fmla="*/ 4051 w 4957"/>
                <a:gd name="T11" fmla="*/ 1278 h 1734"/>
                <a:gd name="T12" fmla="*/ 4051 w 4957"/>
                <a:gd name="T13" fmla="*/ 342 h 1734"/>
                <a:gd name="T14" fmla="*/ 3461 w 4957"/>
                <a:gd name="T15" fmla="*/ 342 h 1734"/>
                <a:gd name="T16" fmla="*/ 3461 w 4957"/>
                <a:gd name="T17" fmla="*/ 0 h 1734"/>
                <a:gd name="T18" fmla="*/ 2374 w 4957"/>
                <a:gd name="T19" fmla="*/ 0 h 1734"/>
                <a:gd name="T20" fmla="*/ 2374 w 4957"/>
                <a:gd name="T21" fmla="*/ 1448 h 1734"/>
                <a:gd name="T22" fmla="*/ 0 w 4957"/>
                <a:gd name="T23" fmla="*/ 1448 h 1734"/>
                <a:gd name="T24" fmla="*/ 0 w 4957"/>
                <a:gd name="T25" fmla="*/ 1734 h 1734"/>
                <a:gd name="T26" fmla="*/ 4957 w 4957"/>
                <a:gd name="T27" fmla="*/ 1734 h 1734"/>
                <a:gd name="T28" fmla="*/ 4957 w 4957"/>
                <a:gd name="T29" fmla="*/ 1448 h 1734"/>
                <a:gd name="T30" fmla="*/ 3765 w 4957"/>
                <a:gd name="T31" fmla="*/ 630 h 1734"/>
                <a:gd name="T32" fmla="*/ 3765 w 4957"/>
                <a:gd name="T33" fmla="*/ 990 h 1734"/>
                <a:gd name="T34" fmla="*/ 3461 w 4957"/>
                <a:gd name="T35" fmla="*/ 990 h 1734"/>
                <a:gd name="T36" fmla="*/ 3461 w 4957"/>
                <a:gd name="T37" fmla="*/ 630 h 1734"/>
                <a:gd name="T38" fmla="*/ 3765 w 4957"/>
                <a:gd name="T39" fmla="*/ 630 h 1734"/>
                <a:gd name="T40" fmla="*/ 2661 w 4957"/>
                <a:gd name="T41" fmla="*/ 286 h 1734"/>
                <a:gd name="T42" fmla="*/ 3175 w 4957"/>
                <a:gd name="T43" fmla="*/ 286 h 1734"/>
                <a:gd name="T44" fmla="*/ 3175 w 4957"/>
                <a:gd name="T45" fmla="*/ 342 h 1734"/>
                <a:gd name="T46" fmla="*/ 3175 w 4957"/>
                <a:gd name="T47" fmla="*/ 724 h 1734"/>
                <a:gd name="T48" fmla="*/ 2661 w 4957"/>
                <a:gd name="T49" fmla="*/ 724 h 1734"/>
                <a:gd name="T50" fmla="*/ 2661 w 4957"/>
                <a:gd name="T51" fmla="*/ 286 h 1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957" h="1734">
                  <a:moveTo>
                    <a:pt x="4957" y="1448"/>
                  </a:moveTo>
                  <a:lnTo>
                    <a:pt x="2661" y="1448"/>
                  </a:lnTo>
                  <a:lnTo>
                    <a:pt x="2661" y="1010"/>
                  </a:lnTo>
                  <a:lnTo>
                    <a:pt x="3175" y="1010"/>
                  </a:lnTo>
                  <a:lnTo>
                    <a:pt x="3175" y="1278"/>
                  </a:lnTo>
                  <a:lnTo>
                    <a:pt x="4051" y="1278"/>
                  </a:lnTo>
                  <a:lnTo>
                    <a:pt x="4051" y="342"/>
                  </a:lnTo>
                  <a:lnTo>
                    <a:pt x="3461" y="342"/>
                  </a:lnTo>
                  <a:lnTo>
                    <a:pt x="3461" y="0"/>
                  </a:lnTo>
                  <a:lnTo>
                    <a:pt x="2374" y="0"/>
                  </a:lnTo>
                  <a:lnTo>
                    <a:pt x="2374" y="1448"/>
                  </a:lnTo>
                  <a:lnTo>
                    <a:pt x="0" y="1448"/>
                  </a:lnTo>
                  <a:lnTo>
                    <a:pt x="0" y="1734"/>
                  </a:lnTo>
                  <a:lnTo>
                    <a:pt x="4957" y="1734"/>
                  </a:lnTo>
                  <a:lnTo>
                    <a:pt x="4957" y="1448"/>
                  </a:lnTo>
                  <a:close/>
                  <a:moveTo>
                    <a:pt x="3765" y="630"/>
                  </a:moveTo>
                  <a:lnTo>
                    <a:pt x="3765" y="990"/>
                  </a:lnTo>
                  <a:lnTo>
                    <a:pt x="3461" y="990"/>
                  </a:lnTo>
                  <a:lnTo>
                    <a:pt x="3461" y="630"/>
                  </a:lnTo>
                  <a:lnTo>
                    <a:pt x="3765" y="630"/>
                  </a:lnTo>
                  <a:close/>
                  <a:moveTo>
                    <a:pt x="2661" y="286"/>
                  </a:moveTo>
                  <a:lnTo>
                    <a:pt x="3175" y="286"/>
                  </a:lnTo>
                  <a:lnTo>
                    <a:pt x="3175" y="342"/>
                  </a:lnTo>
                  <a:lnTo>
                    <a:pt x="3175" y="724"/>
                  </a:lnTo>
                  <a:lnTo>
                    <a:pt x="2661" y="724"/>
                  </a:lnTo>
                  <a:lnTo>
                    <a:pt x="2661" y="2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  <p:sp>
          <p:nvSpPr>
            <p:cNvPr id="257" name="Freeform 118">
              <a:extLst>
                <a:ext uri="{FF2B5EF4-FFF2-40B4-BE49-F238E27FC236}">
                  <a16:creationId xmlns:a16="http://schemas.microsoft.com/office/drawing/2014/main" id="{3A875E93-5641-4B24-B184-CEA15F358D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6" y="2832"/>
              <a:ext cx="858" cy="2572"/>
            </a:xfrm>
            <a:custGeom>
              <a:avLst/>
              <a:gdLst>
                <a:gd name="T0" fmla="*/ 858 w 858"/>
                <a:gd name="T1" fmla="*/ 2572 h 2572"/>
                <a:gd name="T2" fmla="*/ 858 w 858"/>
                <a:gd name="T3" fmla="*/ 0 h 2572"/>
                <a:gd name="T4" fmla="*/ 0 w 858"/>
                <a:gd name="T5" fmla="*/ 0 h 2572"/>
                <a:gd name="T6" fmla="*/ 0 w 858"/>
                <a:gd name="T7" fmla="*/ 2572 h 2572"/>
                <a:gd name="T8" fmla="*/ 858 w 858"/>
                <a:gd name="T9" fmla="*/ 2572 h 2572"/>
                <a:gd name="T10" fmla="*/ 286 w 858"/>
                <a:gd name="T11" fmla="*/ 286 h 2572"/>
                <a:gd name="T12" fmla="*/ 572 w 858"/>
                <a:gd name="T13" fmla="*/ 286 h 2572"/>
                <a:gd name="T14" fmla="*/ 572 w 858"/>
                <a:gd name="T15" fmla="*/ 2286 h 2572"/>
                <a:gd name="T16" fmla="*/ 286 w 858"/>
                <a:gd name="T17" fmla="*/ 2286 h 2572"/>
                <a:gd name="T18" fmla="*/ 286 w 858"/>
                <a:gd name="T19" fmla="*/ 286 h 2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8" h="2572">
                  <a:moveTo>
                    <a:pt x="858" y="2572"/>
                  </a:moveTo>
                  <a:lnTo>
                    <a:pt x="858" y="0"/>
                  </a:lnTo>
                  <a:lnTo>
                    <a:pt x="0" y="0"/>
                  </a:lnTo>
                  <a:lnTo>
                    <a:pt x="0" y="2572"/>
                  </a:lnTo>
                  <a:lnTo>
                    <a:pt x="858" y="2572"/>
                  </a:lnTo>
                  <a:close/>
                  <a:moveTo>
                    <a:pt x="286" y="286"/>
                  </a:moveTo>
                  <a:lnTo>
                    <a:pt x="572" y="286"/>
                  </a:lnTo>
                  <a:lnTo>
                    <a:pt x="572" y="2286"/>
                  </a:lnTo>
                  <a:lnTo>
                    <a:pt x="286" y="2286"/>
                  </a:lnTo>
                  <a:lnTo>
                    <a:pt x="286" y="2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  <p:sp>
          <p:nvSpPr>
            <p:cNvPr id="258" name="Freeform 119">
              <a:extLst>
                <a:ext uri="{FF2B5EF4-FFF2-40B4-BE49-F238E27FC236}">
                  <a16:creationId xmlns:a16="http://schemas.microsoft.com/office/drawing/2014/main" id="{AB0FBDFE-78BE-4D84-B31A-EBD878A874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8" y="2832"/>
              <a:ext cx="858" cy="2572"/>
            </a:xfrm>
            <a:custGeom>
              <a:avLst/>
              <a:gdLst>
                <a:gd name="T0" fmla="*/ 858 w 858"/>
                <a:gd name="T1" fmla="*/ 2572 h 2572"/>
                <a:gd name="T2" fmla="*/ 858 w 858"/>
                <a:gd name="T3" fmla="*/ 0 h 2572"/>
                <a:gd name="T4" fmla="*/ 0 w 858"/>
                <a:gd name="T5" fmla="*/ 0 h 2572"/>
                <a:gd name="T6" fmla="*/ 0 w 858"/>
                <a:gd name="T7" fmla="*/ 2572 h 2572"/>
                <a:gd name="T8" fmla="*/ 858 w 858"/>
                <a:gd name="T9" fmla="*/ 2572 h 2572"/>
                <a:gd name="T10" fmla="*/ 286 w 858"/>
                <a:gd name="T11" fmla="*/ 286 h 2572"/>
                <a:gd name="T12" fmla="*/ 572 w 858"/>
                <a:gd name="T13" fmla="*/ 286 h 2572"/>
                <a:gd name="T14" fmla="*/ 572 w 858"/>
                <a:gd name="T15" fmla="*/ 2286 h 2572"/>
                <a:gd name="T16" fmla="*/ 286 w 858"/>
                <a:gd name="T17" fmla="*/ 2286 h 2572"/>
                <a:gd name="T18" fmla="*/ 286 w 858"/>
                <a:gd name="T19" fmla="*/ 286 h 2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8" h="2572">
                  <a:moveTo>
                    <a:pt x="858" y="2572"/>
                  </a:moveTo>
                  <a:lnTo>
                    <a:pt x="858" y="0"/>
                  </a:lnTo>
                  <a:lnTo>
                    <a:pt x="0" y="0"/>
                  </a:lnTo>
                  <a:lnTo>
                    <a:pt x="0" y="2572"/>
                  </a:lnTo>
                  <a:lnTo>
                    <a:pt x="858" y="2572"/>
                  </a:lnTo>
                  <a:close/>
                  <a:moveTo>
                    <a:pt x="286" y="286"/>
                  </a:moveTo>
                  <a:lnTo>
                    <a:pt x="572" y="286"/>
                  </a:lnTo>
                  <a:lnTo>
                    <a:pt x="572" y="2286"/>
                  </a:lnTo>
                  <a:lnTo>
                    <a:pt x="286" y="2286"/>
                  </a:lnTo>
                  <a:lnTo>
                    <a:pt x="286" y="2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  <p:sp>
          <p:nvSpPr>
            <p:cNvPr id="259" name="Freeform 120">
              <a:extLst>
                <a:ext uri="{FF2B5EF4-FFF2-40B4-BE49-F238E27FC236}">
                  <a16:creationId xmlns:a16="http://schemas.microsoft.com/office/drawing/2014/main" id="{D33C50B0-4FCC-48E4-AE54-5A796E58D5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1" y="2832"/>
              <a:ext cx="856" cy="2572"/>
            </a:xfrm>
            <a:custGeom>
              <a:avLst/>
              <a:gdLst>
                <a:gd name="T0" fmla="*/ 856 w 856"/>
                <a:gd name="T1" fmla="*/ 2572 h 2572"/>
                <a:gd name="T2" fmla="*/ 856 w 856"/>
                <a:gd name="T3" fmla="*/ 0 h 2572"/>
                <a:gd name="T4" fmla="*/ 0 w 856"/>
                <a:gd name="T5" fmla="*/ 0 h 2572"/>
                <a:gd name="T6" fmla="*/ 0 w 856"/>
                <a:gd name="T7" fmla="*/ 2572 h 2572"/>
                <a:gd name="T8" fmla="*/ 856 w 856"/>
                <a:gd name="T9" fmla="*/ 2572 h 2572"/>
                <a:gd name="T10" fmla="*/ 286 w 856"/>
                <a:gd name="T11" fmla="*/ 286 h 2572"/>
                <a:gd name="T12" fmla="*/ 570 w 856"/>
                <a:gd name="T13" fmla="*/ 286 h 2572"/>
                <a:gd name="T14" fmla="*/ 570 w 856"/>
                <a:gd name="T15" fmla="*/ 2286 h 2572"/>
                <a:gd name="T16" fmla="*/ 286 w 856"/>
                <a:gd name="T17" fmla="*/ 2286 h 2572"/>
                <a:gd name="T18" fmla="*/ 286 w 856"/>
                <a:gd name="T19" fmla="*/ 286 h 2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6" h="2572">
                  <a:moveTo>
                    <a:pt x="856" y="2572"/>
                  </a:moveTo>
                  <a:lnTo>
                    <a:pt x="856" y="0"/>
                  </a:lnTo>
                  <a:lnTo>
                    <a:pt x="0" y="0"/>
                  </a:lnTo>
                  <a:lnTo>
                    <a:pt x="0" y="2572"/>
                  </a:lnTo>
                  <a:lnTo>
                    <a:pt x="856" y="2572"/>
                  </a:lnTo>
                  <a:close/>
                  <a:moveTo>
                    <a:pt x="286" y="286"/>
                  </a:moveTo>
                  <a:lnTo>
                    <a:pt x="570" y="286"/>
                  </a:lnTo>
                  <a:lnTo>
                    <a:pt x="570" y="2286"/>
                  </a:lnTo>
                  <a:lnTo>
                    <a:pt x="286" y="2286"/>
                  </a:lnTo>
                  <a:lnTo>
                    <a:pt x="286" y="2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  <p:sp>
          <p:nvSpPr>
            <p:cNvPr id="260" name="Freeform 121">
              <a:extLst>
                <a:ext uri="{FF2B5EF4-FFF2-40B4-BE49-F238E27FC236}">
                  <a16:creationId xmlns:a16="http://schemas.microsoft.com/office/drawing/2014/main" id="{E5CA4C04-1A8D-4B96-8EF8-15842F70E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1" y="2832"/>
              <a:ext cx="858" cy="2572"/>
            </a:xfrm>
            <a:custGeom>
              <a:avLst/>
              <a:gdLst>
                <a:gd name="T0" fmla="*/ 858 w 858"/>
                <a:gd name="T1" fmla="*/ 2572 h 2572"/>
                <a:gd name="T2" fmla="*/ 858 w 858"/>
                <a:gd name="T3" fmla="*/ 0 h 2572"/>
                <a:gd name="T4" fmla="*/ 0 w 858"/>
                <a:gd name="T5" fmla="*/ 0 h 2572"/>
                <a:gd name="T6" fmla="*/ 0 w 858"/>
                <a:gd name="T7" fmla="*/ 2572 h 2572"/>
                <a:gd name="T8" fmla="*/ 858 w 858"/>
                <a:gd name="T9" fmla="*/ 2572 h 2572"/>
                <a:gd name="T10" fmla="*/ 286 w 858"/>
                <a:gd name="T11" fmla="*/ 286 h 2572"/>
                <a:gd name="T12" fmla="*/ 572 w 858"/>
                <a:gd name="T13" fmla="*/ 286 h 2572"/>
                <a:gd name="T14" fmla="*/ 572 w 858"/>
                <a:gd name="T15" fmla="*/ 2286 h 2572"/>
                <a:gd name="T16" fmla="*/ 286 w 858"/>
                <a:gd name="T17" fmla="*/ 2286 h 2572"/>
                <a:gd name="T18" fmla="*/ 286 w 858"/>
                <a:gd name="T19" fmla="*/ 286 h 2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8" h="2572">
                  <a:moveTo>
                    <a:pt x="858" y="2572"/>
                  </a:moveTo>
                  <a:lnTo>
                    <a:pt x="858" y="0"/>
                  </a:lnTo>
                  <a:lnTo>
                    <a:pt x="0" y="0"/>
                  </a:lnTo>
                  <a:lnTo>
                    <a:pt x="0" y="2572"/>
                  </a:lnTo>
                  <a:lnTo>
                    <a:pt x="858" y="2572"/>
                  </a:lnTo>
                  <a:close/>
                  <a:moveTo>
                    <a:pt x="286" y="286"/>
                  </a:moveTo>
                  <a:lnTo>
                    <a:pt x="572" y="286"/>
                  </a:lnTo>
                  <a:lnTo>
                    <a:pt x="572" y="2286"/>
                  </a:lnTo>
                  <a:lnTo>
                    <a:pt x="286" y="2286"/>
                  </a:lnTo>
                  <a:lnTo>
                    <a:pt x="286" y="2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sp>
        <p:nvSpPr>
          <p:cNvPr id="73" name="Google Shape;50;p2">
            <a:extLst>
              <a:ext uri="{FF2B5EF4-FFF2-40B4-BE49-F238E27FC236}">
                <a16:creationId xmlns:a16="http://schemas.microsoft.com/office/drawing/2014/main" id="{A9D0A30A-CACD-497A-AFE1-E089D87BB83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2914" y="345559"/>
            <a:ext cx="11306175" cy="369332"/>
          </a:xfrm>
        </p:spPr>
        <p:txBody>
          <a:bodyPr anchor="ctr" anchorCtr="0">
            <a:normAutofit/>
          </a:bodyPr>
          <a:lstStyle/>
          <a:p>
            <a:pPr lvl="0"/>
            <a:r>
              <a:rPr lang="ru" sz="2400" b="0" dirty="0">
                <a:latin typeface="Georgia" panose="02040502050405020303" pitchFamily="18" charset="0"/>
              </a:rPr>
              <a:t>Финансовая оценка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C4358C-F459-4875-BA50-52FA860FBD45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/>
              <a:t>сентябрь 2023</a:t>
            </a:r>
            <a:endParaRPr lang="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2DCBF8-CA51-4C7C-8243-0AFEBC92929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en-US" smtClean="0"/>
              <a:pPr lvl="0"/>
              <a:t>20</a:t>
            </a:fld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8817506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36000"/>
            <a:lum/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379AA2-ED46-4BD9-A397-5BBD93295767}"/>
              </a:ext>
            </a:extLst>
          </p:cNvPr>
          <p:cNvSpPr/>
          <p:nvPr/>
        </p:nvSpPr>
        <p:spPr>
          <a:xfrm>
            <a:off x="0" y="2150807"/>
            <a:ext cx="7895073" cy="25563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" sz="3200">
                <a:solidFill>
                  <a:prstClr val="white"/>
                </a:solidFill>
                <a:latin typeface="Georgia"/>
              </a:rPr>
              <a:t>Внешние факторы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7941689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095B41-810A-40B0-8ED6-F81B04F66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185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2" imgH="532" progId="TCLayout.ActiveDocument.1">
                  <p:embed/>
                </p:oleObj>
              </mc:Choice>
              <mc:Fallback>
                <p:oleObj name="think-cell Slide" r:id="rId5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095B41-810A-40B0-8ED6-F81B04F66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2"/>
          <p:cNvSpPr txBox="1">
            <a:spLocks noGrp="1"/>
          </p:cNvSpPr>
          <p:nvPr>
            <p:ph type="title"/>
          </p:nvPr>
        </p:nvSpPr>
        <p:spPr>
          <a:xfrm>
            <a:off x="442914" y="345559"/>
            <a:ext cx="11306175" cy="369332"/>
          </a:xfrm>
        </p:spPr>
        <p:txBody>
          <a:bodyPr anchor="ctr" anchorCtr="0">
            <a:normAutofit/>
          </a:bodyPr>
          <a:lstStyle/>
          <a:p>
            <a:pPr lvl="0"/>
            <a:r>
              <a:rPr lang="ru" sz="2400" b="0" dirty="0">
                <a:latin typeface="Georgia" panose="02040502050405020303" pitchFamily="18" charset="0"/>
              </a:rPr>
              <a:t>Инвестиции в инфраструктуру и содействие торговле</a:t>
            </a:r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D1FE9C22-E182-4069-9CA3-D97A45A73B75}"/>
              </a:ext>
            </a:extLst>
          </p:cNvPr>
          <p:cNvSpPr/>
          <p:nvPr/>
        </p:nvSpPr>
        <p:spPr>
          <a:xfrm>
            <a:off x="489060" y="2508033"/>
            <a:ext cx="2093501" cy="288327"/>
          </a:xfrm>
          <a:custGeom>
            <a:avLst/>
            <a:gdLst>
              <a:gd name="connsiteX0" fmla="*/ 0 w 6131333"/>
              <a:gd name="connsiteY0" fmla="*/ 0 h 382434"/>
              <a:gd name="connsiteX1" fmla="*/ 6131333 w 6131333"/>
              <a:gd name="connsiteY1" fmla="*/ 0 h 382434"/>
              <a:gd name="connsiteX2" fmla="*/ 6131333 w 6131333"/>
              <a:gd name="connsiteY2" fmla="*/ 382434 h 382434"/>
              <a:gd name="connsiteX3" fmla="*/ 0 w 6131333"/>
              <a:gd name="connsiteY3" fmla="*/ 382434 h 382434"/>
              <a:gd name="connsiteX4" fmla="*/ 0 w 6131333"/>
              <a:gd name="connsiteY4" fmla="*/ 0 h 382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1333" h="382434">
                <a:moveTo>
                  <a:pt x="0" y="0"/>
                </a:moveTo>
                <a:lnTo>
                  <a:pt x="6131333" y="0"/>
                </a:lnTo>
                <a:lnTo>
                  <a:pt x="6131333" y="382434"/>
                </a:lnTo>
                <a:lnTo>
                  <a:pt x="0" y="38243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txBody>
          <a:bodyPr spcFirstLastPara="0" vert="horz" wrap="square" lIns="0" tIns="57150" rIns="0" bIns="57150" numCol="1" spcCol="1270" anchor="b" anchorCtr="0">
            <a:noAutofit/>
          </a:bodyPr>
          <a:lstStyle/>
          <a:p>
            <a:pPr marL="0" marR="0" lvl="0" indent="0" defTabSz="66675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Модернизация  ППГ</a:t>
            </a:r>
          </a:p>
        </p:txBody>
      </p:sp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D21423E1-AF01-45EE-BF80-A3AE08215638}"/>
              </a:ext>
            </a:extLst>
          </p:cNvPr>
          <p:cNvSpPr/>
          <p:nvPr/>
        </p:nvSpPr>
        <p:spPr>
          <a:xfrm>
            <a:off x="640162" y="2808691"/>
            <a:ext cx="11108926" cy="851760"/>
          </a:xfrm>
          <a:custGeom>
            <a:avLst/>
            <a:gdLst>
              <a:gd name="connsiteX0" fmla="*/ 0 w 6131308"/>
              <a:gd name="connsiteY0" fmla="*/ 0 h 623226"/>
              <a:gd name="connsiteX1" fmla="*/ 6131308 w 6131308"/>
              <a:gd name="connsiteY1" fmla="*/ 0 h 623226"/>
              <a:gd name="connsiteX2" fmla="*/ 6131308 w 6131308"/>
              <a:gd name="connsiteY2" fmla="*/ 623226 h 623226"/>
              <a:gd name="connsiteX3" fmla="*/ 0 w 6131308"/>
              <a:gd name="connsiteY3" fmla="*/ 623226 h 623226"/>
              <a:gd name="connsiteX4" fmla="*/ 0 w 6131308"/>
              <a:gd name="connsiteY4" fmla="*/ 0 h 623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1308" h="623226">
                <a:moveTo>
                  <a:pt x="0" y="0"/>
                </a:moveTo>
                <a:lnTo>
                  <a:pt x="6131308" y="0"/>
                </a:lnTo>
                <a:lnTo>
                  <a:pt x="6131308" y="623226"/>
                </a:lnTo>
                <a:lnTo>
                  <a:pt x="0" y="623226"/>
                </a:lnTo>
                <a:lnTo>
                  <a:pt x="0" y="0"/>
                </a:lnTo>
                <a:close/>
              </a:path>
            </a:pathLst>
          </a:custGeom>
          <a:solidFill>
            <a:srgbClr val="7D7D7D">
              <a:lumMod val="20000"/>
              <a:lumOff val="8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spcFirstLastPara="0" vert="horz" wrap="square" lIns="90000" tIns="90000" rIns="90000" bIns="90000" numCol="1" spcCol="1270" anchor="ctr" anchorCtr="0">
            <a:noAutofit/>
          </a:bodyPr>
          <a:lstStyle/>
          <a:p>
            <a:pPr marL="171450" marR="0" lvl="0" indent="-171450" defTabSz="533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" sz="14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Учитывая растущий грузооборот из стран Центральной и Южной Азии</a:t>
            </a:r>
            <a:r>
              <a:rPr lang="ru" sz="1400" b="1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, необходима модернизация торгово-логистической инфраструктуры на границе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5" name="Freeform: Shape 94">
            <a:extLst>
              <a:ext uri="{FF2B5EF4-FFF2-40B4-BE49-F238E27FC236}">
                <a16:creationId xmlns:a16="http://schemas.microsoft.com/office/drawing/2014/main" id="{B4492212-7A47-4826-BF55-7B2257E52E75}"/>
              </a:ext>
            </a:extLst>
          </p:cNvPr>
          <p:cNvSpPr/>
          <p:nvPr/>
        </p:nvSpPr>
        <p:spPr>
          <a:xfrm>
            <a:off x="574975" y="2808691"/>
            <a:ext cx="109648" cy="851757"/>
          </a:xfrm>
          <a:custGeom>
            <a:avLst/>
            <a:gdLst>
              <a:gd name="connsiteX0" fmla="*/ 0 w 6131308"/>
              <a:gd name="connsiteY0" fmla="*/ 0 h 623226"/>
              <a:gd name="connsiteX1" fmla="*/ 6131308 w 6131308"/>
              <a:gd name="connsiteY1" fmla="*/ 0 h 623226"/>
              <a:gd name="connsiteX2" fmla="*/ 6131308 w 6131308"/>
              <a:gd name="connsiteY2" fmla="*/ 623226 h 623226"/>
              <a:gd name="connsiteX3" fmla="*/ 0 w 6131308"/>
              <a:gd name="connsiteY3" fmla="*/ 623226 h 623226"/>
              <a:gd name="connsiteX4" fmla="*/ 0 w 6131308"/>
              <a:gd name="connsiteY4" fmla="*/ 0 h 623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1308" h="623226">
                <a:moveTo>
                  <a:pt x="0" y="0"/>
                </a:moveTo>
                <a:lnTo>
                  <a:pt x="6131308" y="0"/>
                </a:lnTo>
                <a:lnTo>
                  <a:pt x="6131308" y="623226"/>
                </a:lnTo>
                <a:lnTo>
                  <a:pt x="0" y="623226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12700" cap="flat" cmpd="sng" algn="ctr">
            <a:noFill/>
            <a:prstDash val="solid"/>
          </a:ln>
          <a:effectLst/>
        </p:spPr>
        <p:txBody>
          <a:bodyPr spcFirstLastPara="0" vert="horz" wrap="square" lIns="90000" tIns="90000" rIns="90000" bIns="90000" numCol="1" spcCol="1270" anchor="ctr" anchorCtr="0">
            <a:noAutofit/>
          </a:bodyPr>
          <a:lstStyle/>
          <a:p>
            <a:pPr marL="0" marR="0" lvl="0" indent="0" defTabSz="533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22" name="Google Shape;6278;g138ac581a49_12_50">
            <a:extLst>
              <a:ext uri="{FF2B5EF4-FFF2-40B4-BE49-F238E27FC236}">
                <a16:creationId xmlns:a16="http://schemas.microsoft.com/office/drawing/2014/main" id="{2FCE6EFF-033E-4C96-B8D8-15D70F1B3D65}"/>
              </a:ext>
            </a:extLst>
          </p:cNvPr>
          <p:cNvSpPr/>
          <p:nvPr/>
        </p:nvSpPr>
        <p:spPr>
          <a:xfrm>
            <a:off x="3464716" y="3996816"/>
            <a:ext cx="2747553" cy="925151"/>
          </a:xfrm>
          <a:prstGeom prst="roundRect">
            <a:avLst>
              <a:gd name="adj" fmla="val 5070"/>
            </a:avLst>
          </a:prstGeom>
          <a:solidFill>
            <a:srgbClr val="FFFFFF"/>
          </a:solidFill>
          <a:ln w="9525" cap="flat" cmpd="sng">
            <a:solidFill>
              <a:srgbClr val="80808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640075" tIns="91425" rIns="76200" bIns="91425" anchor="ctr" anchorCtr="0">
            <a:noAutofit/>
          </a:bodyPr>
          <a:lstStyle/>
          <a:p>
            <a:pPr>
              <a:buClr>
                <a:srgbClr val="000000"/>
              </a:buClr>
              <a:buSzPts val="900"/>
              <a:buFont typeface="Arial"/>
              <a:buNone/>
            </a:pPr>
            <a:endParaRPr sz="1500" kern="0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5" name="Google Shape;6281;g138ac581a49_12_50">
            <a:extLst>
              <a:ext uri="{FF2B5EF4-FFF2-40B4-BE49-F238E27FC236}">
                <a16:creationId xmlns:a16="http://schemas.microsoft.com/office/drawing/2014/main" id="{CB449F90-D22B-4CBB-BC06-96103DB62C1E}"/>
              </a:ext>
            </a:extLst>
          </p:cNvPr>
          <p:cNvSpPr/>
          <p:nvPr/>
        </p:nvSpPr>
        <p:spPr>
          <a:xfrm>
            <a:off x="6312382" y="3996816"/>
            <a:ext cx="2747553" cy="925151"/>
          </a:xfrm>
          <a:prstGeom prst="roundRect">
            <a:avLst>
              <a:gd name="adj" fmla="val 5070"/>
            </a:avLst>
          </a:prstGeom>
          <a:solidFill>
            <a:srgbClr val="FFFFFF"/>
          </a:solidFill>
          <a:ln w="9525" cap="flat" cmpd="sng">
            <a:solidFill>
              <a:srgbClr val="80808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640075" tIns="91425" rIns="76200" bIns="91425" anchor="ctr" anchorCtr="0">
            <a:noAutofit/>
          </a:bodyPr>
          <a:lstStyle/>
          <a:p>
            <a:pPr>
              <a:buClr>
                <a:srgbClr val="000000"/>
              </a:buClr>
              <a:buSzPts val="900"/>
              <a:buFont typeface="Arial"/>
              <a:buNone/>
            </a:pPr>
            <a:endParaRPr sz="1500" kern="0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8" name="Google Shape;6284;g138ac581a49_12_50">
            <a:extLst>
              <a:ext uri="{FF2B5EF4-FFF2-40B4-BE49-F238E27FC236}">
                <a16:creationId xmlns:a16="http://schemas.microsoft.com/office/drawing/2014/main" id="{BAE13F06-96F3-4431-9FF9-382AD5CABA3A}"/>
              </a:ext>
            </a:extLst>
          </p:cNvPr>
          <p:cNvSpPr/>
          <p:nvPr/>
        </p:nvSpPr>
        <p:spPr>
          <a:xfrm>
            <a:off x="9160048" y="3996816"/>
            <a:ext cx="2747553" cy="925151"/>
          </a:xfrm>
          <a:prstGeom prst="roundRect">
            <a:avLst>
              <a:gd name="adj" fmla="val 5070"/>
            </a:avLst>
          </a:prstGeom>
          <a:solidFill>
            <a:srgbClr val="FFFFFF"/>
          </a:solidFill>
          <a:ln w="9525" cap="flat" cmpd="sng">
            <a:solidFill>
              <a:srgbClr val="80808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640075" tIns="91425" rIns="76200" bIns="91425" anchor="ctr" anchorCtr="0">
            <a:noAutofit/>
          </a:bodyPr>
          <a:lstStyle/>
          <a:p>
            <a:pPr>
              <a:buClr>
                <a:srgbClr val="000000"/>
              </a:buClr>
              <a:buSzPts val="900"/>
              <a:buFont typeface="Arial"/>
              <a:buNone/>
            </a:pPr>
            <a:r>
              <a:rPr lang="ru" sz="1500" kern="0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Внедрение интегрированного управления границами</a:t>
            </a:r>
            <a:endParaRPr sz="1500" kern="0" dirty="0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31" name="Google Shape;6287;g138ac581a49_12_50">
            <a:extLst>
              <a:ext uri="{FF2B5EF4-FFF2-40B4-BE49-F238E27FC236}">
                <a16:creationId xmlns:a16="http://schemas.microsoft.com/office/drawing/2014/main" id="{3428815A-BC22-4CB4-A1D8-2A54B0730172}"/>
              </a:ext>
            </a:extLst>
          </p:cNvPr>
          <p:cNvSpPr/>
          <p:nvPr/>
        </p:nvSpPr>
        <p:spPr>
          <a:xfrm>
            <a:off x="617050" y="3996816"/>
            <a:ext cx="2747553" cy="925151"/>
          </a:xfrm>
          <a:prstGeom prst="roundRect">
            <a:avLst>
              <a:gd name="adj" fmla="val 5070"/>
            </a:avLst>
          </a:prstGeom>
          <a:solidFill>
            <a:srgbClr val="FFFFFF"/>
          </a:solidFill>
          <a:ln w="9525" cap="flat" cmpd="sng">
            <a:solidFill>
              <a:srgbClr val="80808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640075" tIns="91425" rIns="76200" bIns="91425" anchor="ctr" anchorCtr="0">
            <a:noAutofit/>
          </a:bodyPr>
          <a:lstStyle/>
          <a:p>
            <a:pPr>
              <a:buClr>
                <a:srgbClr val="000000"/>
              </a:buClr>
              <a:buSzPts val="900"/>
              <a:buFont typeface="Arial"/>
              <a:buNone/>
            </a:pPr>
            <a:r>
              <a:rPr lang="ru" sz="1500" kern="0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Умное управление очередью и парковочный центр</a:t>
            </a:r>
            <a:endParaRPr sz="1500" kern="0" dirty="0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133" name="Google Shape;6291;g138ac581a49_12_50" descr="Icon&#10;&#10;Description automatically generated">
            <a:extLst>
              <a:ext uri="{FF2B5EF4-FFF2-40B4-BE49-F238E27FC236}">
                <a16:creationId xmlns:a16="http://schemas.microsoft.com/office/drawing/2014/main" id="{E70DD3EE-E71A-412A-B297-1700FAC79D13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1489475" y="3642977"/>
            <a:ext cx="195033" cy="19503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7A10A3E-BFA6-496B-9BD0-61433D1AAE0F}"/>
              </a:ext>
            </a:extLst>
          </p:cNvPr>
          <p:cNvSpPr txBox="1"/>
          <p:nvPr/>
        </p:nvSpPr>
        <p:spPr>
          <a:xfrm>
            <a:off x="4268831" y="4153661"/>
            <a:ext cx="186012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" sz="1500" dirty="0">
                <a:latin typeface="Arial" panose="020B0604020202020204" pitchFamily="34" charset="0"/>
                <a:cs typeface="Arial" panose="020B0604020202020204" pitchFamily="34" charset="0"/>
              </a:rPr>
              <a:t>Умное управление шлагбаумами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BEE92660-83A7-4637-A0B7-54256BA44CBB}"/>
              </a:ext>
            </a:extLst>
          </p:cNvPr>
          <p:cNvSpPr txBox="1"/>
          <p:nvPr/>
        </p:nvSpPr>
        <p:spPr>
          <a:xfrm>
            <a:off x="7028510" y="4103402"/>
            <a:ext cx="180179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" sz="1500" dirty="0">
                <a:latin typeface="Arial" panose="020B0604020202020204" pitchFamily="34" charset="0"/>
                <a:cs typeface="Arial" panose="020B0604020202020204" pitchFamily="34" charset="0"/>
              </a:rPr>
              <a:t>Разделение транспортных потоков</a:t>
            </a:r>
          </a:p>
        </p:txBody>
      </p:sp>
      <p:graphicFrame>
        <p:nvGraphicFramePr>
          <p:cNvPr id="139" name="Table 32">
            <a:extLst>
              <a:ext uri="{FF2B5EF4-FFF2-40B4-BE49-F238E27FC236}">
                <a16:creationId xmlns:a16="http://schemas.microsoft.com/office/drawing/2014/main" id="{6245D4AD-65B8-4F9E-BB0D-6E70F4BC41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8997401"/>
              </p:ext>
            </p:extLst>
          </p:nvPr>
        </p:nvGraphicFramePr>
        <p:xfrm>
          <a:off x="574975" y="5155251"/>
          <a:ext cx="11447268" cy="822960"/>
        </p:xfrm>
        <a:graphic>
          <a:graphicData uri="http://schemas.openxmlformats.org/drawingml/2006/table">
            <a:tbl>
              <a:tblPr firstRow="1" bandRow="1"/>
              <a:tblGrid>
                <a:gridCol w="2861817">
                  <a:extLst>
                    <a:ext uri="{9D8B030D-6E8A-4147-A177-3AD203B41FA5}">
                      <a16:colId xmlns:a16="http://schemas.microsoft.com/office/drawing/2014/main" val="2926247487"/>
                    </a:ext>
                  </a:extLst>
                </a:gridCol>
                <a:gridCol w="2861817">
                  <a:extLst>
                    <a:ext uri="{9D8B030D-6E8A-4147-A177-3AD203B41FA5}">
                      <a16:colId xmlns:a16="http://schemas.microsoft.com/office/drawing/2014/main" val="2847155147"/>
                    </a:ext>
                  </a:extLst>
                </a:gridCol>
                <a:gridCol w="2861817">
                  <a:extLst>
                    <a:ext uri="{9D8B030D-6E8A-4147-A177-3AD203B41FA5}">
                      <a16:colId xmlns:a16="http://schemas.microsoft.com/office/drawing/2014/main" val="3785271933"/>
                    </a:ext>
                  </a:extLst>
                </a:gridCol>
                <a:gridCol w="2861817">
                  <a:extLst>
                    <a:ext uri="{9D8B030D-6E8A-4147-A177-3AD203B41FA5}">
                      <a16:colId xmlns:a16="http://schemas.microsoft.com/office/drawing/2014/main" val="3959223439"/>
                    </a:ext>
                  </a:extLst>
                </a:gridCol>
              </a:tblGrid>
              <a:tr h="6810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" sz="12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Arial"/>
                          <a:ea typeface="+mn-ea"/>
                          <a:cs typeface="+mn-cs"/>
                        </a:rPr>
                        <a:t>Внедрить интеллектуальную систему очередей и парковочный центр.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DB536A"/>
                      </a:solidFill>
                    </a:lnT>
                    <a:lnB w="12700" cmpd="sng">
                      <a:solidFill>
                        <a:srgbClr val="DB536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200" b="0" kern="1200">
                          <a:solidFill>
                            <a:schemeClr val="tx1"/>
                          </a:solidFill>
                          <a:effectLst/>
                        </a:rPr>
                        <a:t>Грузовой поток можно разделить на зеленую полосу, негабаритные транспортные средства и обычные транспортные средства.</a:t>
                      </a:r>
                      <a:endParaRPr lang="en-US" sz="1200" b="0" kern="120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DB536A"/>
                      </a:solidFill>
                    </a:lnT>
                    <a:lnB w="12700" cmpd="sng">
                      <a:solidFill>
                        <a:srgbClr val="DB536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</a:rPr>
                        <a:t>Различные полосы движения должны быть разграничены, чтобы обеспечить правильную очередь на въезде</a:t>
                      </a:r>
                      <a:r>
                        <a:rPr lang="ru" sz="1200" b="0" dirty="0">
                          <a:solidFill>
                            <a:schemeClr val="accent5">
                              <a:lumMod val="75000"/>
                            </a:schemeClr>
                          </a:solidFill>
                        </a:rPr>
                        <a:t>.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DB536A"/>
                      </a:solidFill>
                    </a:lnT>
                    <a:lnB w="12700" cmpd="sng">
                      <a:solidFill>
                        <a:srgbClr val="DB536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200" b="0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Создание пункта «одного окна», где проверяются все соответствующие документы.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DB536A"/>
                      </a:solidFill>
                    </a:lnT>
                    <a:lnB w="12700" cmpd="sng">
                      <a:solidFill>
                        <a:srgbClr val="DB536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3241996"/>
                  </a:ext>
                </a:extLst>
              </a:tr>
            </a:tbl>
          </a:graphicData>
        </a:graphic>
      </p:graphicFrame>
      <p:sp>
        <p:nvSpPr>
          <p:cNvPr id="141" name="Freeform: Shape 140">
            <a:extLst>
              <a:ext uri="{FF2B5EF4-FFF2-40B4-BE49-F238E27FC236}">
                <a16:creationId xmlns:a16="http://schemas.microsoft.com/office/drawing/2014/main" id="{0FB57B42-452A-404D-98E2-4677E6396BB0}"/>
              </a:ext>
            </a:extLst>
          </p:cNvPr>
          <p:cNvSpPr/>
          <p:nvPr/>
        </p:nvSpPr>
        <p:spPr>
          <a:xfrm>
            <a:off x="702778" y="3633743"/>
            <a:ext cx="6595312" cy="321444"/>
          </a:xfrm>
          <a:custGeom>
            <a:avLst/>
            <a:gdLst>
              <a:gd name="connsiteX0" fmla="*/ 0 w 6131333"/>
              <a:gd name="connsiteY0" fmla="*/ 0 h 382434"/>
              <a:gd name="connsiteX1" fmla="*/ 6131333 w 6131333"/>
              <a:gd name="connsiteY1" fmla="*/ 0 h 382434"/>
              <a:gd name="connsiteX2" fmla="*/ 6131333 w 6131333"/>
              <a:gd name="connsiteY2" fmla="*/ 382434 h 382434"/>
              <a:gd name="connsiteX3" fmla="*/ 0 w 6131333"/>
              <a:gd name="connsiteY3" fmla="*/ 382434 h 382434"/>
              <a:gd name="connsiteX4" fmla="*/ 0 w 6131333"/>
              <a:gd name="connsiteY4" fmla="*/ 0 h 382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1333" h="382434">
                <a:moveTo>
                  <a:pt x="0" y="0"/>
                </a:moveTo>
                <a:lnTo>
                  <a:pt x="6131333" y="0"/>
                </a:lnTo>
                <a:lnTo>
                  <a:pt x="6131333" y="382434"/>
                </a:lnTo>
                <a:lnTo>
                  <a:pt x="0" y="38243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60960" rIns="0" bIns="60960" numCol="1" spcCol="1270" anchor="b" anchorCtr="0"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1400" b="1" i="0" u="none" strike="noStrike" kern="1200" cap="none" spc="0" normalizeH="0" baseline="0" noProof="0" dirty="0">
                <a:ln>
                  <a:noFill/>
                </a:ln>
                <a:solidFill>
                  <a:srgbClr val="E0301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Модернизация ППГ предполагает следующее:</a:t>
            </a:r>
          </a:p>
        </p:txBody>
      </p:sp>
      <p:sp>
        <p:nvSpPr>
          <p:cNvPr id="142" name="Rectangle: Rounded Corners 141">
            <a:extLst>
              <a:ext uri="{FF2B5EF4-FFF2-40B4-BE49-F238E27FC236}">
                <a16:creationId xmlns:a16="http://schemas.microsoft.com/office/drawing/2014/main" id="{7D940AE6-2F89-421A-9DB9-3F96BD212CB2}"/>
              </a:ext>
            </a:extLst>
          </p:cNvPr>
          <p:cNvSpPr/>
          <p:nvPr/>
        </p:nvSpPr>
        <p:spPr>
          <a:xfrm>
            <a:off x="154113" y="2499173"/>
            <a:ext cx="256854" cy="288327"/>
          </a:xfrm>
          <a:prstGeom prst="roundRect">
            <a:avLst/>
          </a:prstGeom>
          <a:solidFill>
            <a:schemeClr val="tx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 sz="1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DB867DE8-350C-4138-A4D1-96D0319876A4}"/>
              </a:ext>
            </a:extLst>
          </p:cNvPr>
          <p:cNvSpPr/>
          <p:nvPr/>
        </p:nvSpPr>
        <p:spPr>
          <a:xfrm>
            <a:off x="689823" y="1539744"/>
            <a:ext cx="11059265" cy="851760"/>
          </a:xfrm>
          <a:custGeom>
            <a:avLst/>
            <a:gdLst>
              <a:gd name="connsiteX0" fmla="*/ 0 w 6134547"/>
              <a:gd name="connsiteY0" fmla="*/ 0 h 623226"/>
              <a:gd name="connsiteX1" fmla="*/ 6134547 w 6134547"/>
              <a:gd name="connsiteY1" fmla="*/ 0 h 623226"/>
              <a:gd name="connsiteX2" fmla="*/ 6134547 w 6134547"/>
              <a:gd name="connsiteY2" fmla="*/ 623226 h 623226"/>
              <a:gd name="connsiteX3" fmla="*/ 0 w 6134547"/>
              <a:gd name="connsiteY3" fmla="*/ 623226 h 623226"/>
              <a:gd name="connsiteX4" fmla="*/ 0 w 6134547"/>
              <a:gd name="connsiteY4" fmla="*/ 0 h 623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4547" h="623226">
                <a:moveTo>
                  <a:pt x="0" y="0"/>
                </a:moveTo>
                <a:lnTo>
                  <a:pt x="6134547" y="0"/>
                </a:lnTo>
                <a:lnTo>
                  <a:pt x="6134547" y="623226"/>
                </a:lnTo>
                <a:lnTo>
                  <a:pt x="0" y="62322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spcFirstLastPara="0" vert="horz" wrap="square" lIns="90000" tIns="90000" rIns="90000" bIns="90000" numCol="1" spcCol="1270" anchor="ctr" anchorCtr="0">
            <a:noAutofit/>
          </a:bodyPr>
          <a:lstStyle/>
          <a:p>
            <a:pPr marL="171450" marR="0" lvl="0" indent="-171450" defTabSz="533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Строительство железной дороги Дарбаза-Мактаарал позволит сократить дефицит пропускной способности на ППГ Сарыгаш/Келес, </a:t>
            </a: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особенно в пиковые периоды сезонной погрузки грузов.</a:t>
            </a: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C57C7C0C-40A7-47E1-B582-4497777901FE}"/>
              </a:ext>
            </a:extLst>
          </p:cNvPr>
          <p:cNvSpPr/>
          <p:nvPr/>
        </p:nvSpPr>
        <p:spPr>
          <a:xfrm>
            <a:off x="574975" y="1539747"/>
            <a:ext cx="109648" cy="851757"/>
          </a:xfrm>
          <a:custGeom>
            <a:avLst/>
            <a:gdLst>
              <a:gd name="connsiteX0" fmla="*/ 0 w 6134547"/>
              <a:gd name="connsiteY0" fmla="*/ 0 h 623226"/>
              <a:gd name="connsiteX1" fmla="*/ 6134547 w 6134547"/>
              <a:gd name="connsiteY1" fmla="*/ 0 h 623226"/>
              <a:gd name="connsiteX2" fmla="*/ 6134547 w 6134547"/>
              <a:gd name="connsiteY2" fmla="*/ 623226 h 623226"/>
              <a:gd name="connsiteX3" fmla="*/ 0 w 6134547"/>
              <a:gd name="connsiteY3" fmla="*/ 623226 h 623226"/>
              <a:gd name="connsiteX4" fmla="*/ 0 w 6134547"/>
              <a:gd name="connsiteY4" fmla="*/ 0 h 623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4547" h="623226">
                <a:moveTo>
                  <a:pt x="0" y="0"/>
                </a:moveTo>
                <a:lnTo>
                  <a:pt x="6134547" y="0"/>
                </a:lnTo>
                <a:lnTo>
                  <a:pt x="6134547" y="623226"/>
                </a:lnTo>
                <a:lnTo>
                  <a:pt x="0" y="623226"/>
                </a:lnTo>
                <a:lnTo>
                  <a:pt x="0" y="0"/>
                </a:lnTo>
                <a:close/>
              </a:path>
            </a:pathLst>
          </a:custGeom>
          <a:solidFill>
            <a:srgbClr val="E0301E"/>
          </a:solidFill>
          <a:ln w="12700" cap="flat" cmpd="sng" algn="ctr">
            <a:noFill/>
            <a:prstDash val="solid"/>
          </a:ln>
          <a:effectLst/>
        </p:spPr>
        <p:txBody>
          <a:bodyPr spcFirstLastPara="0" vert="horz" wrap="square" lIns="90000" tIns="90000" rIns="90000" bIns="90000" numCol="1" spcCol="1270" anchor="ctr" anchorCtr="0">
            <a:noAutofit/>
          </a:bodyPr>
          <a:lstStyle/>
          <a:p>
            <a:pPr marL="0" marR="0" lvl="0" indent="0" defTabSz="533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F2C3050-9E63-44DA-9E95-66AABE2CC03E}"/>
              </a:ext>
            </a:extLst>
          </p:cNvPr>
          <p:cNvSpPr/>
          <p:nvPr/>
        </p:nvSpPr>
        <p:spPr>
          <a:xfrm>
            <a:off x="556197" y="1203376"/>
            <a:ext cx="6833144" cy="330203"/>
          </a:xfrm>
          <a:custGeom>
            <a:avLst/>
            <a:gdLst>
              <a:gd name="connsiteX0" fmla="*/ 0 w 6131333"/>
              <a:gd name="connsiteY0" fmla="*/ 0 h 382434"/>
              <a:gd name="connsiteX1" fmla="*/ 6131333 w 6131333"/>
              <a:gd name="connsiteY1" fmla="*/ 0 h 382434"/>
              <a:gd name="connsiteX2" fmla="*/ 6131333 w 6131333"/>
              <a:gd name="connsiteY2" fmla="*/ 382434 h 382434"/>
              <a:gd name="connsiteX3" fmla="*/ 0 w 6131333"/>
              <a:gd name="connsiteY3" fmla="*/ 382434 h 382434"/>
              <a:gd name="connsiteX4" fmla="*/ 0 w 6131333"/>
              <a:gd name="connsiteY4" fmla="*/ 0 h 382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1333" h="382434">
                <a:moveTo>
                  <a:pt x="0" y="0"/>
                </a:moveTo>
                <a:lnTo>
                  <a:pt x="6131333" y="0"/>
                </a:lnTo>
                <a:lnTo>
                  <a:pt x="6131333" y="382434"/>
                </a:lnTo>
                <a:lnTo>
                  <a:pt x="0" y="38243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60960" rIns="0" bIns="60960" numCol="1" spcCol="1270" anchor="b" anchorCtr="0"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1400" b="1" i="0" u="none" strike="noStrike" kern="1200" cap="none" spc="0" normalizeH="0" baseline="0" noProof="0" dirty="0">
                <a:ln>
                  <a:noFill/>
                </a:ln>
                <a:solidFill>
                  <a:srgbClr val="E0301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Строительство железнодорожного сообщения Дарбаза – Мактаарал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B330E521-DADC-403D-8539-BA017C5BC3AD}"/>
              </a:ext>
            </a:extLst>
          </p:cNvPr>
          <p:cNvSpPr/>
          <p:nvPr/>
        </p:nvSpPr>
        <p:spPr>
          <a:xfrm>
            <a:off x="154113" y="1251417"/>
            <a:ext cx="256854" cy="288327"/>
          </a:xfrm>
          <a:prstGeom prst="roundRect">
            <a:avLst/>
          </a:prstGeom>
          <a:solidFill>
            <a:srgbClr val="C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 sz="140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5" name="Graphic 4" descr="Door Open with solid fill">
            <a:extLst>
              <a:ext uri="{FF2B5EF4-FFF2-40B4-BE49-F238E27FC236}">
                <a16:creationId xmlns:a16="http://schemas.microsoft.com/office/drawing/2014/main" id="{CEB90021-7A1A-4AA8-8CA6-133D29F8ACF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74974" y="4088348"/>
            <a:ext cx="684623" cy="684623"/>
          </a:xfrm>
          <a:prstGeom prst="rect">
            <a:avLst/>
          </a:prstGeom>
        </p:spPr>
      </p:pic>
      <p:pic>
        <p:nvPicPr>
          <p:cNvPr id="9" name="Graphic 8" descr="Smart Phone with solid fill">
            <a:extLst>
              <a:ext uri="{FF2B5EF4-FFF2-40B4-BE49-F238E27FC236}">
                <a16:creationId xmlns:a16="http://schemas.microsoft.com/office/drawing/2014/main" id="{30AB10DE-7284-491D-9D03-4D008582767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2778" y="4143924"/>
            <a:ext cx="573469" cy="573469"/>
          </a:xfrm>
          <a:prstGeom prst="rect">
            <a:avLst/>
          </a:prstGeom>
        </p:spPr>
      </p:pic>
      <p:pic>
        <p:nvPicPr>
          <p:cNvPr id="11" name="Graphic 10" descr="Traffic light with solid fill">
            <a:extLst>
              <a:ext uri="{FF2B5EF4-FFF2-40B4-BE49-F238E27FC236}">
                <a16:creationId xmlns:a16="http://schemas.microsoft.com/office/drawing/2014/main" id="{AFCEF859-6CBF-4317-B641-673B7EC2177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06098" y="4067571"/>
            <a:ext cx="778219" cy="778219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4B8F5A-51F6-45FC-9519-381323F4E21D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/>
              <a:t>сентябрь 2023</a:t>
            </a:r>
            <a:endParaRPr lang="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96C645-AD03-4CBD-931F-FA2F64732C4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en-US" smtClean="0"/>
              <a:pPr lvl="0"/>
              <a:t>22</a:t>
            </a:fld>
            <a:endParaRPr lang="en-US"/>
          </a:p>
        </p:txBody>
      </p:sp>
      <p:sp>
        <p:nvSpPr>
          <p:cNvPr id="32" name="Footer Placeholder 11">
            <a:extLst>
              <a:ext uri="{FF2B5EF4-FFF2-40B4-BE49-F238E27FC236}">
                <a16:creationId xmlns:a16="http://schemas.microsoft.com/office/drawing/2014/main" id="{D72A0D51-D4DF-42F8-B2BF-345BA2C27974}"/>
              </a:ext>
            </a:extLst>
          </p:cNvPr>
          <p:cNvSpPr txBox="1">
            <a:spLocks/>
          </p:cNvSpPr>
          <p:nvPr/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едварительное технико-экономическое обоснование создания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ЦПК</a:t>
            </a: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ри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КШТХ</a:t>
            </a:r>
            <a:endParaRPr kumimoji="0" lang="ru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Freeform 32">
            <a:extLst>
              <a:ext uri="{FF2B5EF4-FFF2-40B4-BE49-F238E27FC236}">
                <a16:creationId xmlns:a16="http://schemas.microsoft.com/office/drawing/2014/main" id="{8F0807F6-83F2-4DD2-99C1-93A124CAAE6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271001" y="4143924"/>
            <a:ext cx="394109" cy="563735"/>
          </a:xfrm>
          <a:custGeom>
            <a:avLst/>
            <a:gdLst>
              <a:gd name="T0" fmla="*/ 0 w 304"/>
              <a:gd name="T1" fmla="*/ 152 h 246"/>
              <a:gd name="T2" fmla="*/ 304 w 304"/>
              <a:gd name="T3" fmla="*/ 152 h 246"/>
              <a:gd name="T4" fmla="*/ 304 w 304"/>
              <a:gd name="T5" fmla="*/ 94 h 246"/>
              <a:gd name="T6" fmla="*/ 0 w 304"/>
              <a:gd name="T7" fmla="*/ 94 h 246"/>
              <a:gd name="T8" fmla="*/ 0 w 304"/>
              <a:gd name="T9" fmla="*/ 152 h 246"/>
              <a:gd name="T10" fmla="*/ 0 w 304"/>
              <a:gd name="T11" fmla="*/ 56 h 246"/>
              <a:gd name="T12" fmla="*/ 304 w 304"/>
              <a:gd name="T13" fmla="*/ 56 h 246"/>
              <a:gd name="T14" fmla="*/ 304 w 304"/>
              <a:gd name="T15" fmla="*/ 0 h 246"/>
              <a:gd name="T16" fmla="*/ 0 w 304"/>
              <a:gd name="T17" fmla="*/ 0 h 246"/>
              <a:gd name="T18" fmla="*/ 0 w 304"/>
              <a:gd name="T19" fmla="*/ 56 h 246"/>
              <a:gd name="T20" fmla="*/ 0 w 304"/>
              <a:gd name="T21" fmla="*/ 246 h 246"/>
              <a:gd name="T22" fmla="*/ 188 w 304"/>
              <a:gd name="T23" fmla="*/ 246 h 246"/>
              <a:gd name="T24" fmla="*/ 188 w 304"/>
              <a:gd name="T25" fmla="*/ 190 h 246"/>
              <a:gd name="T26" fmla="*/ 0 w 304"/>
              <a:gd name="T27" fmla="*/ 190 h 246"/>
              <a:gd name="T28" fmla="*/ 0 w 304"/>
              <a:gd name="T29" fmla="*/ 246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04" h="246">
                <a:moveTo>
                  <a:pt x="0" y="152"/>
                </a:moveTo>
                <a:lnTo>
                  <a:pt x="304" y="152"/>
                </a:lnTo>
                <a:lnTo>
                  <a:pt x="304" y="94"/>
                </a:lnTo>
                <a:lnTo>
                  <a:pt x="0" y="94"/>
                </a:lnTo>
                <a:lnTo>
                  <a:pt x="0" y="152"/>
                </a:lnTo>
                <a:close/>
                <a:moveTo>
                  <a:pt x="0" y="56"/>
                </a:moveTo>
                <a:lnTo>
                  <a:pt x="304" y="56"/>
                </a:lnTo>
                <a:lnTo>
                  <a:pt x="304" y="0"/>
                </a:lnTo>
                <a:lnTo>
                  <a:pt x="0" y="0"/>
                </a:lnTo>
                <a:lnTo>
                  <a:pt x="0" y="56"/>
                </a:lnTo>
                <a:close/>
                <a:moveTo>
                  <a:pt x="0" y="246"/>
                </a:moveTo>
                <a:lnTo>
                  <a:pt x="188" y="246"/>
                </a:lnTo>
                <a:lnTo>
                  <a:pt x="188" y="190"/>
                </a:lnTo>
                <a:lnTo>
                  <a:pt x="0" y="190"/>
                </a:lnTo>
                <a:lnTo>
                  <a:pt x="0" y="246"/>
                </a:lnTo>
                <a:close/>
              </a:path>
            </a:pathLst>
          </a:custGeom>
          <a:solidFill>
            <a:srgbClr val="BB2740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832D9676-593F-4F8B-A6AE-1E0E463E82EA}"/>
              </a:ext>
            </a:extLst>
          </p:cNvPr>
          <p:cNvSpPr/>
          <p:nvPr/>
        </p:nvSpPr>
        <p:spPr>
          <a:xfrm>
            <a:off x="489061" y="6020863"/>
            <a:ext cx="6035040" cy="280791"/>
          </a:xfrm>
          <a:custGeom>
            <a:avLst/>
            <a:gdLst>
              <a:gd name="connsiteX0" fmla="*/ 0 w 6131333"/>
              <a:gd name="connsiteY0" fmla="*/ 0 h 382434"/>
              <a:gd name="connsiteX1" fmla="*/ 6131333 w 6131333"/>
              <a:gd name="connsiteY1" fmla="*/ 0 h 382434"/>
              <a:gd name="connsiteX2" fmla="*/ 6131333 w 6131333"/>
              <a:gd name="connsiteY2" fmla="*/ 382434 h 382434"/>
              <a:gd name="connsiteX3" fmla="*/ 0 w 6131333"/>
              <a:gd name="connsiteY3" fmla="*/ 382434 h 382434"/>
              <a:gd name="connsiteX4" fmla="*/ 0 w 6131333"/>
              <a:gd name="connsiteY4" fmla="*/ 0 h 382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1333" h="382434">
                <a:moveTo>
                  <a:pt x="0" y="0"/>
                </a:moveTo>
                <a:lnTo>
                  <a:pt x="6131333" y="0"/>
                </a:lnTo>
                <a:lnTo>
                  <a:pt x="6131333" y="382434"/>
                </a:lnTo>
                <a:lnTo>
                  <a:pt x="0" y="382434"/>
                </a:lnTo>
                <a:lnTo>
                  <a:pt x="0" y="0"/>
                </a:lnTo>
                <a:close/>
              </a:path>
            </a:pathLst>
          </a:custGeom>
          <a:solidFill>
            <a:srgbClr val="F9D5D2"/>
          </a:solidFill>
          <a:ln>
            <a:noFill/>
          </a:ln>
          <a:effectLst/>
        </p:spPr>
        <p:txBody>
          <a:bodyPr spcFirstLastPara="0" vert="horz" wrap="square" lIns="0" tIns="57150" rIns="0" bIns="57150" numCol="1" spcCol="1270" anchor="b" anchorCtr="0">
            <a:noAutofit/>
          </a:bodyPr>
          <a:lstStyle/>
          <a:p>
            <a:pPr defTabSz="711200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defRPr/>
            </a:pPr>
            <a:r>
              <a:rPr lang="ru" sz="1400" b="1" dirty="0">
                <a:solidFill>
                  <a:srgbClr val="E0301E"/>
                </a:solidFill>
                <a:latin typeface="Arial"/>
                <a:sym typeface="Arial"/>
              </a:rPr>
              <a:t>Реабилитация  автодорог А-2 и А-15.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A6F61FE0-644A-482A-B30A-B85FF904F9DA}"/>
              </a:ext>
            </a:extLst>
          </p:cNvPr>
          <p:cNvSpPr/>
          <p:nvPr/>
        </p:nvSpPr>
        <p:spPr>
          <a:xfrm>
            <a:off x="154113" y="6004467"/>
            <a:ext cx="256854" cy="288327"/>
          </a:xfrm>
          <a:prstGeom prst="roundRect">
            <a:avLst/>
          </a:prstGeom>
          <a:solidFill>
            <a:srgbClr val="B2050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 sz="1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620076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095B41-810A-40B0-8ED6-F81B04F66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6094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2" imgH="532" progId="TCLayout.ActiveDocument.1">
                  <p:embed/>
                </p:oleObj>
              </mc:Choice>
              <mc:Fallback>
                <p:oleObj name="think-cell Slide" r:id="rId5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095B41-810A-40B0-8ED6-F81B04F66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2"/>
          <p:cNvSpPr txBox="1">
            <a:spLocks noGrp="1"/>
          </p:cNvSpPr>
          <p:nvPr>
            <p:ph type="title"/>
          </p:nvPr>
        </p:nvSpPr>
        <p:spPr>
          <a:xfrm>
            <a:off x="442914" y="345559"/>
            <a:ext cx="11306175" cy="369332"/>
          </a:xfrm>
        </p:spPr>
        <p:txBody>
          <a:bodyPr anchor="ctr" anchorCtr="0">
            <a:normAutofit/>
          </a:bodyPr>
          <a:lstStyle/>
          <a:p>
            <a:pPr lvl="0"/>
            <a:r>
              <a:rPr lang="ru" sz="2400" b="0" dirty="0">
                <a:latin typeface="Georgia" panose="02040502050405020303" pitchFamily="18" charset="0"/>
              </a:rPr>
              <a:t>Нормативно-правовая база</a:t>
            </a: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41A27B56-67D8-4DCE-85AB-FFA3F04EFE35}"/>
              </a:ext>
            </a:extLst>
          </p:cNvPr>
          <p:cNvGrpSpPr/>
          <p:nvPr/>
        </p:nvGrpSpPr>
        <p:grpSpPr>
          <a:xfrm>
            <a:off x="71952" y="1121504"/>
            <a:ext cx="6516264" cy="5176702"/>
            <a:chOff x="71952" y="1121504"/>
            <a:chExt cx="6516264" cy="5176702"/>
          </a:xfrm>
        </p:grpSpPr>
        <p:sp>
          <p:nvSpPr>
            <p:cNvPr id="27" name="Line 20">
              <a:extLst>
                <a:ext uri="{FF2B5EF4-FFF2-40B4-BE49-F238E27FC236}">
                  <a16:creationId xmlns:a16="http://schemas.microsoft.com/office/drawing/2014/main" id="{59A9567D-C08B-47E3-B85B-A06BB6CAC78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20805" y="1654394"/>
              <a:ext cx="0" cy="4484464"/>
            </a:xfrm>
            <a:prstGeom prst="line">
              <a:avLst/>
            </a:prstGeom>
            <a:noFill/>
            <a:ln w="1270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square" lIns="46176" tIns="46176" rIns="46176" bIns="46176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GB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Line 23">
              <a:extLst>
                <a:ext uri="{FF2B5EF4-FFF2-40B4-BE49-F238E27FC236}">
                  <a16:creationId xmlns:a16="http://schemas.microsoft.com/office/drawing/2014/main" id="{13855BB2-731D-456C-9E20-7F77432E4A01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4059113" y="1174235"/>
              <a:ext cx="16381" cy="3803962"/>
            </a:xfrm>
            <a:prstGeom prst="line">
              <a:avLst/>
            </a:prstGeom>
            <a:noFill/>
            <a:ln w="1270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square" lIns="46176" tIns="46176" rIns="46176" bIns="46176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GB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Line 24">
              <a:extLst>
                <a:ext uri="{FF2B5EF4-FFF2-40B4-BE49-F238E27FC236}">
                  <a16:creationId xmlns:a16="http://schemas.microsoft.com/office/drawing/2014/main" id="{07E3E464-F556-40F4-8F5D-15A25F3663FF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3705017" y="2408926"/>
              <a:ext cx="0" cy="4681011"/>
            </a:xfrm>
            <a:prstGeom prst="line">
              <a:avLst/>
            </a:prstGeom>
            <a:noFill/>
            <a:ln w="1270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square" lIns="46176" tIns="46176" rIns="46176" bIns="46176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GB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 35">
              <a:extLst>
                <a:ext uri="{FF2B5EF4-FFF2-40B4-BE49-F238E27FC236}">
                  <a16:creationId xmlns:a16="http://schemas.microsoft.com/office/drawing/2014/main" id="{0AD970BA-AEAC-454C-AF71-5E41AC7D91E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20805" y="3052652"/>
              <a:ext cx="1446800" cy="1687950"/>
            </a:xfrm>
            <a:custGeom>
              <a:avLst/>
              <a:gdLst/>
              <a:ahLst/>
              <a:cxnLst>
                <a:cxn ang="0">
                  <a:pos x="150" y="173"/>
                </a:cxn>
                <a:cxn ang="0">
                  <a:pos x="174" y="87"/>
                </a:cxn>
                <a:cxn ang="0">
                  <a:pos x="150" y="0"/>
                </a:cxn>
                <a:cxn ang="0">
                  <a:pos x="0" y="87"/>
                </a:cxn>
                <a:cxn ang="0">
                  <a:pos x="150" y="173"/>
                </a:cxn>
              </a:cxnLst>
              <a:rect l="0" t="0" r="r" b="b"/>
              <a:pathLst>
                <a:path w="174" h="173">
                  <a:moveTo>
                    <a:pt x="150" y="173"/>
                  </a:moveTo>
                  <a:cubicBezTo>
                    <a:pt x="165" y="147"/>
                    <a:pt x="174" y="117"/>
                    <a:pt x="174" y="87"/>
                  </a:cubicBezTo>
                  <a:cubicBezTo>
                    <a:pt x="174" y="56"/>
                    <a:pt x="165" y="26"/>
                    <a:pt x="150" y="0"/>
                  </a:cubicBezTo>
                  <a:lnTo>
                    <a:pt x="0" y="87"/>
                  </a:lnTo>
                  <a:lnTo>
                    <a:pt x="150" y="173"/>
                  </a:lnTo>
                  <a:close/>
                </a:path>
              </a:pathLst>
            </a:custGeom>
            <a:solidFill>
              <a:schemeClr val="accent1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GB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 36">
              <a:extLst>
                <a:ext uri="{FF2B5EF4-FFF2-40B4-BE49-F238E27FC236}">
                  <a16:creationId xmlns:a16="http://schemas.microsoft.com/office/drawing/2014/main" id="{B2B45A32-0331-456A-9A42-926B57EAC36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20805" y="2205146"/>
              <a:ext cx="1247396" cy="1696779"/>
            </a:xfrm>
            <a:custGeom>
              <a:avLst/>
              <a:gdLst/>
              <a:ahLst/>
              <a:cxnLst>
                <a:cxn ang="0">
                  <a:pos x="150" y="87"/>
                </a:cxn>
                <a:cxn ang="0">
                  <a:pos x="0" y="0"/>
                </a:cxn>
                <a:cxn ang="0">
                  <a:pos x="0" y="174"/>
                </a:cxn>
                <a:cxn ang="0">
                  <a:pos x="150" y="87"/>
                </a:cxn>
              </a:cxnLst>
              <a:rect l="0" t="0" r="r" b="b"/>
              <a:pathLst>
                <a:path w="150" h="174">
                  <a:moveTo>
                    <a:pt x="150" y="87"/>
                  </a:moveTo>
                  <a:cubicBezTo>
                    <a:pt x="119" y="33"/>
                    <a:pt x="62" y="0"/>
                    <a:pt x="0" y="0"/>
                  </a:cubicBezTo>
                  <a:lnTo>
                    <a:pt x="0" y="174"/>
                  </a:lnTo>
                  <a:lnTo>
                    <a:pt x="150" y="87"/>
                  </a:lnTo>
                  <a:close/>
                </a:path>
              </a:pathLst>
            </a:custGeom>
            <a:solidFill>
              <a:schemeClr val="accent4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GB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 37">
              <a:extLst>
                <a:ext uri="{FF2B5EF4-FFF2-40B4-BE49-F238E27FC236}">
                  <a16:creationId xmlns:a16="http://schemas.microsoft.com/office/drawing/2014/main" id="{2C95681C-CDEA-4BE0-83B7-9D3F660BA2A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20805" y="3901925"/>
              <a:ext cx="1247396" cy="1686185"/>
            </a:xfrm>
            <a:custGeom>
              <a:avLst/>
              <a:gdLst/>
              <a:ahLst/>
              <a:cxnLst>
                <a:cxn ang="0">
                  <a:pos x="0" y="173"/>
                </a:cxn>
                <a:cxn ang="0">
                  <a:pos x="150" y="86"/>
                </a:cxn>
                <a:cxn ang="0">
                  <a:pos x="0" y="0"/>
                </a:cxn>
                <a:cxn ang="0">
                  <a:pos x="0" y="173"/>
                </a:cxn>
              </a:cxnLst>
              <a:rect l="0" t="0" r="r" b="b"/>
              <a:pathLst>
                <a:path w="150" h="173">
                  <a:moveTo>
                    <a:pt x="0" y="173"/>
                  </a:moveTo>
                  <a:cubicBezTo>
                    <a:pt x="62" y="173"/>
                    <a:pt x="119" y="140"/>
                    <a:pt x="150" y="86"/>
                  </a:cubicBezTo>
                  <a:lnTo>
                    <a:pt x="0" y="0"/>
                  </a:lnTo>
                  <a:lnTo>
                    <a:pt x="0" y="173"/>
                  </a:lnTo>
                  <a:close/>
                </a:path>
              </a:pathLst>
            </a:custGeom>
            <a:solidFill>
              <a:schemeClr val="accent5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GB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93008857-2934-4582-9D0D-CF5A06D7182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71952" y="3202730"/>
              <a:ext cx="1181429" cy="1387793"/>
            </a:xfrm>
            <a:prstGeom prst="ellipse">
              <a:avLst/>
            </a:prstGeom>
            <a:solidFill>
              <a:schemeClr val="bg1"/>
            </a:solidFill>
            <a:ln w="127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>
                <a:buSzPct val="90000"/>
              </a:pPr>
              <a:r>
                <a:rPr lang="ru" sz="11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жправитель</a:t>
              </a:r>
            </a:p>
            <a:p>
              <a:pPr algn="ctr">
                <a:buSzPct val="90000"/>
              </a:pPr>
              <a:r>
                <a:rPr lang="ru" sz="11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венное</a:t>
              </a:r>
            </a:p>
            <a:p>
              <a:pPr algn="ctr">
                <a:buSzPct val="90000"/>
              </a:pPr>
              <a:r>
                <a:rPr lang="ru" sz="11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глашение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1F3F5903-5005-4809-8816-58D18A6BA686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860834" y="2794522"/>
              <a:ext cx="1181429" cy="153224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>
                <a:buSzPct val="90000"/>
              </a:pPr>
              <a:endParaRPr lang="en-GB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CEC910-C538-4B0A-BE0E-9B61A651C036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303719" y="3613454"/>
              <a:ext cx="1039369" cy="553998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>
                <a:buSzPct val="90000"/>
              </a:pPr>
              <a:r>
                <a:rPr lang="ru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имулы для привлечения инвесторов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3814071-FFE8-4304-AF04-9018CBA7061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31863" y="4521360"/>
              <a:ext cx="1039369" cy="738664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>
                <a:buSzPct val="90000"/>
              </a:pPr>
              <a:r>
                <a:rPr lang="ru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ем иностранной рабочей силы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C4C7976-F8D7-41DA-9A89-2B7620CF73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2956" y="1121504"/>
              <a:ext cx="4025370" cy="13238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t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ru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жим для машин и оборудования</a:t>
              </a:r>
            </a:p>
            <a:p>
              <a:pPr marL="154738" lvl="1" indent="-154738" defTabSz="851060" ea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Arial" pitchFamily="34" charset="0"/>
                <a:buChar char="•"/>
                <a:defRPr/>
              </a:pPr>
              <a:r>
                <a:rPr lang="ru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казать условия режима для маши и оборудования, ввезенным из-за пределов таможенной территории </a:t>
              </a:r>
              <a:r>
                <a:rPr lang="ru-RU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ЦПК</a:t>
              </a:r>
              <a:r>
                <a:rPr lang="ru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marL="154738" lvl="1" indent="-154738" defTabSz="851060" eaLnBrk="0" hangingPunct="0">
                <a:spcBef>
                  <a:spcPts val="0"/>
                </a:spcBef>
                <a:spcAft>
                  <a:spcPts val="342"/>
                </a:spcAft>
                <a:buSzPct val="100000"/>
                <a:buFont typeface="Arial" pitchFamily="34" charset="0"/>
                <a:buChar char="•"/>
                <a:defRPr/>
              </a:pPr>
              <a:r>
                <a:rPr lang="ru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жим бывшей в употреблении техники, купленной за пределами </a:t>
              </a:r>
              <a:r>
                <a:rPr lang="ru-RU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ЦПК</a:t>
              </a:r>
              <a:r>
                <a:rPr lang="ru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в Казахстане и Узбекистане</a:t>
              </a:r>
            </a:p>
            <a:p>
              <a:pPr marL="154738" lvl="1" indent="-154738" defTabSz="851060" eaLnBrk="0" hangingPunct="0">
                <a:spcBef>
                  <a:spcPts val="0"/>
                </a:spcBef>
                <a:spcAft>
                  <a:spcPts val="342"/>
                </a:spcAft>
                <a:buSzPct val="100000"/>
                <a:buFont typeface="Arial" pitchFamily="34" charset="0"/>
                <a:buChar char="•"/>
                <a:defRPr/>
              </a:pPr>
              <a:r>
                <a:rPr lang="ru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мпортные пошлины, подпадающие под действие двух вышеуказанных пунктов</a:t>
              </a:r>
              <a:endParaRPr lang="en-GB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A8A06F4-EDC1-4CC3-9433-DDBAAC98CF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7033" y="3139781"/>
              <a:ext cx="4131183" cy="15136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ru" b="1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имулы для привлечения иностранных инвесторов</a:t>
              </a:r>
              <a:endParaRPr lang="en-US" b="1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54738" lvl="1" indent="-154738" defTabSz="851060" eaLnBrk="0" hangingPunct="0">
                <a:spcBef>
                  <a:spcPts val="0"/>
                </a:spcBef>
                <a:spcAft>
                  <a:spcPts val="400"/>
                </a:spcAft>
                <a:buSzPct val="100000"/>
                <a:buFont typeface="Arial" pitchFamily="34" charset="0"/>
                <a:buChar char="•"/>
                <a:defRPr/>
              </a:pPr>
              <a:r>
                <a:rPr lang="ru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здать структуру стимулов для привлечения иностранных инвестиций и поощрения участия в производстве в рамках </a:t>
              </a:r>
              <a:r>
                <a:rPr lang="ru-RU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ЦПК</a:t>
              </a:r>
              <a:r>
                <a:rPr lang="ru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на соответствующей стороне </a:t>
              </a:r>
              <a:r>
                <a:rPr lang="ru-RU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ЦПК</a:t>
              </a:r>
              <a:r>
                <a:rPr lang="ru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marL="154738" lvl="1" indent="-154738" defTabSz="851060" eaLnBrk="0" hangingPunct="0">
                <a:spcBef>
                  <a:spcPts val="0"/>
                </a:spcBef>
                <a:spcAft>
                  <a:spcPts val="400"/>
                </a:spcAft>
                <a:buSzPct val="100000"/>
                <a:buFont typeface="Arial" pitchFamily="34" charset="0"/>
                <a:buChar char="•"/>
                <a:defRPr/>
              </a:pPr>
              <a:r>
                <a:rPr lang="ru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формулировать отраслевые налоговые стимулы и принять меры по упрощению ведения бизнеса (EoDB).</a:t>
              </a:r>
              <a:endParaRPr lang="en-GB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187CCD1-2F31-4ADE-8446-1C1073D7AC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9236" y="4974368"/>
              <a:ext cx="3952811" cy="13238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t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spcAft>
                  <a:spcPts val="600"/>
                </a:spcAft>
              </a:pPr>
              <a:r>
                <a:rPr lang="ru" b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ем иностранной рабочей силы</a:t>
              </a:r>
              <a:endParaRPr lang="en-US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54738" lvl="1" indent="-154738" defTabSz="851060" eaLnBrk="0" hangingPunct="0">
                <a:spcBef>
                  <a:spcPts val="0"/>
                </a:spcBef>
                <a:spcAft>
                  <a:spcPts val="600"/>
                </a:spcAft>
                <a:buSzPct val="100000"/>
                <a:buFont typeface="Arial" pitchFamily="34" charset="0"/>
                <a:buChar char="•"/>
                <a:defRPr/>
              </a:pPr>
              <a:r>
                <a:rPr lang="ru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ложения о легализации найма иностранной рабочей силы в </a:t>
              </a:r>
              <a:r>
                <a:rPr lang="ru-RU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ЦПК</a:t>
              </a:r>
              <a:r>
                <a:rPr lang="ru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в том числе разрешение обмена рабочей силы с казахстанской на узбекскую сторону и наоборот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6793942-6F31-45D0-9E3D-B808257A2D4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913647" y="2670747"/>
              <a:ext cx="1117682" cy="553998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>
                <a:buSzPct val="90000"/>
              </a:pPr>
              <a:r>
                <a:rPr lang="ru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жим машин и оборудования</a:t>
              </a:r>
            </a:p>
          </p:txBody>
        </p:sp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1AB6B992-7EFE-47E7-B708-6DFE940955CF}"/>
              </a:ext>
            </a:extLst>
          </p:cNvPr>
          <p:cNvSpPr/>
          <p:nvPr/>
        </p:nvSpPr>
        <p:spPr>
          <a:xfrm>
            <a:off x="6523617" y="1239006"/>
            <a:ext cx="5419584" cy="53556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ru" sz="1400" b="1" kern="0" dirty="0">
                <a:latin typeface="Arial"/>
                <a:sym typeface="Arial"/>
              </a:rPr>
              <a:t>Другие мягкие интервенции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E8B3C92C-7785-4671-8E85-7D09DB153B7F}"/>
              </a:ext>
            </a:extLst>
          </p:cNvPr>
          <p:cNvSpPr/>
          <p:nvPr/>
        </p:nvSpPr>
        <p:spPr>
          <a:xfrm>
            <a:off x="6703218" y="1818771"/>
            <a:ext cx="273532" cy="199936"/>
          </a:xfrm>
          <a:prstGeom prst="rect">
            <a:avLst/>
          </a:prstGeom>
          <a:solidFill>
            <a:srgbClr val="E0301E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C74B2DD0-9B67-4BA7-9A02-D58D52FB0CE0}"/>
              </a:ext>
            </a:extLst>
          </p:cNvPr>
          <p:cNvSpPr/>
          <p:nvPr/>
        </p:nvSpPr>
        <p:spPr>
          <a:xfrm>
            <a:off x="6690595" y="3323961"/>
            <a:ext cx="273532" cy="199936"/>
          </a:xfrm>
          <a:prstGeom prst="rect">
            <a:avLst/>
          </a:prstGeom>
          <a:solidFill>
            <a:srgbClr val="E0301E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BB4FE80F-7A53-4B48-98D2-BC341C0FDDC1}"/>
              </a:ext>
            </a:extLst>
          </p:cNvPr>
          <p:cNvSpPr/>
          <p:nvPr/>
        </p:nvSpPr>
        <p:spPr>
          <a:xfrm>
            <a:off x="6703214" y="5008265"/>
            <a:ext cx="273532" cy="199936"/>
          </a:xfrm>
          <a:prstGeom prst="rect">
            <a:avLst/>
          </a:prstGeom>
          <a:solidFill>
            <a:srgbClr val="E0301E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8940CD23-3909-4329-A337-14D34C1142EF}"/>
              </a:ext>
            </a:extLst>
          </p:cNvPr>
          <p:cNvCxnSpPr>
            <a:cxnSpLocks/>
          </p:cNvCxnSpPr>
          <p:nvPr/>
        </p:nvCxnSpPr>
        <p:spPr>
          <a:xfrm>
            <a:off x="6839980" y="2018707"/>
            <a:ext cx="0" cy="3189494"/>
          </a:xfrm>
          <a:prstGeom prst="line">
            <a:avLst/>
          </a:prstGeom>
          <a:noFill/>
          <a:ln w="12700" cap="sq" cmpd="sng" algn="ctr">
            <a:solidFill>
              <a:srgbClr val="D04A02">
                <a:shade val="95000"/>
                <a:satMod val="105000"/>
              </a:srgbClr>
            </a:solidFill>
            <a:prstDash val="solid"/>
          </a:ln>
          <a:effectLst/>
        </p:spPr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26EE82EC-6F1F-4240-BFEF-0ACCF209AE5F}"/>
              </a:ext>
            </a:extLst>
          </p:cNvPr>
          <p:cNvGrpSpPr/>
          <p:nvPr/>
        </p:nvGrpSpPr>
        <p:grpSpPr>
          <a:xfrm>
            <a:off x="7091740" y="1827763"/>
            <a:ext cx="4657348" cy="1320252"/>
            <a:chOff x="7286374" y="1827763"/>
            <a:chExt cx="4462714" cy="1320252"/>
          </a:xfrm>
        </p:grpSpPr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8FFFF3EC-3024-4556-AFD2-B893441DFBBF}"/>
                </a:ext>
              </a:extLst>
            </p:cNvPr>
            <p:cNvSpPr/>
            <p:nvPr/>
          </p:nvSpPr>
          <p:spPr>
            <a:xfrm>
              <a:off x="7298997" y="1827763"/>
              <a:ext cx="2540941" cy="18008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ru" sz="1200" b="1" kern="0" dirty="0">
                  <a:latin typeface="Arial"/>
                  <a:sym typeface="Arial"/>
                </a:rPr>
                <a:t>Развитие логистических услуг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D68E1E9F-DC4D-4B0D-B358-1A81319DF5EC}"/>
                </a:ext>
              </a:extLst>
            </p:cNvPr>
            <p:cNvSpPr/>
            <p:nvPr/>
          </p:nvSpPr>
          <p:spPr>
            <a:xfrm>
              <a:off x="7286374" y="2157573"/>
              <a:ext cx="4462714" cy="9904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" sz="1200" dirty="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rPr>
                <a:t>Логистические услуги нуждаются в улучшении, чтобы удовлетворить растущий спрос в обеих странах с инвестициями в </a:t>
              </a:r>
              <a:r>
                <a:rPr lang="ru" sz="1200">
                  <a:solidFill>
                    <a:schemeClr val="tx1"/>
                  </a:solidFill>
                  <a:latin typeface="Arial" panose="020B0604020202020204" pitchFamily="34" charset="0"/>
                  <a:ea typeface="SimSun" panose="02010600030101010101" pitchFamily="2" charset="-122"/>
                </a:rPr>
                <a:t>склады «класса А».</a:t>
              </a:r>
              <a:endParaRPr lang="en-US" sz="1200" dirty="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F45A482E-5325-4CEC-A938-1C87B6E264B3}"/>
              </a:ext>
            </a:extLst>
          </p:cNvPr>
          <p:cNvGrpSpPr/>
          <p:nvPr/>
        </p:nvGrpSpPr>
        <p:grpSpPr>
          <a:xfrm>
            <a:off x="7091739" y="3379243"/>
            <a:ext cx="4746025" cy="1370187"/>
            <a:chOff x="7286373" y="3379243"/>
            <a:chExt cx="4547685" cy="1370187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EF4C357A-B4D8-47D0-A983-0CB72DC650C5}"/>
                </a:ext>
              </a:extLst>
            </p:cNvPr>
            <p:cNvSpPr/>
            <p:nvPr/>
          </p:nvSpPr>
          <p:spPr>
            <a:xfrm>
              <a:off x="7286374" y="3379243"/>
              <a:ext cx="4022286" cy="25886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rPr>
                <a:t>Скоординированное </a:t>
              </a:r>
              <a:r>
                <a:rPr lang="ru" sz="1200" b="1" kern="0" dirty="0">
                  <a:latin typeface="Arial"/>
                  <a:sym typeface="Arial"/>
                </a:rPr>
                <a:t>перемещение </a:t>
              </a: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rPr>
                <a:t>между между СЭЗ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5347C8FC-EB00-49E1-A890-83939A9B89E6}"/>
                </a:ext>
              </a:extLst>
            </p:cNvPr>
            <p:cNvSpPr/>
            <p:nvPr/>
          </p:nvSpPr>
          <p:spPr>
            <a:xfrm>
              <a:off x="7286373" y="3709985"/>
              <a:ext cx="4547685" cy="103944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ондовый статус таких перемещений между зонами повышает привлекательность </a:t>
              </a:r>
              <a:r>
                <a:rPr lang="ru-RU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ЦПК</a:t>
              </a:r>
              <a:r>
                <a:rPr lang="ru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-RU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ЦПК</a:t>
              </a:r>
              <a:r>
                <a:rPr lang="ru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ожет выступать в качестве канала для увеличения стоимости сырья или полуфабрикатов из других СЭЗ с точки зрения сортировки, калибровки, упаковки, а также консолидации и деконсолидации.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9F35C6F-B3A0-405E-85BC-3F90DFFF864B}"/>
              </a:ext>
            </a:extLst>
          </p:cNvPr>
          <p:cNvGrpSpPr/>
          <p:nvPr/>
        </p:nvGrpSpPr>
        <p:grpSpPr>
          <a:xfrm>
            <a:off x="7082037" y="5017257"/>
            <a:ext cx="4657341" cy="1468010"/>
            <a:chOff x="7277077" y="5017257"/>
            <a:chExt cx="4462707" cy="1468010"/>
          </a:xfrm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37B63C20-6969-448D-9C56-A4109E859D14}"/>
                </a:ext>
              </a:extLst>
            </p:cNvPr>
            <p:cNvSpPr/>
            <p:nvPr/>
          </p:nvSpPr>
          <p:spPr>
            <a:xfrm>
              <a:off x="7298993" y="5017257"/>
              <a:ext cx="2756026" cy="18008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ru" sz="1200" b="1" kern="0">
                  <a:latin typeface="Arial"/>
                  <a:sym typeface="Arial"/>
                </a:rPr>
                <a:t>Правила страны происхождения</a:t>
              </a:r>
              <a:endPara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ABDF542D-9139-467C-9CCF-B822F22857E1}"/>
                </a:ext>
              </a:extLst>
            </p:cNvPr>
            <p:cNvSpPr/>
            <p:nvPr/>
          </p:nvSpPr>
          <p:spPr>
            <a:xfrm>
              <a:off x="7277077" y="5204318"/>
              <a:ext cx="4462707" cy="128094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скольку </a:t>
              </a:r>
              <a:r>
                <a:rPr lang="ru-RU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ЦПК</a:t>
              </a:r>
              <a:r>
                <a:rPr lang="ru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имеет трансграничный характер, предлагается обеспечить гармонизацию законов, необходимую для бесперебойного функционирования.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</a:pPr>
              <a:r>
                <a:rPr lang="ru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ак как в Казахстане и Узбекистане действуют разные законы о правилах страны или происхождения, их сложно гармонизировать.</a:t>
              </a:r>
            </a:p>
          </p:txBody>
        </p:sp>
      </p:grp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3DF2BB1-E150-4017-B6C9-ED9490F1E97E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/>
              <a:t>сентябрь 2023</a:t>
            </a:r>
            <a:endParaRPr lang="ru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A3BEDE-764C-43F7-BF80-D8F9D794C96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en-US" smtClean="0"/>
              <a:pPr lvl="0"/>
              <a:t>23</a:t>
            </a:fld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4082244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36000"/>
            <a:lum/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379AA2-ED46-4BD9-A397-5BBD93295767}"/>
              </a:ext>
            </a:extLst>
          </p:cNvPr>
          <p:cNvSpPr/>
          <p:nvPr/>
        </p:nvSpPr>
        <p:spPr>
          <a:xfrm>
            <a:off x="0" y="2150807"/>
            <a:ext cx="7895073" cy="25563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Дальнейшие планы и вопросы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2361006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"/>
              <a:t>Спасибо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" dirty="0"/>
              <a:t>© 2023 ПвК. Все права защищены. Не для дальнейшего распространения без разрешения PwC. «PwC» относится к сети фирм-членов PricewaterhouseCoopers International Limited (PwCIL) или, в зависимости от контекста, к отдельным фирмам-членам сети PwC. Каждая фирма-член является отдельным юридическим лицом и не выступает в качестве агента </a:t>
            </a:r>
            <a:r>
              <a:rPr lang="ru" dirty="0" err="1"/>
              <a:t>PwCIL </a:t>
            </a:r>
            <a:r>
              <a:rPr lang="ru" dirty="0"/>
              <a:t>или какой-либо другой фирмы-члена. </a:t>
            </a:r>
            <a:r>
              <a:rPr lang="ru" dirty="0" err="1"/>
              <a:t>PwCIL </a:t>
            </a:r>
            <a:r>
              <a:rPr lang="ru" dirty="0"/>
              <a:t>не предоставляет никаких услуг клиентам. </a:t>
            </a:r>
            <a:r>
              <a:rPr lang="ru" dirty="0" err="1"/>
              <a:t>PwCIL </a:t>
            </a:r>
            <a:r>
              <a:rPr lang="ru" dirty="0"/>
              <a:t>не несет ответственности за действия или бездействие какой-либо из своих фирм-членов, а также не может контролировать применение их профессиональных суждений или каким-либо образом связывать их. Ни одна фирма-член не несет ответственности за действия или бездействие какой-либо другой фирмы-члена, а также не может контролировать применение профессионального суждения другой фирмы-члена или каким-либо образом связывать другую фирму-член или PwCIL.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9526797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9" name="Google Shape;1999;p2"/>
          <p:cNvSpPr txBox="1">
            <a:spLocks noGrp="1"/>
          </p:cNvSpPr>
          <p:nvPr>
            <p:ph type="title"/>
          </p:nvPr>
        </p:nvSpPr>
        <p:spPr>
          <a:xfrm>
            <a:off x="442912" y="288810"/>
            <a:ext cx="11306175" cy="725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r>
              <a:rPr lang="ru" sz="2400">
                <a:latin typeface="Georgia" panose="02040502050405020303" pitchFamily="18" charset="0"/>
                <a:ea typeface="Arial"/>
                <a:cs typeface="Arial"/>
                <a:sym typeface="Arial"/>
              </a:rPr>
              <a:t>Содержание</a:t>
            </a:r>
            <a:endParaRPr sz="2400">
              <a:latin typeface="Georgia" panose="02040502050405020303" pitchFamily="18" charset="0"/>
              <a:ea typeface="Arial"/>
              <a:cs typeface="Arial"/>
              <a:sym typeface="Arial"/>
            </a:endParaRPr>
          </a:p>
        </p:txBody>
      </p:sp>
      <p:cxnSp>
        <p:nvCxnSpPr>
          <p:cNvPr id="2000" name="Google Shape;2000;p2"/>
          <p:cNvCxnSpPr/>
          <p:nvPr/>
        </p:nvCxnSpPr>
        <p:spPr>
          <a:xfrm>
            <a:off x="442912" y="910809"/>
            <a:ext cx="914400" cy="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554DFF-5EB1-4E1A-B2D1-9EE26BB210C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750"/>
              <a:buFont typeface="Arial"/>
              <a:buNone/>
              <a:tabLst/>
              <a:defRPr/>
            </a:pPr>
            <a:fld id="{00000000-1234-1234-1234-123412341234}" type="slidenum">
              <a:rPr kumimoji="0" lang="en-GB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750"/>
                <a:buFont typeface="Arial"/>
                <a:buNone/>
                <a:tabLst/>
                <a:defRPr/>
              </a:pPr>
              <a:t>3</a:t>
            </a:fld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34" name="Picture 33" descr="An aerial view of a city&#10;&#10;Description automatically generated">
            <a:extLst>
              <a:ext uri="{FF2B5EF4-FFF2-40B4-BE49-F238E27FC236}">
                <a16:creationId xmlns:a16="http://schemas.microsoft.com/office/drawing/2014/main" id="{A3E3963D-E4AD-4506-A974-E82074D6780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80000"/>
          </a:blip>
          <a:stretch>
            <a:fillRect/>
          </a:stretch>
        </p:blipFill>
        <p:spPr>
          <a:xfrm>
            <a:off x="3530787" y="-10200"/>
            <a:ext cx="8661214" cy="68682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F6C036BB-D880-4198-8BAA-0EB7358938F2}"/>
              </a:ext>
            </a:extLst>
          </p:cNvPr>
          <p:cNvGrpSpPr/>
          <p:nvPr/>
        </p:nvGrpSpPr>
        <p:grpSpPr>
          <a:xfrm>
            <a:off x="133108" y="1097880"/>
            <a:ext cx="3397679" cy="5154107"/>
            <a:chOff x="133108" y="1097880"/>
            <a:chExt cx="3397679" cy="439667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007F0CB-36C2-4D38-B5B9-5ABEF3330792}"/>
                </a:ext>
              </a:extLst>
            </p:cNvPr>
            <p:cNvGrpSpPr/>
            <p:nvPr/>
          </p:nvGrpSpPr>
          <p:grpSpPr>
            <a:xfrm>
              <a:off x="133108" y="1097880"/>
              <a:ext cx="3397679" cy="577042"/>
              <a:chOff x="133108" y="1111285"/>
              <a:chExt cx="3397679" cy="805216"/>
            </a:xfrm>
          </p:grpSpPr>
          <p:sp>
            <p:nvSpPr>
              <p:cNvPr id="59" name="Google Shape;1983;p2">
                <a:extLst>
                  <a:ext uri="{FF2B5EF4-FFF2-40B4-BE49-F238E27FC236}">
                    <a16:creationId xmlns:a16="http://schemas.microsoft.com/office/drawing/2014/main" id="{59DF665A-7AE5-488F-A416-CE401B4BB886}"/>
                  </a:ext>
                </a:extLst>
              </p:cNvPr>
              <p:cNvSpPr txBox="1"/>
              <p:nvPr/>
            </p:nvSpPr>
            <p:spPr>
              <a:xfrm>
                <a:off x="133108" y="1111285"/>
                <a:ext cx="627241" cy="5481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>
                  <a:lnSpc>
                    <a:spcPct val="115000"/>
                  </a:lnSpc>
                  <a:spcAft>
                    <a:spcPts val="700"/>
                  </a:spcAft>
                  <a:buClr>
                    <a:srgbClr val="000000"/>
                  </a:buClr>
                  <a:buSzPts val="3600"/>
                  <a:buFont typeface="Arial"/>
                  <a:buNone/>
                  <a:defRPr/>
                </a:pPr>
                <a:r>
                  <a:rPr lang="ru" sz="2800" b="1">
                    <a:solidFill>
                      <a:srgbClr val="C00000"/>
                    </a:solidFill>
                    <a:latin typeface="Arial"/>
                    <a:ea typeface="Arial"/>
                    <a:cs typeface="Arial"/>
                    <a:sym typeface="Arial"/>
                  </a:rPr>
                  <a:t>01</a:t>
                </a:r>
                <a:endParaRPr lang="en-GB" sz="1400">
                  <a:solidFill>
                    <a:srgbClr val="C00000"/>
                  </a:solidFill>
                  <a:latin typeface="Arial"/>
                </a:endParaRPr>
              </a:p>
            </p:txBody>
          </p:sp>
          <p:cxnSp>
            <p:nvCxnSpPr>
              <p:cNvPr id="60" name="Google Shape;1992;p2">
                <a:extLst>
                  <a:ext uri="{FF2B5EF4-FFF2-40B4-BE49-F238E27FC236}">
                    <a16:creationId xmlns:a16="http://schemas.microsoft.com/office/drawing/2014/main" id="{235B3620-9222-4887-B39B-2A4A1DCEC8F0}"/>
                  </a:ext>
                </a:extLst>
              </p:cNvPr>
              <p:cNvCxnSpPr/>
              <p:nvPr/>
            </p:nvCxnSpPr>
            <p:spPr>
              <a:xfrm>
                <a:off x="681859" y="1187860"/>
                <a:ext cx="1479000" cy="0"/>
              </a:xfrm>
              <a:prstGeom prst="straightConnector1">
                <a:avLst/>
              </a:prstGeom>
              <a:noFill/>
              <a:ln w="38100" cap="flat" cmpd="sng">
                <a:solidFill>
                  <a:srgbClr val="E0301E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71" name="Google Shape;1990;p2">
                <a:extLst>
                  <a:ext uri="{FF2B5EF4-FFF2-40B4-BE49-F238E27FC236}">
                    <a16:creationId xmlns:a16="http://schemas.microsoft.com/office/drawing/2014/main" id="{5E08A3F0-2CD2-4E62-9783-0F492F274868}"/>
                  </a:ext>
                </a:extLst>
              </p:cNvPr>
              <p:cNvSpPr txBox="1"/>
              <p:nvPr/>
            </p:nvSpPr>
            <p:spPr>
              <a:xfrm>
                <a:off x="681859" y="1215955"/>
                <a:ext cx="2848928" cy="700546"/>
              </a:xfrm>
              <a:prstGeom prst="rect">
                <a:avLst/>
              </a:prstGeom>
              <a:solidFill>
                <a:srgbClr val="F3F3F3"/>
              </a:solidFill>
              <a:ln>
                <a:noFill/>
              </a:ln>
            </p:spPr>
            <p:txBody>
              <a:bodyPr spcFirstLastPara="1" wrap="square" lIns="64000" tIns="64000" rIns="64000" bIns="27425" anchor="ctr" anchorCtr="0">
                <a:noAutofit/>
              </a:bodyPr>
              <a:lstStyle/>
              <a:p>
                <a:pPr>
                  <a:lnSpc>
                    <a:spcPct val="115000"/>
                  </a:lnSpc>
                  <a:buClr>
                    <a:srgbClr val="000000"/>
                  </a:buClr>
                  <a:buSzPts val="1300"/>
                  <a:defRPr/>
                </a:pPr>
                <a:r>
                  <a:rPr kumimoji="0" lang="ru" sz="14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cs typeface="Arial"/>
                  </a:rPr>
                  <a:t>Предыстория проекта</a:t>
                </a: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BDE04A2-9037-421C-81C0-3D645838F629}"/>
                </a:ext>
              </a:extLst>
            </p:cNvPr>
            <p:cNvGrpSpPr/>
            <p:nvPr/>
          </p:nvGrpSpPr>
          <p:grpSpPr>
            <a:xfrm>
              <a:off x="133108" y="4053515"/>
              <a:ext cx="3397679" cy="655936"/>
              <a:chOff x="133108" y="2866331"/>
              <a:chExt cx="3397679" cy="661326"/>
            </a:xfrm>
          </p:grpSpPr>
          <p:sp>
            <p:nvSpPr>
              <p:cNvPr id="63" name="Google Shape;1983;p2">
                <a:extLst>
                  <a:ext uri="{FF2B5EF4-FFF2-40B4-BE49-F238E27FC236}">
                    <a16:creationId xmlns:a16="http://schemas.microsoft.com/office/drawing/2014/main" id="{1BC2F12E-9D35-417C-ACE9-A3E2AA4C4702}"/>
                  </a:ext>
                </a:extLst>
              </p:cNvPr>
              <p:cNvSpPr txBox="1"/>
              <p:nvPr/>
            </p:nvSpPr>
            <p:spPr>
              <a:xfrm>
                <a:off x="133108" y="2866331"/>
                <a:ext cx="627241" cy="5481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>
                  <a:lnSpc>
                    <a:spcPct val="115000"/>
                  </a:lnSpc>
                  <a:spcAft>
                    <a:spcPts val="700"/>
                  </a:spcAft>
                  <a:buClr>
                    <a:srgbClr val="000000"/>
                  </a:buClr>
                  <a:buSzPts val="3600"/>
                  <a:buFont typeface="Arial"/>
                  <a:buNone/>
                  <a:defRPr/>
                </a:pPr>
                <a:r>
                  <a:rPr lang="ru" sz="2800" b="1">
                    <a:solidFill>
                      <a:srgbClr val="C00000"/>
                    </a:solidFill>
                    <a:latin typeface="Arial"/>
                    <a:ea typeface="Arial"/>
                    <a:cs typeface="Arial"/>
                    <a:sym typeface="Arial"/>
                  </a:rPr>
                  <a:t>05</a:t>
                </a:r>
                <a:endParaRPr lang="en-GB" sz="1400">
                  <a:solidFill>
                    <a:srgbClr val="C00000"/>
                  </a:solidFill>
                  <a:latin typeface="Arial"/>
                </a:endParaRPr>
              </a:p>
            </p:txBody>
          </p:sp>
          <p:cxnSp>
            <p:nvCxnSpPr>
              <p:cNvPr id="64" name="Google Shape;1992;p2">
                <a:extLst>
                  <a:ext uri="{FF2B5EF4-FFF2-40B4-BE49-F238E27FC236}">
                    <a16:creationId xmlns:a16="http://schemas.microsoft.com/office/drawing/2014/main" id="{2CE02D53-C271-493F-ABAB-298BCA4AD295}"/>
                  </a:ext>
                </a:extLst>
              </p:cNvPr>
              <p:cNvCxnSpPr/>
              <p:nvPr/>
            </p:nvCxnSpPr>
            <p:spPr>
              <a:xfrm>
                <a:off x="681859" y="2950213"/>
                <a:ext cx="1479000" cy="0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04A0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73" name="Google Shape;1990;p2">
                <a:extLst>
                  <a:ext uri="{FF2B5EF4-FFF2-40B4-BE49-F238E27FC236}">
                    <a16:creationId xmlns:a16="http://schemas.microsoft.com/office/drawing/2014/main" id="{387A40F4-096E-4D27-AB75-BEC21287E1FC}"/>
                  </a:ext>
                </a:extLst>
              </p:cNvPr>
              <p:cNvSpPr txBox="1"/>
              <p:nvPr/>
            </p:nvSpPr>
            <p:spPr>
              <a:xfrm>
                <a:off x="681859" y="2979558"/>
                <a:ext cx="2848928" cy="548099"/>
              </a:xfrm>
              <a:prstGeom prst="rect">
                <a:avLst/>
              </a:prstGeom>
              <a:solidFill>
                <a:srgbClr val="F3F3F3"/>
              </a:solidFill>
              <a:ln>
                <a:noFill/>
              </a:ln>
            </p:spPr>
            <p:txBody>
              <a:bodyPr spcFirstLastPara="1" wrap="square" lIns="64000" tIns="64000" rIns="64000" bIns="27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300"/>
                  <a:buFont typeface="Arial"/>
                  <a:buNone/>
                  <a:tabLst/>
                  <a:defRPr/>
                </a:pPr>
                <a:r>
                  <a:rPr kumimoji="0" lang="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Внешние факторы</a:t>
                </a: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96DF198-875A-496F-8353-8617FD1BB1CB}"/>
                </a:ext>
              </a:extLst>
            </p:cNvPr>
            <p:cNvGrpSpPr/>
            <p:nvPr/>
          </p:nvGrpSpPr>
          <p:grpSpPr>
            <a:xfrm>
              <a:off x="133108" y="4829622"/>
              <a:ext cx="3397679" cy="664931"/>
              <a:chOff x="133108" y="5969620"/>
              <a:chExt cx="3397679" cy="670395"/>
            </a:xfrm>
          </p:grpSpPr>
          <p:sp>
            <p:nvSpPr>
              <p:cNvPr id="36" name="Google Shape;1983;p2">
                <a:extLst>
                  <a:ext uri="{FF2B5EF4-FFF2-40B4-BE49-F238E27FC236}">
                    <a16:creationId xmlns:a16="http://schemas.microsoft.com/office/drawing/2014/main" id="{C8448E31-E8C0-47F4-A8DB-88452CF6645E}"/>
                  </a:ext>
                </a:extLst>
              </p:cNvPr>
              <p:cNvSpPr txBox="1"/>
              <p:nvPr/>
            </p:nvSpPr>
            <p:spPr>
              <a:xfrm>
                <a:off x="133108" y="5969620"/>
                <a:ext cx="627241" cy="5481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>
                  <a:lnSpc>
                    <a:spcPct val="115000"/>
                  </a:lnSpc>
                  <a:spcAft>
                    <a:spcPts val="700"/>
                  </a:spcAft>
                  <a:buClr>
                    <a:srgbClr val="000000"/>
                  </a:buClr>
                  <a:buSzPts val="3600"/>
                  <a:buFont typeface="Arial"/>
                  <a:buNone/>
                  <a:defRPr/>
                </a:pPr>
                <a:r>
                  <a:rPr lang="ru" sz="2800" b="1">
                    <a:solidFill>
                      <a:srgbClr val="C00000"/>
                    </a:solidFill>
                    <a:latin typeface="Arial"/>
                    <a:ea typeface="Arial"/>
                    <a:cs typeface="Arial"/>
                    <a:sym typeface="Arial"/>
                  </a:rPr>
                  <a:t>06</a:t>
                </a:r>
                <a:endParaRPr lang="en-GB" sz="1400">
                  <a:solidFill>
                    <a:srgbClr val="C00000"/>
                  </a:solidFill>
                  <a:latin typeface="Arial"/>
                </a:endParaRPr>
              </a:p>
            </p:txBody>
          </p:sp>
          <p:cxnSp>
            <p:nvCxnSpPr>
              <p:cNvPr id="37" name="Google Shape;1992;p2">
                <a:extLst>
                  <a:ext uri="{FF2B5EF4-FFF2-40B4-BE49-F238E27FC236}">
                    <a16:creationId xmlns:a16="http://schemas.microsoft.com/office/drawing/2014/main" id="{9DE99DDF-5B63-4B1E-B0E1-A4AC78DF0A0B}"/>
                  </a:ext>
                </a:extLst>
              </p:cNvPr>
              <p:cNvCxnSpPr/>
              <p:nvPr/>
            </p:nvCxnSpPr>
            <p:spPr>
              <a:xfrm>
                <a:off x="681859" y="6091915"/>
                <a:ext cx="1479000" cy="0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04A0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38" name="Google Shape;1990;p2">
                <a:extLst>
                  <a:ext uri="{FF2B5EF4-FFF2-40B4-BE49-F238E27FC236}">
                    <a16:creationId xmlns:a16="http://schemas.microsoft.com/office/drawing/2014/main" id="{EC0C8A2B-23B8-411E-9435-6C49090456EE}"/>
                  </a:ext>
                </a:extLst>
              </p:cNvPr>
              <p:cNvSpPr txBox="1"/>
              <p:nvPr/>
            </p:nvSpPr>
            <p:spPr>
              <a:xfrm>
                <a:off x="681859" y="6114987"/>
                <a:ext cx="2848928" cy="525028"/>
              </a:xfrm>
              <a:prstGeom prst="rect">
                <a:avLst/>
              </a:prstGeom>
              <a:solidFill>
                <a:srgbClr val="F3F3F3"/>
              </a:solidFill>
              <a:ln>
                <a:noFill/>
              </a:ln>
            </p:spPr>
            <p:txBody>
              <a:bodyPr spcFirstLastPara="1" wrap="square" lIns="64000" tIns="64000" rIns="64000" bIns="27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300"/>
                  <a:buFont typeface="Arial"/>
                  <a:buNone/>
                  <a:tabLst/>
                  <a:defRPr/>
                </a:pPr>
                <a:r>
                  <a: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Дальнейшие планы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4E044DF-E899-4D81-8502-559B68CC3233}"/>
                </a:ext>
              </a:extLst>
            </p:cNvPr>
            <p:cNvGrpSpPr/>
            <p:nvPr/>
          </p:nvGrpSpPr>
          <p:grpSpPr>
            <a:xfrm>
              <a:off x="133108" y="1795093"/>
              <a:ext cx="3397679" cy="577042"/>
              <a:chOff x="133108" y="1111285"/>
              <a:chExt cx="3397679" cy="805216"/>
            </a:xfrm>
          </p:grpSpPr>
          <p:sp>
            <p:nvSpPr>
              <p:cNvPr id="24" name="Google Shape;1983;p2">
                <a:extLst>
                  <a:ext uri="{FF2B5EF4-FFF2-40B4-BE49-F238E27FC236}">
                    <a16:creationId xmlns:a16="http://schemas.microsoft.com/office/drawing/2014/main" id="{AD9E6F64-DBBB-4814-B34F-B6F173E9ED67}"/>
                  </a:ext>
                </a:extLst>
              </p:cNvPr>
              <p:cNvSpPr txBox="1"/>
              <p:nvPr/>
            </p:nvSpPr>
            <p:spPr>
              <a:xfrm>
                <a:off x="133108" y="1111285"/>
                <a:ext cx="627241" cy="5481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>
                  <a:lnSpc>
                    <a:spcPct val="115000"/>
                  </a:lnSpc>
                  <a:spcAft>
                    <a:spcPts val="700"/>
                  </a:spcAft>
                  <a:buClr>
                    <a:srgbClr val="000000"/>
                  </a:buClr>
                  <a:buSzPts val="3600"/>
                  <a:buFont typeface="Arial"/>
                  <a:buNone/>
                  <a:defRPr/>
                </a:pPr>
                <a:r>
                  <a:rPr lang="ru" sz="2800" b="1">
                    <a:solidFill>
                      <a:srgbClr val="C00000"/>
                    </a:solidFill>
                    <a:latin typeface="Arial"/>
                    <a:ea typeface="Arial"/>
                    <a:cs typeface="Arial"/>
                    <a:sym typeface="Arial"/>
                  </a:rPr>
                  <a:t>02</a:t>
                </a:r>
                <a:endParaRPr lang="en-GB" sz="1400">
                  <a:solidFill>
                    <a:srgbClr val="C00000"/>
                  </a:solidFill>
                  <a:latin typeface="Arial"/>
                </a:endParaRPr>
              </a:p>
            </p:txBody>
          </p:sp>
          <p:cxnSp>
            <p:nvCxnSpPr>
              <p:cNvPr id="25" name="Google Shape;1992;p2">
                <a:extLst>
                  <a:ext uri="{FF2B5EF4-FFF2-40B4-BE49-F238E27FC236}">
                    <a16:creationId xmlns:a16="http://schemas.microsoft.com/office/drawing/2014/main" id="{59679C57-ABDC-4A95-B823-71D00FE72C30}"/>
                  </a:ext>
                </a:extLst>
              </p:cNvPr>
              <p:cNvCxnSpPr/>
              <p:nvPr/>
            </p:nvCxnSpPr>
            <p:spPr>
              <a:xfrm>
                <a:off x="681859" y="1187860"/>
                <a:ext cx="1479000" cy="0"/>
              </a:xfrm>
              <a:prstGeom prst="straightConnector1">
                <a:avLst/>
              </a:prstGeom>
              <a:noFill/>
              <a:ln w="38100" cap="flat" cmpd="sng">
                <a:solidFill>
                  <a:srgbClr val="E0301E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26" name="Google Shape;1990;p2">
                <a:extLst>
                  <a:ext uri="{FF2B5EF4-FFF2-40B4-BE49-F238E27FC236}">
                    <a16:creationId xmlns:a16="http://schemas.microsoft.com/office/drawing/2014/main" id="{E90608CF-2B67-4E7F-9B70-F539F438F144}"/>
                  </a:ext>
                </a:extLst>
              </p:cNvPr>
              <p:cNvSpPr txBox="1"/>
              <p:nvPr/>
            </p:nvSpPr>
            <p:spPr>
              <a:xfrm>
                <a:off x="681859" y="1215955"/>
                <a:ext cx="2848928" cy="700546"/>
              </a:xfrm>
              <a:prstGeom prst="rect">
                <a:avLst/>
              </a:prstGeom>
              <a:solidFill>
                <a:srgbClr val="F3F3F3"/>
              </a:solidFill>
              <a:ln>
                <a:noFill/>
              </a:ln>
            </p:spPr>
            <p:txBody>
              <a:bodyPr spcFirstLastPara="1" wrap="square" lIns="64000" tIns="64000" rIns="64000" bIns="27425" anchor="ctr" anchorCtr="0">
                <a:noAutofit/>
              </a:bodyPr>
              <a:lstStyle/>
              <a:p>
                <a:pPr>
                  <a:lnSpc>
                    <a:spcPct val="115000"/>
                  </a:lnSpc>
                  <a:buClr>
                    <a:srgbClr val="000000"/>
                  </a:buClr>
                  <a:buSzPts val="1300"/>
                  <a:defRPr/>
                </a:pPr>
                <a:r>
                  <a:rPr kumimoji="0" lang="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Обоснование и контекст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A92F29-5B62-4A79-8202-F6026EA59114}"/>
                </a:ext>
              </a:extLst>
            </p:cNvPr>
            <p:cNvGrpSpPr/>
            <p:nvPr/>
          </p:nvGrpSpPr>
          <p:grpSpPr>
            <a:xfrm>
              <a:off x="133108" y="3277408"/>
              <a:ext cx="3397679" cy="655936"/>
              <a:chOff x="133108" y="2866331"/>
              <a:chExt cx="3397679" cy="661326"/>
            </a:xfrm>
          </p:grpSpPr>
          <p:sp>
            <p:nvSpPr>
              <p:cNvPr id="28" name="Google Shape;1983;p2">
                <a:extLst>
                  <a:ext uri="{FF2B5EF4-FFF2-40B4-BE49-F238E27FC236}">
                    <a16:creationId xmlns:a16="http://schemas.microsoft.com/office/drawing/2014/main" id="{1D831428-A5A2-4868-AD6C-8EDC3DB9ABBA}"/>
                  </a:ext>
                </a:extLst>
              </p:cNvPr>
              <p:cNvSpPr txBox="1"/>
              <p:nvPr/>
            </p:nvSpPr>
            <p:spPr>
              <a:xfrm>
                <a:off x="133108" y="2866331"/>
                <a:ext cx="627241" cy="5481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>
                  <a:lnSpc>
                    <a:spcPct val="115000"/>
                  </a:lnSpc>
                  <a:spcAft>
                    <a:spcPts val="700"/>
                  </a:spcAft>
                  <a:buClr>
                    <a:srgbClr val="000000"/>
                  </a:buClr>
                  <a:buSzPts val="3600"/>
                  <a:buFont typeface="Arial"/>
                  <a:buNone/>
                  <a:defRPr/>
                </a:pPr>
                <a:r>
                  <a:rPr lang="ru" sz="2800" b="1">
                    <a:solidFill>
                      <a:srgbClr val="C00000"/>
                    </a:solidFill>
                    <a:latin typeface="Arial"/>
                    <a:ea typeface="Arial"/>
                    <a:cs typeface="Arial"/>
                    <a:sym typeface="Arial"/>
                  </a:rPr>
                  <a:t>04</a:t>
                </a:r>
                <a:endParaRPr lang="en-GB" sz="1400">
                  <a:solidFill>
                    <a:srgbClr val="C00000"/>
                  </a:solidFill>
                  <a:latin typeface="Arial"/>
                </a:endParaRPr>
              </a:p>
            </p:txBody>
          </p:sp>
          <p:cxnSp>
            <p:nvCxnSpPr>
              <p:cNvPr id="29" name="Google Shape;1992;p2">
                <a:extLst>
                  <a:ext uri="{FF2B5EF4-FFF2-40B4-BE49-F238E27FC236}">
                    <a16:creationId xmlns:a16="http://schemas.microsoft.com/office/drawing/2014/main" id="{023D92AE-43AB-46E9-94F6-DE4575D31069}"/>
                  </a:ext>
                </a:extLst>
              </p:cNvPr>
              <p:cNvCxnSpPr/>
              <p:nvPr/>
            </p:nvCxnSpPr>
            <p:spPr>
              <a:xfrm>
                <a:off x="681859" y="2950213"/>
                <a:ext cx="1479000" cy="0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04A0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30" name="Google Shape;1990;p2">
                <a:extLst>
                  <a:ext uri="{FF2B5EF4-FFF2-40B4-BE49-F238E27FC236}">
                    <a16:creationId xmlns:a16="http://schemas.microsoft.com/office/drawing/2014/main" id="{C9AB18D2-031E-4451-8CDB-5C35ABCCBF57}"/>
                  </a:ext>
                </a:extLst>
              </p:cNvPr>
              <p:cNvSpPr txBox="1"/>
              <p:nvPr/>
            </p:nvSpPr>
            <p:spPr>
              <a:xfrm>
                <a:off x="681859" y="2979558"/>
                <a:ext cx="2848928" cy="548099"/>
              </a:xfrm>
              <a:prstGeom prst="rect">
                <a:avLst/>
              </a:prstGeom>
              <a:solidFill>
                <a:srgbClr val="F3F3F3"/>
              </a:solidFill>
              <a:ln>
                <a:noFill/>
              </a:ln>
            </p:spPr>
            <p:txBody>
              <a:bodyPr spcFirstLastPara="1" wrap="square" lIns="64000" tIns="64000" rIns="64000" bIns="27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15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300"/>
                  <a:buFont typeface="Arial"/>
                  <a:buNone/>
                  <a:tabLst/>
                  <a:defRPr/>
                </a:pPr>
                <a:r>
                  <a:rPr kumimoji="0" lang="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Финансовый анализ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8FBF1041-8EC3-41F0-A410-4CC2A2953C26}"/>
                </a:ext>
              </a:extLst>
            </p:cNvPr>
            <p:cNvGrpSpPr/>
            <p:nvPr/>
          </p:nvGrpSpPr>
          <p:grpSpPr>
            <a:xfrm>
              <a:off x="133108" y="2492306"/>
              <a:ext cx="3397679" cy="664931"/>
              <a:chOff x="133108" y="5969620"/>
              <a:chExt cx="3397679" cy="670395"/>
            </a:xfrm>
          </p:grpSpPr>
          <p:sp>
            <p:nvSpPr>
              <p:cNvPr id="32" name="Google Shape;1983;p2">
                <a:extLst>
                  <a:ext uri="{FF2B5EF4-FFF2-40B4-BE49-F238E27FC236}">
                    <a16:creationId xmlns:a16="http://schemas.microsoft.com/office/drawing/2014/main" id="{1493F8F7-C6C2-4BE2-9F62-1369087FCC70}"/>
                  </a:ext>
                </a:extLst>
              </p:cNvPr>
              <p:cNvSpPr txBox="1"/>
              <p:nvPr/>
            </p:nvSpPr>
            <p:spPr>
              <a:xfrm>
                <a:off x="133108" y="5969620"/>
                <a:ext cx="627241" cy="5481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>
                  <a:lnSpc>
                    <a:spcPct val="115000"/>
                  </a:lnSpc>
                  <a:spcAft>
                    <a:spcPts val="700"/>
                  </a:spcAft>
                  <a:buClr>
                    <a:srgbClr val="000000"/>
                  </a:buClr>
                  <a:buSzPts val="3600"/>
                  <a:buFont typeface="Arial"/>
                  <a:buNone/>
                  <a:defRPr/>
                </a:pPr>
                <a:r>
                  <a:rPr lang="ru" sz="2800" b="1">
                    <a:solidFill>
                      <a:srgbClr val="C00000"/>
                    </a:solidFill>
                    <a:latin typeface="Arial"/>
                    <a:cs typeface="Arial"/>
                    <a:sym typeface="Arial"/>
                  </a:rPr>
                  <a:t>03</a:t>
                </a:r>
                <a:endParaRPr lang="en-GB" sz="1400">
                  <a:solidFill>
                    <a:srgbClr val="C00000"/>
                  </a:solidFill>
                  <a:latin typeface="Arial"/>
                </a:endParaRPr>
              </a:p>
            </p:txBody>
          </p:sp>
          <p:cxnSp>
            <p:nvCxnSpPr>
              <p:cNvPr id="33" name="Google Shape;1992;p2">
                <a:extLst>
                  <a:ext uri="{FF2B5EF4-FFF2-40B4-BE49-F238E27FC236}">
                    <a16:creationId xmlns:a16="http://schemas.microsoft.com/office/drawing/2014/main" id="{B4AD3FF5-40A4-4D12-B3D6-0328D70B404D}"/>
                  </a:ext>
                </a:extLst>
              </p:cNvPr>
              <p:cNvCxnSpPr/>
              <p:nvPr/>
            </p:nvCxnSpPr>
            <p:spPr>
              <a:xfrm>
                <a:off x="681859" y="6091915"/>
                <a:ext cx="1479000" cy="0"/>
              </a:xfrm>
              <a:prstGeom prst="straightConnector1">
                <a:avLst/>
              </a:prstGeom>
              <a:noFill/>
              <a:ln w="38100" cap="flat" cmpd="sng">
                <a:solidFill>
                  <a:srgbClr val="D04A0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sp>
            <p:nvSpPr>
              <p:cNvPr id="39" name="Google Shape;1990;p2">
                <a:extLst>
                  <a:ext uri="{FF2B5EF4-FFF2-40B4-BE49-F238E27FC236}">
                    <a16:creationId xmlns:a16="http://schemas.microsoft.com/office/drawing/2014/main" id="{C191A723-D20E-431A-B531-EA05667C76ED}"/>
                  </a:ext>
                </a:extLst>
              </p:cNvPr>
              <p:cNvSpPr txBox="1"/>
              <p:nvPr/>
            </p:nvSpPr>
            <p:spPr>
              <a:xfrm>
                <a:off x="681859" y="6114987"/>
                <a:ext cx="2848928" cy="525028"/>
              </a:xfrm>
              <a:prstGeom prst="rect">
                <a:avLst/>
              </a:prstGeom>
              <a:solidFill>
                <a:srgbClr val="F3F3F3"/>
              </a:solidFill>
              <a:ln>
                <a:noFill/>
              </a:ln>
            </p:spPr>
            <p:txBody>
              <a:bodyPr spcFirstLastPara="1" wrap="square" lIns="64000" tIns="64000" rIns="64000" bIns="27425" anchor="ctr" anchorCtr="0">
                <a:noAutofit/>
              </a:bodyPr>
              <a:lstStyle/>
              <a:p>
                <a:pPr>
                  <a:lnSpc>
                    <a:spcPct val="115000"/>
                  </a:lnSpc>
                  <a:buClr>
                    <a:srgbClr val="000000"/>
                  </a:buClr>
                  <a:buSzPts val="1300"/>
                  <a:defRPr/>
                </a:pPr>
                <a:r>
                  <a:rPr kumimoji="0" lang="ru" sz="14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/>
                    <a:cs typeface="Arial"/>
                  </a:rPr>
                  <a:t>Концептуальный план МЦПК</a:t>
                </a:r>
              </a:p>
            </p:txBody>
          </p:sp>
        </p:grpSp>
      </p:grpSp>
      <p:sp>
        <p:nvSpPr>
          <p:cNvPr id="45" name="Footer Placeholder 11">
            <a:extLst>
              <a:ext uri="{FF2B5EF4-FFF2-40B4-BE49-F238E27FC236}">
                <a16:creationId xmlns:a16="http://schemas.microsoft.com/office/drawing/2014/main" id="{D5E925AA-BA22-4D3A-9849-916700403446}"/>
              </a:ext>
            </a:extLst>
          </p:cNvPr>
          <p:cNvSpPr txBox="1">
            <a:spLocks/>
          </p:cNvSpPr>
          <p:nvPr/>
        </p:nvSpPr>
        <p:spPr>
          <a:xfrm>
            <a:off x="442804" y="6486413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" dirty="0"/>
              <a:t>Предварительное технико-экономическое обоснование создания МЦПК при ЭКШТХ</a:t>
            </a:r>
          </a:p>
          <a:p>
            <a:pPr algn="l"/>
            <a:endParaRPr lang="ru" dirty="0">
              <a:solidFill>
                <a:srgbClr val="000000"/>
              </a:solidFill>
              <a:latin typeface="Arial"/>
            </a:endParaRPr>
          </a:p>
        </p:txBody>
      </p:sp>
    </p:spTree>
    <p:custDataLst>
      <p:custData r:id="rId1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36000"/>
            <a:lum/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379AA2-ED46-4BD9-A397-5BBD93295767}"/>
              </a:ext>
            </a:extLst>
          </p:cNvPr>
          <p:cNvSpPr/>
          <p:nvPr/>
        </p:nvSpPr>
        <p:spPr>
          <a:xfrm>
            <a:off x="0" y="2150807"/>
            <a:ext cx="7895073" cy="25563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ru" sz="3200" dirty="0">
                <a:latin typeface="Georgia"/>
              </a:rPr>
              <a:t>Предыстория проекта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23040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095B41-810A-40B0-8ED6-F81B04F66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6742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2" imgH="532" progId="TCLayout.ActiveDocument.1">
                  <p:embed/>
                </p:oleObj>
              </mc:Choice>
              <mc:Fallback>
                <p:oleObj name="think-cell Slide" r:id="rId5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095B41-810A-40B0-8ED6-F81B04F66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2"/>
          <p:cNvSpPr txBox="1">
            <a:spLocks noGrp="1"/>
          </p:cNvSpPr>
          <p:nvPr>
            <p:ph type="title"/>
          </p:nvPr>
        </p:nvSpPr>
        <p:spPr>
          <a:xfrm>
            <a:off x="442914" y="345559"/>
            <a:ext cx="11306175" cy="369332"/>
          </a:xfrm>
        </p:spPr>
        <p:txBody>
          <a:bodyPr anchor="ctr" anchorCtr="0">
            <a:normAutofit/>
          </a:bodyPr>
          <a:lstStyle/>
          <a:p>
            <a:r>
              <a:rPr lang="ru" sz="2400" b="0" dirty="0">
                <a:latin typeface="Georgia" panose="02040502050405020303" pitchFamily="18" charset="0"/>
              </a:rPr>
              <a:t>Информация о предыстории проекта и ходе его реализации</a:t>
            </a:r>
          </a:p>
        </p:txBody>
      </p: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3CA9C314-840F-4E89-A0C2-A667B2E3CA04}"/>
              </a:ext>
            </a:extLst>
          </p:cNvPr>
          <p:cNvGrpSpPr/>
          <p:nvPr/>
        </p:nvGrpSpPr>
        <p:grpSpPr>
          <a:xfrm>
            <a:off x="303657" y="1179010"/>
            <a:ext cx="11771189" cy="5066340"/>
            <a:chOff x="303657" y="1129850"/>
            <a:chExt cx="11771189" cy="5066340"/>
          </a:xfrm>
        </p:grpSpPr>
        <p:sp>
          <p:nvSpPr>
            <p:cNvPr id="207" name="Google Shape;2022;g1389d6804d3_10_0">
              <a:extLst>
                <a:ext uri="{FF2B5EF4-FFF2-40B4-BE49-F238E27FC236}">
                  <a16:creationId xmlns:a16="http://schemas.microsoft.com/office/drawing/2014/main" id="{589A1D22-6746-4A41-BB35-E2F31661D4FB}"/>
                </a:ext>
              </a:extLst>
            </p:cNvPr>
            <p:cNvSpPr/>
            <p:nvPr/>
          </p:nvSpPr>
          <p:spPr>
            <a:xfrm>
              <a:off x="384887" y="2711878"/>
              <a:ext cx="2204700" cy="424200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spcFirstLastPara="1" wrap="square" lIns="457200" tIns="0" rIns="0" bIns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567"/>
                <a:buFont typeface="Helvetica Neue"/>
                <a:buNone/>
                <a:tabLst/>
                <a:defRPr/>
              </a:pPr>
              <a:r>
                <a:rPr kumimoji="0" lang="ru" sz="15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 Neue"/>
                  <a:ea typeface="Helvetica Neue"/>
                  <a:cs typeface="Helvetica Neue"/>
                  <a:sym typeface="Helvetica Neue"/>
                </a:rPr>
                <a:t>август 2020 г.</a:t>
              </a: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8" name="Google Shape;2023;g1389d6804d3_10_0">
              <a:extLst>
                <a:ext uri="{FF2B5EF4-FFF2-40B4-BE49-F238E27FC236}">
                  <a16:creationId xmlns:a16="http://schemas.microsoft.com/office/drawing/2014/main" id="{EAB2EF71-B9D1-42CD-8F29-8636AF16E0AD}"/>
                </a:ext>
              </a:extLst>
            </p:cNvPr>
            <p:cNvSpPr/>
            <p:nvPr/>
          </p:nvSpPr>
          <p:spPr>
            <a:xfrm>
              <a:off x="432547" y="2766443"/>
              <a:ext cx="306300" cy="3108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9" name="Google Shape;2024;g1389d6804d3_10_0">
              <a:extLst>
                <a:ext uri="{FF2B5EF4-FFF2-40B4-BE49-F238E27FC236}">
                  <a16:creationId xmlns:a16="http://schemas.microsoft.com/office/drawing/2014/main" id="{D005010C-DFAE-4E95-B45D-06F570C5885A}"/>
                </a:ext>
              </a:extLst>
            </p:cNvPr>
            <p:cNvSpPr/>
            <p:nvPr/>
          </p:nvSpPr>
          <p:spPr>
            <a:xfrm>
              <a:off x="1617636" y="4619338"/>
              <a:ext cx="2204700" cy="424200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457200" tIns="0" rIns="0" bIns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567"/>
                <a:buFont typeface="Helvetica Neue"/>
                <a:buNone/>
                <a:tabLst/>
                <a:defRPr/>
              </a:pPr>
              <a:r>
                <a:rPr kumimoji="0" lang="ru" sz="15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 Neue"/>
                  <a:ea typeface="Helvetica Neue"/>
                  <a:cs typeface="Helvetica Neue"/>
                  <a:sym typeface="Helvetica Neue"/>
                </a:rPr>
                <a:t>ноябрь 2021 г.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0" name="Google Shape;2025;g1389d6804d3_10_0">
              <a:extLst>
                <a:ext uri="{FF2B5EF4-FFF2-40B4-BE49-F238E27FC236}">
                  <a16:creationId xmlns:a16="http://schemas.microsoft.com/office/drawing/2014/main" id="{FBF17E72-169B-48F2-9392-AF740B2C60AD}"/>
                </a:ext>
              </a:extLst>
            </p:cNvPr>
            <p:cNvSpPr/>
            <p:nvPr/>
          </p:nvSpPr>
          <p:spPr>
            <a:xfrm>
              <a:off x="1653276" y="4674207"/>
              <a:ext cx="306300" cy="3108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1" name="Google Shape;2026;g1389d6804d3_10_0">
              <a:extLst>
                <a:ext uri="{FF2B5EF4-FFF2-40B4-BE49-F238E27FC236}">
                  <a16:creationId xmlns:a16="http://schemas.microsoft.com/office/drawing/2014/main" id="{6D084E62-C19D-4C04-A9FD-9D224F92D21E}"/>
                </a:ext>
              </a:extLst>
            </p:cNvPr>
            <p:cNvSpPr/>
            <p:nvPr/>
          </p:nvSpPr>
          <p:spPr>
            <a:xfrm>
              <a:off x="2585838" y="1780061"/>
              <a:ext cx="2204700" cy="424200"/>
            </a:xfrm>
            <a:prstGeom prst="roundRect">
              <a:avLst>
                <a:gd name="adj" fmla="val 50000"/>
              </a:avLst>
            </a:prstGeom>
            <a:solidFill>
              <a:srgbClr val="FFB600"/>
            </a:solidFill>
            <a:ln>
              <a:noFill/>
            </a:ln>
          </p:spPr>
          <p:txBody>
            <a:bodyPr spcFirstLastPara="1" wrap="square" lIns="457200" tIns="0" rIns="0" bIns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567"/>
                <a:buFont typeface="Helvetica Neue"/>
                <a:buNone/>
                <a:tabLst/>
                <a:defRPr/>
              </a:pPr>
              <a:r>
                <a:rPr kumimoji="0" lang="ru" sz="15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 Neue"/>
                  <a:ea typeface="Helvetica Neue"/>
                  <a:cs typeface="Helvetica Neue"/>
                  <a:sym typeface="Helvetica Neue"/>
                </a:rPr>
                <a:t>декабрь 2021 г.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2" name="Google Shape;2027;g1389d6804d3_10_0">
              <a:extLst>
                <a:ext uri="{FF2B5EF4-FFF2-40B4-BE49-F238E27FC236}">
                  <a16:creationId xmlns:a16="http://schemas.microsoft.com/office/drawing/2014/main" id="{4E2E8253-8544-4417-B85B-73491559BA1B}"/>
                </a:ext>
              </a:extLst>
            </p:cNvPr>
            <p:cNvSpPr/>
            <p:nvPr/>
          </p:nvSpPr>
          <p:spPr>
            <a:xfrm>
              <a:off x="2633781" y="1831586"/>
              <a:ext cx="306300" cy="3108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3" name="Google Shape;2028;g1389d6804d3_10_0">
              <a:extLst>
                <a:ext uri="{FF2B5EF4-FFF2-40B4-BE49-F238E27FC236}">
                  <a16:creationId xmlns:a16="http://schemas.microsoft.com/office/drawing/2014/main" id="{0FACC683-534C-4A8F-8F61-8D8DB6E27AED}"/>
                </a:ext>
              </a:extLst>
            </p:cNvPr>
            <p:cNvSpPr/>
            <p:nvPr/>
          </p:nvSpPr>
          <p:spPr>
            <a:xfrm>
              <a:off x="3869191" y="5771990"/>
              <a:ext cx="2204700" cy="424200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spcFirstLastPara="1" wrap="square" lIns="457200" tIns="0" rIns="0" bIns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567"/>
                <a:buFont typeface="Helvetica Neue"/>
                <a:buNone/>
                <a:tabLst/>
                <a:defRPr/>
              </a:pPr>
              <a:r>
                <a:rPr kumimoji="0" lang="ru" sz="15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 Neue"/>
                  <a:ea typeface="Helvetica Neue"/>
                  <a:cs typeface="Helvetica Neue"/>
                  <a:sym typeface="Helvetica Neue"/>
                </a:rPr>
                <a:t>февраль 2022 г.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4" name="Google Shape;2029;g1389d6804d3_10_0">
              <a:extLst>
                <a:ext uri="{FF2B5EF4-FFF2-40B4-BE49-F238E27FC236}">
                  <a16:creationId xmlns:a16="http://schemas.microsoft.com/office/drawing/2014/main" id="{61654DDE-D45D-4879-B45C-CEA417F2D69A}"/>
                </a:ext>
              </a:extLst>
            </p:cNvPr>
            <p:cNvSpPr/>
            <p:nvPr/>
          </p:nvSpPr>
          <p:spPr>
            <a:xfrm>
              <a:off x="3921660" y="5820829"/>
              <a:ext cx="306300" cy="3108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5" name="Google Shape;2030;g1389d6804d3_10_0">
              <a:extLst>
                <a:ext uri="{FF2B5EF4-FFF2-40B4-BE49-F238E27FC236}">
                  <a16:creationId xmlns:a16="http://schemas.microsoft.com/office/drawing/2014/main" id="{282C5709-A4A1-4583-8C84-7CB0DDE91DC7}"/>
                </a:ext>
              </a:extLst>
            </p:cNvPr>
            <p:cNvSpPr/>
            <p:nvPr/>
          </p:nvSpPr>
          <p:spPr>
            <a:xfrm>
              <a:off x="5074168" y="2546415"/>
              <a:ext cx="2204700" cy="424200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457200" tIns="0" rIns="0" bIns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567"/>
                <a:buFont typeface="Helvetica Neue"/>
                <a:buNone/>
                <a:tabLst/>
                <a:defRPr/>
              </a:pPr>
              <a:r>
                <a:rPr kumimoji="0" lang="ru" sz="15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 Neue"/>
                  <a:ea typeface="Helvetica Neue"/>
                  <a:cs typeface="Helvetica Neue"/>
                  <a:sym typeface="Helvetica Neue"/>
                </a:rPr>
                <a:t>май 2022 г.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16" name="Google Shape;2032;g1389d6804d3_10_0">
              <a:extLst>
                <a:ext uri="{FF2B5EF4-FFF2-40B4-BE49-F238E27FC236}">
                  <a16:creationId xmlns:a16="http://schemas.microsoft.com/office/drawing/2014/main" id="{08F3AE16-9C5E-4411-A4D3-838185BEDE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6852" y="3112179"/>
              <a:ext cx="0" cy="752802"/>
            </a:xfrm>
            <a:prstGeom prst="straightConnector1">
              <a:avLst/>
            </a:prstGeom>
            <a:noFill/>
            <a:ln w="9525" cap="flat" cmpd="sng">
              <a:solidFill>
                <a:srgbClr val="BDBBB9"/>
              </a:solidFill>
              <a:prstDash val="lgDash"/>
              <a:round/>
              <a:headEnd type="none" w="sm" len="sm"/>
              <a:tailEnd type="none" w="sm" len="sm"/>
            </a:ln>
          </p:spPr>
        </p:cxnSp>
        <p:cxnSp>
          <p:nvCxnSpPr>
            <p:cNvPr id="217" name="Google Shape;2033;g1389d6804d3_10_0">
              <a:extLst>
                <a:ext uri="{FF2B5EF4-FFF2-40B4-BE49-F238E27FC236}">
                  <a16:creationId xmlns:a16="http://schemas.microsoft.com/office/drawing/2014/main" id="{324EA0A3-575F-4F52-9E7E-EEEAC32AB9BE}"/>
                </a:ext>
              </a:extLst>
            </p:cNvPr>
            <p:cNvCxnSpPr/>
            <p:nvPr/>
          </p:nvCxnSpPr>
          <p:spPr>
            <a:xfrm rot="10800000">
              <a:off x="2772848" y="2206004"/>
              <a:ext cx="0" cy="1635174"/>
            </a:xfrm>
            <a:prstGeom prst="straightConnector1">
              <a:avLst/>
            </a:prstGeom>
            <a:noFill/>
            <a:ln w="9525" cap="flat" cmpd="sng">
              <a:solidFill>
                <a:srgbClr val="BDBBB9"/>
              </a:solidFill>
              <a:prstDash val="lgDash"/>
              <a:round/>
              <a:headEnd type="none" w="sm" len="sm"/>
              <a:tailEnd type="none" w="sm" len="sm"/>
            </a:ln>
          </p:spPr>
        </p:cxnSp>
        <p:cxnSp>
          <p:nvCxnSpPr>
            <p:cNvPr id="218" name="Google Shape;2034;g1389d6804d3_10_0">
              <a:extLst>
                <a:ext uri="{FF2B5EF4-FFF2-40B4-BE49-F238E27FC236}">
                  <a16:creationId xmlns:a16="http://schemas.microsoft.com/office/drawing/2014/main" id="{C90F23A6-3691-412E-8CE4-8463E7599D1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284637" y="2909165"/>
              <a:ext cx="1" cy="939039"/>
            </a:xfrm>
            <a:prstGeom prst="straightConnector1">
              <a:avLst/>
            </a:prstGeom>
            <a:noFill/>
            <a:ln w="9525" cap="flat" cmpd="sng">
              <a:solidFill>
                <a:srgbClr val="BDBBB9"/>
              </a:solidFill>
              <a:prstDash val="lgDash"/>
              <a:round/>
              <a:headEnd type="none" w="sm" len="sm"/>
              <a:tailEnd type="none" w="sm" len="sm"/>
            </a:ln>
          </p:spPr>
        </p:cxnSp>
        <p:sp>
          <p:nvSpPr>
            <p:cNvPr id="219" name="Google Shape;2035;g1389d6804d3_10_0">
              <a:extLst>
                <a:ext uri="{FF2B5EF4-FFF2-40B4-BE49-F238E27FC236}">
                  <a16:creationId xmlns:a16="http://schemas.microsoft.com/office/drawing/2014/main" id="{0543271A-4F9E-4547-ABBB-09F612A92FCE}"/>
                </a:ext>
              </a:extLst>
            </p:cNvPr>
            <p:cNvSpPr/>
            <p:nvPr/>
          </p:nvSpPr>
          <p:spPr>
            <a:xfrm>
              <a:off x="5131537" y="2598365"/>
              <a:ext cx="306300" cy="3108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20" name="Google Shape;2036;g1389d6804d3_10_0">
              <a:extLst>
                <a:ext uri="{FF2B5EF4-FFF2-40B4-BE49-F238E27FC236}">
                  <a16:creationId xmlns:a16="http://schemas.microsoft.com/office/drawing/2014/main" id="{641DC331-3098-473A-A655-BBD7B3486D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52566" y="4133283"/>
              <a:ext cx="0" cy="540924"/>
            </a:xfrm>
            <a:prstGeom prst="straightConnector1">
              <a:avLst/>
            </a:prstGeom>
            <a:noFill/>
            <a:ln w="9525" cap="flat" cmpd="sng">
              <a:solidFill>
                <a:srgbClr val="BDBBB9"/>
              </a:solidFill>
              <a:prstDash val="lgDash"/>
              <a:round/>
              <a:headEnd type="none" w="sm" len="sm"/>
              <a:tailEnd type="none" w="sm" len="sm"/>
            </a:ln>
          </p:spPr>
        </p:cxnSp>
        <p:cxnSp>
          <p:nvCxnSpPr>
            <p:cNvPr id="221" name="Google Shape;2037;g1389d6804d3_10_0">
              <a:extLst>
                <a:ext uri="{FF2B5EF4-FFF2-40B4-BE49-F238E27FC236}">
                  <a16:creationId xmlns:a16="http://schemas.microsoft.com/office/drawing/2014/main" id="{3C3156FE-B2FB-495E-AE2B-24D9F5D26FF4}"/>
                </a:ext>
              </a:extLst>
            </p:cNvPr>
            <p:cNvCxnSpPr/>
            <p:nvPr/>
          </p:nvCxnSpPr>
          <p:spPr>
            <a:xfrm rot="10800000">
              <a:off x="4074846" y="4133283"/>
              <a:ext cx="0" cy="1635000"/>
            </a:xfrm>
            <a:prstGeom prst="straightConnector1">
              <a:avLst/>
            </a:prstGeom>
            <a:noFill/>
            <a:ln w="9525" cap="flat" cmpd="sng">
              <a:solidFill>
                <a:srgbClr val="BDBBB9"/>
              </a:solidFill>
              <a:prstDash val="lgDash"/>
              <a:round/>
              <a:headEnd type="none" w="sm" len="sm"/>
              <a:tailEnd type="none" w="sm" len="sm"/>
            </a:ln>
          </p:spPr>
        </p:cxnSp>
        <p:cxnSp>
          <p:nvCxnSpPr>
            <p:cNvPr id="222" name="Google Shape;2038;g1389d6804d3_10_0">
              <a:extLst>
                <a:ext uri="{FF2B5EF4-FFF2-40B4-BE49-F238E27FC236}">
                  <a16:creationId xmlns:a16="http://schemas.microsoft.com/office/drawing/2014/main" id="{F3756BEA-732E-4543-8AE5-02868C840BF7}"/>
                </a:ext>
              </a:extLst>
            </p:cNvPr>
            <p:cNvCxnSpPr/>
            <p:nvPr/>
          </p:nvCxnSpPr>
          <p:spPr>
            <a:xfrm rot="10800000">
              <a:off x="9740505" y="4133283"/>
              <a:ext cx="0" cy="1635000"/>
            </a:xfrm>
            <a:prstGeom prst="straightConnector1">
              <a:avLst/>
            </a:prstGeom>
            <a:noFill/>
            <a:ln w="9525" cap="flat" cmpd="sng">
              <a:solidFill>
                <a:srgbClr val="BDBBB9"/>
              </a:solidFill>
              <a:prstDash val="lgDash"/>
              <a:round/>
              <a:headEnd type="none" w="sm" len="sm"/>
              <a:tailEnd type="none" w="sm" len="sm"/>
            </a:ln>
          </p:spPr>
        </p:cxnSp>
        <p:sp>
          <p:nvSpPr>
            <p:cNvPr id="223" name="Google Shape;2039;g1389d6804d3_10_0">
              <a:extLst>
                <a:ext uri="{FF2B5EF4-FFF2-40B4-BE49-F238E27FC236}">
                  <a16:creationId xmlns:a16="http://schemas.microsoft.com/office/drawing/2014/main" id="{896FA54A-2302-4841-8ED5-EA8F635D181A}"/>
                </a:ext>
              </a:extLst>
            </p:cNvPr>
            <p:cNvSpPr/>
            <p:nvPr/>
          </p:nvSpPr>
          <p:spPr>
            <a:xfrm>
              <a:off x="9536166" y="5771990"/>
              <a:ext cx="2394569" cy="424200"/>
            </a:xfrm>
            <a:prstGeom prst="roundRect">
              <a:avLst>
                <a:gd name="adj" fmla="val 50000"/>
              </a:avLst>
            </a:prstGeom>
            <a:solidFill>
              <a:srgbClr val="FFB600"/>
            </a:solidFill>
            <a:ln>
              <a:noFill/>
            </a:ln>
          </p:spPr>
          <p:txBody>
            <a:bodyPr spcFirstLastPara="1" wrap="square" lIns="457200" tIns="0" rIns="0" bIns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567"/>
                <a:buFont typeface="Helvetica Neue"/>
                <a:buNone/>
                <a:tabLst/>
                <a:defRPr/>
              </a:pPr>
              <a:r>
                <a:rPr kumimoji="0" lang="ru" sz="15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 Neue"/>
                  <a:ea typeface="Helvetica Neue"/>
                  <a:cs typeface="Helvetica Neue"/>
                  <a:sym typeface="Helvetica Neue"/>
                </a:rPr>
                <a:t>2023 г. и далее</a:t>
              </a:r>
            </a:p>
          </p:txBody>
        </p:sp>
        <p:sp>
          <p:nvSpPr>
            <p:cNvPr id="224" name="Google Shape;2040;g1389d6804d3_10_0">
              <a:extLst>
                <a:ext uri="{FF2B5EF4-FFF2-40B4-BE49-F238E27FC236}">
                  <a16:creationId xmlns:a16="http://schemas.microsoft.com/office/drawing/2014/main" id="{DB748D8A-2AFB-4335-AD91-5C15944B3CCC}"/>
                </a:ext>
              </a:extLst>
            </p:cNvPr>
            <p:cNvSpPr/>
            <p:nvPr/>
          </p:nvSpPr>
          <p:spPr>
            <a:xfrm>
              <a:off x="9587320" y="5830209"/>
              <a:ext cx="306300" cy="3108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5" name="Google Shape;2041;g1389d6804d3_10_0">
              <a:extLst>
                <a:ext uri="{FF2B5EF4-FFF2-40B4-BE49-F238E27FC236}">
                  <a16:creationId xmlns:a16="http://schemas.microsoft.com/office/drawing/2014/main" id="{2F10252C-F8FA-49EC-B88B-B57769912AF8}"/>
                </a:ext>
              </a:extLst>
            </p:cNvPr>
            <p:cNvSpPr/>
            <p:nvPr/>
          </p:nvSpPr>
          <p:spPr>
            <a:xfrm>
              <a:off x="9680278" y="4123221"/>
              <a:ext cx="2394568" cy="155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0" rIns="91425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Концептуальный план и проект предварительного технико-экономического обоснования, </a:t>
              </a:r>
              <a:r>
                <a:rPr kumimoji="0" lang="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доработаны исследовательской группой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Региональные семинары </a:t>
              </a:r>
              <a:r>
                <a:rPr kumimoji="0" lang="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для сбора информации от соответствующих государственных органов</a:t>
              </a:r>
              <a:endPara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26" name="Google Shape;2042;g1389d6804d3_10_0">
              <a:extLst>
                <a:ext uri="{FF2B5EF4-FFF2-40B4-BE49-F238E27FC236}">
                  <a16:creationId xmlns:a16="http://schemas.microsoft.com/office/drawing/2014/main" id="{4F6C755B-EEBD-4179-A218-876ED807D987}"/>
                </a:ext>
              </a:extLst>
            </p:cNvPr>
            <p:cNvCxnSpPr>
              <a:cxnSpLocks/>
            </p:cNvCxnSpPr>
            <p:nvPr/>
          </p:nvCxnSpPr>
          <p:spPr>
            <a:xfrm>
              <a:off x="367469" y="4010192"/>
              <a:ext cx="11580190" cy="0"/>
            </a:xfrm>
            <a:prstGeom prst="straightConnector1">
              <a:avLst/>
            </a:prstGeom>
            <a:noFill/>
            <a:ln w="9525" cap="flat" cmpd="sng">
              <a:solidFill>
                <a:srgbClr val="C00000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227" name="Google Shape;2043;g1389d6804d3_10_0">
              <a:extLst>
                <a:ext uri="{FF2B5EF4-FFF2-40B4-BE49-F238E27FC236}">
                  <a16:creationId xmlns:a16="http://schemas.microsoft.com/office/drawing/2014/main" id="{CB0EE340-98FF-4EED-A6A6-A6F97485FC67}"/>
                </a:ext>
              </a:extLst>
            </p:cNvPr>
            <p:cNvSpPr/>
            <p:nvPr/>
          </p:nvSpPr>
          <p:spPr>
            <a:xfrm>
              <a:off x="1601050" y="3864981"/>
              <a:ext cx="253200" cy="255900"/>
            </a:xfrm>
            <a:prstGeom prst="ellipse">
              <a:avLst/>
            </a:prstGeom>
            <a:solidFill>
              <a:srgbClr val="FFFFFF"/>
            </a:solidFill>
            <a:ln w="25400" cap="flat" cmpd="sng">
              <a:solidFill>
                <a:srgbClr val="EB8C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8" name="Google Shape;2044;g1389d6804d3_10_0">
              <a:extLst>
                <a:ext uri="{FF2B5EF4-FFF2-40B4-BE49-F238E27FC236}">
                  <a16:creationId xmlns:a16="http://schemas.microsoft.com/office/drawing/2014/main" id="{CF5EBBB9-7104-4042-9BF1-690B4D4C1982}"/>
                </a:ext>
              </a:extLst>
            </p:cNvPr>
            <p:cNvSpPr/>
            <p:nvPr/>
          </p:nvSpPr>
          <p:spPr>
            <a:xfrm>
              <a:off x="441631" y="3864981"/>
              <a:ext cx="253200" cy="255900"/>
            </a:xfrm>
            <a:prstGeom prst="ellipse">
              <a:avLst/>
            </a:prstGeom>
            <a:solidFill>
              <a:srgbClr val="FFFFFF"/>
            </a:solidFill>
            <a:ln w="25400" cap="flat" cmpd="sng">
              <a:solidFill>
                <a:srgbClr val="B069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9" name="Google Shape;2045;g1389d6804d3_10_0">
              <a:extLst>
                <a:ext uri="{FF2B5EF4-FFF2-40B4-BE49-F238E27FC236}">
                  <a16:creationId xmlns:a16="http://schemas.microsoft.com/office/drawing/2014/main" id="{E37E571E-A754-4166-8ACB-D302C0A59DEB}"/>
                </a:ext>
              </a:extLst>
            </p:cNvPr>
            <p:cNvSpPr/>
            <p:nvPr/>
          </p:nvSpPr>
          <p:spPr>
            <a:xfrm>
              <a:off x="2642866" y="3864981"/>
              <a:ext cx="253200" cy="255900"/>
            </a:xfrm>
            <a:prstGeom prst="ellipse">
              <a:avLst/>
            </a:prstGeom>
            <a:solidFill>
              <a:srgbClr val="FFFFFF"/>
            </a:solidFill>
            <a:ln w="25400" cap="flat" cmpd="sng">
              <a:solidFill>
                <a:srgbClr val="FFB6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0" name="Google Shape;2046;g1389d6804d3_10_0">
              <a:extLst>
                <a:ext uri="{FF2B5EF4-FFF2-40B4-BE49-F238E27FC236}">
                  <a16:creationId xmlns:a16="http://schemas.microsoft.com/office/drawing/2014/main" id="{E2B4F597-0C5A-4EE8-B932-028823456CEF}"/>
                </a:ext>
              </a:extLst>
            </p:cNvPr>
            <p:cNvSpPr/>
            <p:nvPr/>
          </p:nvSpPr>
          <p:spPr>
            <a:xfrm>
              <a:off x="3930745" y="3864981"/>
              <a:ext cx="253200" cy="255900"/>
            </a:xfrm>
            <a:prstGeom prst="ellipse">
              <a:avLst/>
            </a:prstGeom>
            <a:solidFill>
              <a:srgbClr val="FFFFFF"/>
            </a:solidFill>
            <a:ln w="25400" cap="flat" cmpd="sng">
              <a:solidFill>
                <a:srgbClr val="B069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1" name="Google Shape;2047;g1389d6804d3_10_0">
              <a:extLst>
                <a:ext uri="{FF2B5EF4-FFF2-40B4-BE49-F238E27FC236}">
                  <a16:creationId xmlns:a16="http://schemas.microsoft.com/office/drawing/2014/main" id="{34731579-652B-407F-AE5B-C011CF2EEA6E}"/>
                </a:ext>
              </a:extLst>
            </p:cNvPr>
            <p:cNvSpPr/>
            <p:nvPr/>
          </p:nvSpPr>
          <p:spPr>
            <a:xfrm>
              <a:off x="5140620" y="3864981"/>
              <a:ext cx="253200" cy="255900"/>
            </a:xfrm>
            <a:prstGeom prst="ellipse">
              <a:avLst/>
            </a:prstGeom>
            <a:solidFill>
              <a:srgbClr val="FFFFFF"/>
            </a:solidFill>
            <a:ln w="25400" cap="flat" cmpd="sng">
              <a:solidFill>
                <a:srgbClr val="EB8C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2" name="Google Shape;2048;g1389d6804d3_10_0">
              <a:extLst>
                <a:ext uri="{FF2B5EF4-FFF2-40B4-BE49-F238E27FC236}">
                  <a16:creationId xmlns:a16="http://schemas.microsoft.com/office/drawing/2014/main" id="{231E24EB-6D03-4123-91C6-96F41E923FDC}"/>
                </a:ext>
              </a:extLst>
            </p:cNvPr>
            <p:cNvSpPr/>
            <p:nvPr/>
          </p:nvSpPr>
          <p:spPr>
            <a:xfrm>
              <a:off x="9596404" y="3864981"/>
              <a:ext cx="253200" cy="255900"/>
            </a:xfrm>
            <a:prstGeom prst="ellipse">
              <a:avLst/>
            </a:prstGeom>
            <a:solidFill>
              <a:srgbClr val="FFFFFF"/>
            </a:solidFill>
            <a:ln w="25400" cap="flat" cmpd="sng">
              <a:solidFill>
                <a:srgbClr val="FFB6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3" name="Google Shape;2049;g1389d6804d3_10_0">
              <a:extLst>
                <a:ext uri="{FF2B5EF4-FFF2-40B4-BE49-F238E27FC236}">
                  <a16:creationId xmlns:a16="http://schemas.microsoft.com/office/drawing/2014/main" id="{428D81D1-3B7D-4196-B469-94020465BE01}"/>
                </a:ext>
              </a:extLst>
            </p:cNvPr>
            <p:cNvSpPr/>
            <p:nvPr/>
          </p:nvSpPr>
          <p:spPr>
            <a:xfrm>
              <a:off x="1653098" y="3916046"/>
              <a:ext cx="149400" cy="146400"/>
            </a:xfrm>
            <a:prstGeom prst="ellipse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4" name="Google Shape;2050;g1389d6804d3_10_0">
              <a:extLst>
                <a:ext uri="{FF2B5EF4-FFF2-40B4-BE49-F238E27FC236}">
                  <a16:creationId xmlns:a16="http://schemas.microsoft.com/office/drawing/2014/main" id="{A6CB1D2E-065C-4E23-B87C-8D7E723F4444}"/>
                </a:ext>
              </a:extLst>
            </p:cNvPr>
            <p:cNvSpPr/>
            <p:nvPr/>
          </p:nvSpPr>
          <p:spPr>
            <a:xfrm>
              <a:off x="493679" y="3916046"/>
              <a:ext cx="149400" cy="146400"/>
            </a:xfrm>
            <a:prstGeom prst="ellipse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5" name="Google Shape;2051;g1389d6804d3_10_0">
              <a:extLst>
                <a:ext uri="{FF2B5EF4-FFF2-40B4-BE49-F238E27FC236}">
                  <a16:creationId xmlns:a16="http://schemas.microsoft.com/office/drawing/2014/main" id="{E1B9E7D5-4394-4D90-9BC7-FFCA9EE6E9C2}"/>
                </a:ext>
              </a:extLst>
            </p:cNvPr>
            <p:cNvSpPr/>
            <p:nvPr/>
          </p:nvSpPr>
          <p:spPr>
            <a:xfrm>
              <a:off x="2694914" y="3916046"/>
              <a:ext cx="149400" cy="146400"/>
            </a:xfrm>
            <a:prstGeom prst="ellipse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6" name="Google Shape;2052;g1389d6804d3_10_0">
              <a:extLst>
                <a:ext uri="{FF2B5EF4-FFF2-40B4-BE49-F238E27FC236}">
                  <a16:creationId xmlns:a16="http://schemas.microsoft.com/office/drawing/2014/main" id="{E176D761-D53C-42FE-B658-31ECADC87BC7}"/>
                </a:ext>
              </a:extLst>
            </p:cNvPr>
            <p:cNvSpPr/>
            <p:nvPr/>
          </p:nvSpPr>
          <p:spPr>
            <a:xfrm>
              <a:off x="3982793" y="3916046"/>
              <a:ext cx="149400" cy="146400"/>
            </a:xfrm>
            <a:prstGeom prst="ellipse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7" name="Google Shape;2053;g1389d6804d3_10_0">
              <a:extLst>
                <a:ext uri="{FF2B5EF4-FFF2-40B4-BE49-F238E27FC236}">
                  <a16:creationId xmlns:a16="http://schemas.microsoft.com/office/drawing/2014/main" id="{4D695882-7144-42B4-924D-D0517C0BCE5F}"/>
                </a:ext>
              </a:extLst>
            </p:cNvPr>
            <p:cNvSpPr/>
            <p:nvPr/>
          </p:nvSpPr>
          <p:spPr>
            <a:xfrm>
              <a:off x="5192669" y="3916046"/>
              <a:ext cx="149400" cy="146400"/>
            </a:xfrm>
            <a:prstGeom prst="ellipse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8" name="Google Shape;2054;g1389d6804d3_10_0">
              <a:extLst>
                <a:ext uri="{FF2B5EF4-FFF2-40B4-BE49-F238E27FC236}">
                  <a16:creationId xmlns:a16="http://schemas.microsoft.com/office/drawing/2014/main" id="{3B9B1411-CE6F-4116-A573-7F728097F1DE}"/>
                </a:ext>
              </a:extLst>
            </p:cNvPr>
            <p:cNvSpPr/>
            <p:nvPr/>
          </p:nvSpPr>
          <p:spPr>
            <a:xfrm>
              <a:off x="9648452" y="3916046"/>
              <a:ext cx="149400" cy="146400"/>
            </a:xfrm>
            <a:prstGeom prst="ellipse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9" name="Google Shape;2058;g1389d6804d3_10_0">
              <a:extLst>
                <a:ext uri="{FF2B5EF4-FFF2-40B4-BE49-F238E27FC236}">
                  <a16:creationId xmlns:a16="http://schemas.microsoft.com/office/drawing/2014/main" id="{2DC06D69-CD3F-4B37-9F3C-38F0584F1BBD}"/>
                </a:ext>
              </a:extLst>
            </p:cNvPr>
            <p:cNvSpPr/>
            <p:nvPr/>
          </p:nvSpPr>
          <p:spPr>
            <a:xfrm>
              <a:off x="5368563" y="2993019"/>
              <a:ext cx="2299561" cy="7656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0" rIns="91425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lang="ru" sz="11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Подготовка справочного отчета, оценка «как есть» различных компонентов развития </a:t>
              </a:r>
              <a:r>
                <a:rPr lang="ru-RU" sz="11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МЦПК</a:t>
              </a:r>
              <a:endParaRPr kumimoji="0" lang="en-GB" sz="110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0" name="Google Shape;2060;g1389d6804d3_10_0">
              <a:extLst>
                <a:ext uri="{FF2B5EF4-FFF2-40B4-BE49-F238E27FC236}">
                  <a16:creationId xmlns:a16="http://schemas.microsoft.com/office/drawing/2014/main" id="{165BF9FD-8465-483F-A90C-7074B8721562}"/>
                </a:ext>
              </a:extLst>
            </p:cNvPr>
            <p:cNvSpPr/>
            <p:nvPr/>
          </p:nvSpPr>
          <p:spPr>
            <a:xfrm>
              <a:off x="1819781" y="4143847"/>
              <a:ext cx="1984145" cy="6316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0" rIns="91425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Набор консультантов для концептуального плана </a:t>
              </a:r>
              <a:r>
                <a:rPr lang="ru-RU" sz="1100" b="0" i="0" dirty="0">
                  <a:solidFill>
                    <a:srgbClr val="4D5156"/>
                  </a:solidFill>
                  <a:effectLst/>
                  <a:latin typeface="arial" panose="020B0604020202020204" pitchFamily="34" charset="0"/>
                </a:rPr>
                <a:t>МЦТЭС</a:t>
              </a:r>
              <a:endParaRPr kumimoji="0" lang="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1" name="Google Shape;2061;g1389d6804d3_10_0">
              <a:extLst>
                <a:ext uri="{FF2B5EF4-FFF2-40B4-BE49-F238E27FC236}">
                  <a16:creationId xmlns:a16="http://schemas.microsoft.com/office/drawing/2014/main" id="{AA6F4458-F2BC-477F-A2C0-D0DD8271538A}"/>
                </a:ext>
              </a:extLst>
            </p:cNvPr>
            <p:cNvSpPr/>
            <p:nvPr/>
          </p:nvSpPr>
          <p:spPr>
            <a:xfrm>
              <a:off x="2917770" y="2365101"/>
              <a:ext cx="2536691" cy="15189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0" rIns="91425" bIns="0" anchor="t" anchorCtr="0"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ru" sz="1100" b="0" i="0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Виртуальный вводный семинар в Казахстане и Узбекистане (</a:t>
              </a:r>
              <a:r>
                <a:rPr lang="ru-RU" sz="1100" b="0" i="0" dirty="0">
                  <a:solidFill>
                    <a:srgbClr val="4D5156"/>
                  </a:solidFill>
                  <a:effectLst/>
                  <a:latin typeface="arial" panose="020B0604020202020204" pitchFamily="34" charset="0"/>
                </a:rPr>
                <a:t>МЦТЭС</a:t>
              </a:r>
              <a:r>
                <a:rPr kumimoji="0" lang="ru" sz="1100" b="0" i="0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)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Wingdings" panose="05000000000000000000" pitchFamily="2" charset="2"/>
                <a:buChar char="Ø"/>
                <a:tabLst/>
                <a:defRPr/>
              </a:pPr>
              <a:endParaRPr kumimoji="0" lang="en-US" sz="11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171450" indent="-171450">
                <a:buClr>
                  <a:srgbClr val="000000"/>
                </a:buClr>
                <a:buSzPts val="1200"/>
                <a:buFont typeface="Wingdings" panose="05000000000000000000" pitchFamily="2" charset="2"/>
                <a:buChar char="Ø"/>
                <a:defRPr/>
              </a:pPr>
              <a:r>
                <a:rPr lang="ru" sz="1100" b="1" i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  <a:r>
                <a:rPr lang="ru-RU" sz="1100" b="1" i="1" dirty="0">
                  <a:solidFill>
                    <a:srgbClr val="4D5156"/>
                  </a:solidFill>
                  <a:effectLst/>
                  <a:latin typeface="arial" panose="020B0604020202020204" pitchFamily="34" charset="0"/>
                </a:rPr>
                <a:t>МЦТЭС</a:t>
              </a:r>
              <a:r>
                <a:rPr lang="ru" sz="1100" b="1" i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на </a:t>
              </a:r>
              <a:r>
                <a:rPr lang="ru-RU" sz="1100" b="1" i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ЦПК</a:t>
              </a:r>
              <a:r>
                <a:rPr lang="ru" sz="1100" b="1" i="1" baseline="300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 </a:t>
              </a:r>
              <a:r>
                <a:rPr lang="ru" sz="1100" b="1" i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ля усиления акцента на промышленном сотрудничестве между странами.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Wingdings" panose="05000000000000000000" pitchFamily="2" charset="2"/>
                <a:buChar char="Ø"/>
                <a:tabLst/>
                <a:defRPr/>
              </a:pPr>
              <a:endParaRPr kumimoji="0" lang="en-US" sz="11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endPara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2" name="Google Shape;2064;g1389d6804d3_10_0">
              <a:extLst>
                <a:ext uri="{FF2B5EF4-FFF2-40B4-BE49-F238E27FC236}">
                  <a16:creationId xmlns:a16="http://schemas.microsoft.com/office/drawing/2014/main" id="{EF656436-70DE-43D0-9ED6-97D5FFCD0C3F}"/>
                </a:ext>
              </a:extLst>
            </p:cNvPr>
            <p:cNvSpPr/>
            <p:nvPr/>
          </p:nvSpPr>
          <p:spPr>
            <a:xfrm>
              <a:off x="4104882" y="4197304"/>
              <a:ext cx="2585541" cy="140626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0" rIns="91425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ru" sz="11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Фев – </a:t>
              </a:r>
              <a:r>
                <a:rPr lang="ru" sz="1100" u="sng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апр 20</a:t>
              </a:r>
              <a:r>
                <a:rPr kumimoji="0" lang="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: Проведены </a:t>
              </a:r>
              <a:r>
                <a:rPr kumimoji="0" lang="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двусторонние консультации </a:t>
              </a:r>
              <a:r>
                <a:rPr kumimoji="0" lang="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с государственными </a:t>
              </a:r>
              <a:r>
                <a:rPr lang="ru" sz="1100" b="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органами</a:t>
              </a:r>
              <a:r>
                <a:rPr kumimoji="0" lang="ru" sz="11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ru" sz="11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Исследовательская группа провела оценку «как есть» и обзор исходных данных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endParaRPr lang="en-US" sz="11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lang="ru" sz="1100" b="1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Представление первоначального отчета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3" name="Google Shape;2073;g1389d6804d3_10_0">
              <a:extLst>
                <a:ext uri="{FF2B5EF4-FFF2-40B4-BE49-F238E27FC236}">
                  <a16:creationId xmlns:a16="http://schemas.microsoft.com/office/drawing/2014/main" id="{7E2F75B9-267F-4234-A279-AB4908ED989B}"/>
                </a:ext>
              </a:extLst>
            </p:cNvPr>
            <p:cNvSpPr/>
            <p:nvPr/>
          </p:nvSpPr>
          <p:spPr>
            <a:xfrm>
              <a:off x="532494" y="3116208"/>
              <a:ext cx="2415500" cy="8730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0" rIns="91425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Дорожная карта развития ЭКШТХ, включая предложение по развитию </a:t>
              </a:r>
              <a:r>
                <a:rPr lang="ru-RU" sz="1100" b="0" i="0" dirty="0">
                  <a:solidFill>
                    <a:srgbClr val="4D5156"/>
                  </a:solidFill>
                  <a:effectLst/>
                  <a:latin typeface="arial" panose="020B0604020202020204" pitchFamily="34" charset="0"/>
                </a:rPr>
                <a:t>Международного центра торгово-экономического сотрудничества (МЦТЭС)</a:t>
              </a:r>
              <a:r>
                <a:rPr kumimoji="0" lang="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*</a:t>
              </a:r>
            </a:p>
          </p:txBody>
        </p:sp>
        <p:cxnSp>
          <p:nvCxnSpPr>
            <p:cNvPr id="244" name="Google Shape;2074;g1389d6804d3_10_0">
              <a:extLst>
                <a:ext uri="{FF2B5EF4-FFF2-40B4-BE49-F238E27FC236}">
                  <a16:creationId xmlns:a16="http://schemas.microsoft.com/office/drawing/2014/main" id="{6D8F68AD-09B8-4CA6-904B-9A2961F8EE31}"/>
                </a:ext>
              </a:extLst>
            </p:cNvPr>
            <p:cNvCxnSpPr>
              <a:cxnSpLocks/>
            </p:cNvCxnSpPr>
            <p:nvPr/>
          </p:nvCxnSpPr>
          <p:spPr>
            <a:xfrm>
              <a:off x="384887" y="1531190"/>
              <a:ext cx="11580190" cy="0"/>
            </a:xfrm>
            <a:prstGeom prst="straightConnector1">
              <a:avLst/>
            </a:prstGeom>
            <a:noFill/>
            <a:ln w="9525" cap="flat" cmpd="sng">
              <a:solidFill>
                <a:srgbClr val="C00000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245" name="Google Shape;2076;g1389d6804d3_10_0">
              <a:extLst>
                <a:ext uri="{FF2B5EF4-FFF2-40B4-BE49-F238E27FC236}">
                  <a16:creationId xmlns:a16="http://schemas.microsoft.com/office/drawing/2014/main" id="{C3F4A2DF-7A8F-47A7-8A25-056069A7F81B}"/>
                </a:ext>
              </a:extLst>
            </p:cNvPr>
            <p:cNvSpPr/>
            <p:nvPr/>
          </p:nvSpPr>
          <p:spPr>
            <a:xfrm>
              <a:off x="1847904" y="1144186"/>
              <a:ext cx="9379460" cy="274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3C6B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ru" sz="1300" b="1" i="1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Развитие </a:t>
              </a:r>
              <a:r>
                <a:rPr kumimoji="0" lang="ru-RU" sz="1300" b="1" i="1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МЦПК</a:t>
              </a:r>
              <a:r>
                <a:rPr kumimoji="0" lang="ru" sz="1300" b="1" i="1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…</a:t>
              </a:r>
              <a:endParaRPr kumimoji="0" sz="13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6" name="Google Shape;2079;g1389d6804d3_10_0">
              <a:extLst>
                <a:ext uri="{FF2B5EF4-FFF2-40B4-BE49-F238E27FC236}">
                  <a16:creationId xmlns:a16="http://schemas.microsoft.com/office/drawing/2014/main" id="{390029CA-864C-4F60-BF59-11CF576D10BF}"/>
                </a:ext>
              </a:extLst>
            </p:cNvPr>
            <p:cNvSpPr/>
            <p:nvPr/>
          </p:nvSpPr>
          <p:spPr>
            <a:xfrm>
              <a:off x="5342069" y="1129850"/>
              <a:ext cx="206193" cy="205928"/>
            </a:xfrm>
            <a:prstGeom prst="ellipse">
              <a:avLst/>
            </a:prstGeom>
            <a:solidFill>
              <a:schemeClr val="lt1"/>
            </a:solidFill>
            <a:ln w="25400" cap="flat" cmpd="sng">
              <a:solidFill>
                <a:srgbClr val="C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45700" rIns="0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7" name="Google Shape;2058;g1389d6804d3_10_0">
              <a:extLst>
                <a:ext uri="{FF2B5EF4-FFF2-40B4-BE49-F238E27FC236}">
                  <a16:creationId xmlns:a16="http://schemas.microsoft.com/office/drawing/2014/main" id="{7E8E5E81-F962-4214-8468-090F6A01356F}"/>
                </a:ext>
              </a:extLst>
            </p:cNvPr>
            <p:cNvSpPr/>
            <p:nvPr/>
          </p:nvSpPr>
          <p:spPr>
            <a:xfrm>
              <a:off x="8134594" y="2341043"/>
              <a:ext cx="3672518" cy="14716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0" rIns="91425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ru" sz="11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Янв – фев 2023</a:t>
              </a:r>
              <a:r>
                <a:rPr kumimoji="0" lang="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: Изменение участка 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МЦПК</a:t>
              </a:r>
              <a:r>
                <a:rPr kumimoji="0" lang="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. Новое </a:t>
              </a:r>
              <a:r>
                <a:rPr lang="ru" sz="1100" b="1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место </a:t>
              </a:r>
              <a:r>
                <a:rPr kumimoji="0" lang="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окончательно определено на </a:t>
              </a:r>
              <a:r>
                <a:rPr lang="ru" sz="11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ППГ </a:t>
              </a:r>
              <a:r>
                <a:rPr kumimoji="0" lang="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Атамекен – Гулистан вместо ППГ Жибек Жолы. В дальнейшем площадь МЦПК</a:t>
              </a:r>
              <a:r>
                <a:rPr lang="ru" sz="11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с каждой стороны сократилась до 50 га.</a:t>
              </a:r>
              <a:endPara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ru" sz="11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Май 2023</a:t>
              </a:r>
              <a:r>
                <a:rPr kumimoji="0" lang="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: </a:t>
              </a:r>
              <a:r>
                <a:rPr kumimoji="0" lang="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Правительства Казахстана и Узбекистана подписывают дорожную карту по созданию </a:t>
              </a: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МЦПК</a:t>
              </a:r>
              <a:endPara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8" name="Google Shape;2028;g1389d6804d3_10_0">
              <a:extLst>
                <a:ext uri="{FF2B5EF4-FFF2-40B4-BE49-F238E27FC236}">
                  <a16:creationId xmlns:a16="http://schemas.microsoft.com/office/drawing/2014/main" id="{E4C6839E-C440-4773-8395-9AB09B96484F}"/>
                </a:ext>
              </a:extLst>
            </p:cNvPr>
            <p:cNvSpPr/>
            <p:nvPr/>
          </p:nvSpPr>
          <p:spPr>
            <a:xfrm>
              <a:off x="6628870" y="5771990"/>
              <a:ext cx="2204700" cy="424200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spcFirstLastPara="1" wrap="square" lIns="457200" tIns="0" rIns="0" bIns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567"/>
                <a:buFont typeface="Helvetica Neue"/>
                <a:buNone/>
                <a:tabLst/>
                <a:defRPr/>
              </a:pPr>
              <a:r>
                <a:rPr kumimoji="0" lang="ru" sz="15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 Neue"/>
                  <a:ea typeface="Helvetica Neue"/>
                  <a:cs typeface="Helvetica Neue"/>
                  <a:sym typeface="Helvetica Neue"/>
                </a:rPr>
                <a:t>октябрь 2022 г.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9" name="Google Shape;2029;g1389d6804d3_10_0">
              <a:extLst>
                <a:ext uri="{FF2B5EF4-FFF2-40B4-BE49-F238E27FC236}">
                  <a16:creationId xmlns:a16="http://schemas.microsoft.com/office/drawing/2014/main" id="{965D5502-CE85-4122-BCA9-C95DE4743DAF}"/>
                </a:ext>
              </a:extLst>
            </p:cNvPr>
            <p:cNvSpPr/>
            <p:nvPr/>
          </p:nvSpPr>
          <p:spPr>
            <a:xfrm>
              <a:off x="6681339" y="5820829"/>
              <a:ext cx="306300" cy="3108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0" name="Google Shape;2030;g1389d6804d3_10_0">
              <a:extLst>
                <a:ext uri="{FF2B5EF4-FFF2-40B4-BE49-F238E27FC236}">
                  <a16:creationId xmlns:a16="http://schemas.microsoft.com/office/drawing/2014/main" id="{CF9C305C-157A-4B36-B3B2-7205C5A8B91D}"/>
                </a:ext>
              </a:extLst>
            </p:cNvPr>
            <p:cNvSpPr/>
            <p:nvPr/>
          </p:nvSpPr>
          <p:spPr>
            <a:xfrm>
              <a:off x="7833847" y="1710387"/>
              <a:ext cx="2204700" cy="424200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457200" tIns="0" rIns="0" bIns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567"/>
                <a:buFont typeface="Helvetica Neue"/>
                <a:buNone/>
                <a:tabLst/>
                <a:defRPr/>
              </a:pPr>
              <a:r>
                <a:rPr kumimoji="0" lang="ru" sz="15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 Neue"/>
                  <a:ea typeface="Helvetica Neue"/>
                  <a:cs typeface="Helvetica Neue"/>
                  <a:sym typeface="Helvetica Neue"/>
                </a:rPr>
                <a:t>январь-май 2023 г.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51" name="Google Shape;2034;g1389d6804d3_10_0">
              <a:extLst>
                <a:ext uri="{FF2B5EF4-FFF2-40B4-BE49-F238E27FC236}">
                  <a16:creationId xmlns:a16="http://schemas.microsoft.com/office/drawing/2014/main" id="{A892E07D-1279-4050-A9F3-5CBEE71023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44317" y="2120662"/>
              <a:ext cx="0" cy="1727542"/>
            </a:xfrm>
            <a:prstGeom prst="straightConnector1">
              <a:avLst/>
            </a:prstGeom>
            <a:noFill/>
            <a:ln w="9525" cap="flat" cmpd="sng">
              <a:solidFill>
                <a:srgbClr val="BDBBB9"/>
              </a:solidFill>
              <a:prstDash val="lgDash"/>
              <a:round/>
              <a:headEnd type="none" w="sm" len="sm"/>
              <a:tailEnd type="none" w="sm" len="sm"/>
            </a:ln>
          </p:spPr>
        </p:cxnSp>
        <p:sp>
          <p:nvSpPr>
            <p:cNvPr id="252" name="Google Shape;2035;g1389d6804d3_10_0">
              <a:extLst>
                <a:ext uri="{FF2B5EF4-FFF2-40B4-BE49-F238E27FC236}">
                  <a16:creationId xmlns:a16="http://schemas.microsoft.com/office/drawing/2014/main" id="{A2624816-EB4B-4510-97BD-B36524547EF4}"/>
                </a:ext>
              </a:extLst>
            </p:cNvPr>
            <p:cNvSpPr/>
            <p:nvPr/>
          </p:nvSpPr>
          <p:spPr>
            <a:xfrm>
              <a:off x="7891216" y="1762337"/>
              <a:ext cx="306300" cy="3108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53" name="Google Shape;2037;g1389d6804d3_10_0">
              <a:extLst>
                <a:ext uri="{FF2B5EF4-FFF2-40B4-BE49-F238E27FC236}">
                  <a16:creationId xmlns:a16="http://schemas.microsoft.com/office/drawing/2014/main" id="{01343231-5553-4190-ACD1-E02D2586B3EB}"/>
                </a:ext>
              </a:extLst>
            </p:cNvPr>
            <p:cNvCxnSpPr/>
            <p:nvPr/>
          </p:nvCxnSpPr>
          <p:spPr>
            <a:xfrm rot="10800000">
              <a:off x="6834525" y="4133283"/>
              <a:ext cx="0" cy="1635000"/>
            </a:xfrm>
            <a:prstGeom prst="straightConnector1">
              <a:avLst/>
            </a:prstGeom>
            <a:noFill/>
            <a:ln w="9525" cap="flat" cmpd="sng">
              <a:solidFill>
                <a:srgbClr val="BDBBB9"/>
              </a:solidFill>
              <a:prstDash val="lgDash"/>
              <a:round/>
              <a:headEnd type="none" w="sm" len="sm"/>
              <a:tailEnd type="none" w="sm" len="sm"/>
            </a:ln>
          </p:spPr>
        </p:cxnSp>
        <p:sp>
          <p:nvSpPr>
            <p:cNvPr id="254" name="Google Shape;2046;g1389d6804d3_10_0">
              <a:extLst>
                <a:ext uri="{FF2B5EF4-FFF2-40B4-BE49-F238E27FC236}">
                  <a16:creationId xmlns:a16="http://schemas.microsoft.com/office/drawing/2014/main" id="{D3336F05-FE2A-4E2A-9518-2D3B148185E1}"/>
                </a:ext>
              </a:extLst>
            </p:cNvPr>
            <p:cNvSpPr/>
            <p:nvPr/>
          </p:nvSpPr>
          <p:spPr>
            <a:xfrm>
              <a:off x="6690424" y="3864981"/>
              <a:ext cx="253200" cy="255900"/>
            </a:xfrm>
            <a:prstGeom prst="ellipse">
              <a:avLst/>
            </a:prstGeom>
            <a:solidFill>
              <a:srgbClr val="FFFFFF"/>
            </a:solidFill>
            <a:ln w="25400" cap="flat" cmpd="sng">
              <a:solidFill>
                <a:srgbClr val="B069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5" name="Google Shape;2047;g1389d6804d3_10_0">
              <a:extLst>
                <a:ext uri="{FF2B5EF4-FFF2-40B4-BE49-F238E27FC236}">
                  <a16:creationId xmlns:a16="http://schemas.microsoft.com/office/drawing/2014/main" id="{64A7F970-B860-46BE-B9DA-FCD0CB58C8C7}"/>
                </a:ext>
              </a:extLst>
            </p:cNvPr>
            <p:cNvSpPr/>
            <p:nvPr/>
          </p:nvSpPr>
          <p:spPr>
            <a:xfrm>
              <a:off x="7900299" y="3864981"/>
              <a:ext cx="253200" cy="255900"/>
            </a:xfrm>
            <a:prstGeom prst="ellipse">
              <a:avLst/>
            </a:prstGeom>
            <a:solidFill>
              <a:srgbClr val="FFFFFF"/>
            </a:solidFill>
            <a:ln w="25400" cap="flat" cmpd="sng">
              <a:solidFill>
                <a:srgbClr val="EB8C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6" name="Google Shape;2052;g1389d6804d3_10_0">
              <a:extLst>
                <a:ext uri="{FF2B5EF4-FFF2-40B4-BE49-F238E27FC236}">
                  <a16:creationId xmlns:a16="http://schemas.microsoft.com/office/drawing/2014/main" id="{DF218BD0-28A0-4BF2-B30E-5A42CEF01336}"/>
                </a:ext>
              </a:extLst>
            </p:cNvPr>
            <p:cNvSpPr/>
            <p:nvPr/>
          </p:nvSpPr>
          <p:spPr>
            <a:xfrm>
              <a:off x="6742472" y="3916046"/>
              <a:ext cx="149400" cy="146400"/>
            </a:xfrm>
            <a:prstGeom prst="ellipse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7" name="Google Shape;2053;g1389d6804d3_10_0">
              <a:extLst>
                <a:ext uri="{FF2B5EF4-FFF2-40B4-BE49-F238E27FC236}">
                  <a16:creationId xmlns:a16="http://schemas.microsoft.com/office/drawing/2014/main" id="{79E12DC9-EA55-460B-82BE-0973862C8881}"/>
                </a:ext>
              </a:extLst>
            </p:cNvPr>
            <p:cNvSpPr/>
            <p:nvPr/>
          </p:nvSpPr>
          <p:spPr>
            <a:xfrm>
              <a:off x="7952348" y="3916046"/>
              <a:ext cx="149400" cy="146400"/>
            </a:xfrm>
            <a:prstGeom prst="ellipse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8" name="Google Shape;2064;g1389d6804d3_10_0">
              <a:extLst>
                <a:ext uri="{FF2B5EF4-FFF2-40B4-BE49-F238E27FC236}">
                  <a16:creationId xmlns:a16="http://schemas.microsoft.com/office/drawing/2014/main" id="{9F6510F2-44DD-43DF-A94A-3384113D806A}"/>
                </a:ext>
              </a:extLst>
            </p:cNvPr>
            <p:cNvSpPr/>
            <p:nvPr/>
          </p:nvSpPr>
          <p:spPr>
            <a:xfrm>
              <a:off x="6864561" y="4197304"/>
              <a:ext cx="2671604" cy="140626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0" rIns="91425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ru" sz="1100" b="1" i="0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Полевой визит в Казахстан и Узбекистан </a:t>
              </a:r>
              <a:r>
                <a:rPr kumimoji="0" lang="ru" sz="1100" i="0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– встречи с различными заинтересованными сторонами в правительстве по результатам справочного отчета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endParaRPr kumimoji="0" lang="en-US" sz="110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lang="ru" sz="11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- Посещение потенциальных мест расположения.</a:t>
              </a:r>
              <a:endParaRPr kumimoji="0" lang="en-US" sz="110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9" name="Isosceles Triangle 258">
              <a:extLst>
                <a:ext uri="{FF2B5EF4-FFF2-40B4-BE49-F238E27FC236}">
                  <a16:creationId xmlns:a16="http://schemas.microsoft.com/office/drawing/2014/main" id="{F710D888-FA38-4925-B49C-81C5F37EFBB8}"/>
                </a:ext>
              </a:extLst>
            </p:cNvPr>
            <p:cNvSpPr/>
            <p:nvPr/>
          </p:nvSpPr>
          <p:spPr>
            <a:xfrm rot="5400000">
              <a:off x="11823978" y="3935440"/>
              <a:ext cx="275610" cy="120076"/>
            </a:xfrm>
            <a:prstGeom prst="triangle">
              <a:avLst/>
            </a:prstGeom>
            <a:solidFill>
              <a:srgbClr val="C00000"/>
            </a:solidFill>
            <a:ln w="6350"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1" name="Google Shape;2073;g1389d6804d3_10_0">
              <a:extLst>
                <a:ext uri="{FF2B5EF4-FFF2-40B4-BE49-F238E27FC236}">
                  <a16:creationId xmlns:a16="http://schemas.microsoft.com/office/drawing/2014/main" id="{128C27AC-2BA1-48EB-AA17-B47E1E3ADD6B}"/>
                </a:ext>
              </a:extLst>
            </p:cNvPr>
            <p:cNvSpPr/>
            <p:nvPr/>
          </p:nvSpPr>
          <p:spPr>
            <a:xfrm>
              <a:off x="318113" y="4197304"/>
              <a:ext cx="850751" cy="2011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0" rIns="91425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ru" sz="11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Н</a:t>
              </a:r>
              <a:r>
                <a:rPr kumimoji="0" lang="ru-RU" sz="11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а</a:t>
              </a:r>
              <a:r>
                <a:rPr kumimoji="0" lang="ru" sz="11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чало </a:t>
              </a:r>
            </a:p>
          </p:txBody>
        </p:sp>
        <p:sp>
          <p:nvSpPr>
            <p:cNvPr id="62" name="Google Shape;2073;g1389d6804d3_10_0">
              <a:extLst>
                <a:ext uri="{FF2B5EF4-FFF2-40B4-BE49-F238E27FC236}">
                  <a16:creationId xmlns:a16="http://schemas.microsoft.com/office/drawing/2014/main" id="{A2FC61E2-DECB-4BA8-899C-898DA77CFAFE}"/>
                </a:ext>
              </a:extLst>
            </p:cNvPr>
            <p:cNvSpPr/>
            <p:nvPr/>
          </p:nvSpPr>
          <p:spPr>
            <a:xfrm>
              <a:off x="303657" y="5483185"/>
              <a:ext cx="3865832" cy="1949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0" rIns="91425" bIns="0" anchor="t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  <a:defRPr/>
              </a:pPr>
              <a:r>
                <a:rPr kumimoji="0" lang="ru" sz="105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*Международный центр торгово-экономического сотрудничества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ru" sz="1050" i="1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# </a:t>
              </a:r>
              <a:r>
                <a:rPr kumimoji="0" lang="ru" sz="105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Международный центр промышленной кооперации</a:t>
              </a:r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E604613-77F0-4E58-AF20-8ECACBDFD86D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/>
              <a:t>сентябрь 2023</a:t>
            </a:r>
            <a:endParaRPr lang="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B9F92D-B04E-49C5-A87C-DF7A3E00830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en-US" smtClean="0"/>
              <a:pPr lvl="0"/>
              <a:t>5</a:t>
            </a:fld>
            <a:endParaRPr lang="en-US"/>
          </a:p>
        </p:txBody>
      </p:sp>
      <p:sp>
        <p:nvSpPr>
          <p:cNvPr id="261" name="Footer Placeholder 11">
            <a:extLst>
              <a:ext uri="{FF2B5EF4-FFF2-40B4-BE49-F238E27FC236}">
                <a16:creationId xmlns:a16="http://schemas.microsoft.com/office/drawing/2014/main" id="{53DCAED6-BCEF-41CC-8EC6-1562EDEDDC82}"/>
              </a:ext>
            </a:extLst>
          </p:cNvPr>
          <p:cNvSpPr txBox="1">
            <a:spLocks/>
          </p:cNvSpPr>
          <p:nvPr/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едварительное технико-экономическое обоснование создания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ЦПК</a:t>
            </a: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ри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КШТХ</a:t>
            </a:r>
            <a:endParaRPr kumimoji="0" lang="ru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395913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095B41-810A-40B0-8ED6-F81B04F66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2119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2" imgH="532" progId="TCLayout.ActiveDocument.1">
                  <p:embed/>
                </p:oleObj>
              </mc:Choice>
              <mc:Fallback>
                <p:oleObj name="think-cell Slide" r:id="rId5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095B41-810A-40B0-8ED6-F81B04F66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2"/>
          <p:cNvSpPr txBox="1">
            <a:spLocks noGrp="1"/>
          </p:cNvSpPr>
          <p:nvPr>
            <p:ph type="title"/>
          </p:nvPr>
        </p:nvSpPr>
        <p:spPr>
          <a:xfrm>
            <a:off x="442914" y="345559"/>
            <a:ext cx="11306175" cy="369332"/>
          </a:xfrm>
        </p:spPr>
        <p:txBody>
          <a:bodyPr anchor="ctr" anchorCtr="0">
            <a:normAutofit/>
          </a:bodyPr>
          <a:lstStyle/>
          <a:p>
            <a:pPr marL="0" marR="0" lvl="0" indent="0" defTabSz="899010" fontAlgn="auto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2400"/>
              <a:tabLst/>
              <a:defRPr/>
            </a:pPr>
            <a:r>
              <a:rPr lang="ru" sz="2400" b="0" dirty="0">
                <a:latin typeface="Georgia" panose="02040502050405020303" pitchFamily="18" charset="0"/>
                <a:sym typeface="Arial"/>
              </a:rPr>
              <a:t>Заинтересованные стороны и основные ресурсы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E604613-77F0-4E58-AF20-8ECACBDFD86D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/>
              <a:t>сентябрь 2023</a:t>
            </a:r>
            <a:endParaRPr lang="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B9F92D-B04E-49C5-A87C-DF7A3E00830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en-US" smtClean="0"/>
              <a:pPr lvl="0"/>
              <a:t>6</a:t>
            </a:fld>
            <a:endParaRPr lang="en-US"/>
          </a:p>
        </p:txBody>
      </p:sp>
      <p:sp>
        <p:nvSpPr>
          <p:cNvPr id="261" name="Footer Placeholder 11">
            <a:extLst>
              <a:ext uri="{FF2B5EF4-FFF2-40B4-BE49-F238E27FC236}">
                <a16:creationId xmlns:a16="http://schemas.microsoft.com/office/drawing/2014/main" id="{53DCAED6-BCEF-41CC-8EC6-1562EDEDDC82}"/>
              </a:ext>
            </a:extLst>
          </p:cNvPr>
          <p:cNvSpPr txBox="1">
            <a:spLocks/>
          </p:cNvSpPr>
          <p:nvPr/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едварительное технико-экономическое обоснование создания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ЦПК</a:t>
            </a: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ри ЭКШТХ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6545C33-3678-4422-8A5A-9536BFAFD7D7}"/>
              </a:ext>
            </a:extLst>
          </p:cNvPr>
          <p:cNvGrpSpPr/>
          <p:nvPr/>
        </p:nvGrpSpPr>
        <p:grpSpPr>
          <a:xfrm>
            <a:off x="114978" y="1136128"/>
            <a:ext cx="11650335" cy="5242148"/>
            <a:chOff x="114978" y="1077136"/>
            <a:chExt cx="11650335" cy="5242148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EFFC8B1F-1CA5-422D-936B-7C0FA9793B93}"/>
                </a:ext>
              </a:extLst>
            </p:cNvPr>
            <p:cNvSpPr/>
            <p:nvPr/>
          </p:nvSpPr>
          <p:spPr>
            <a:xfrm>
              <a:off x="222427" y="1190579"/>
              <a:ext cx="11448288" cy="274320"/>
            </a:xfrm>
            <a:prstGeom prst="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900"/>
                </a:spcAft>
                <a:buSzPts val="1100"/>
                <a:defRPr/>
              </a:pPr>
              <a:r>
                <a:rPr lang="ru" sz="1200" b="1" kern="0">
                  <a:solidFill>
                    <a:srgbClr val="FFFFFF"/>
                  </a:solidFill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Основные заинтересованные стороны</a:t>
              </a: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13C400CE-AD96-4D28-A9C7-C6E3EAB43553}"/>
                </a:ext>
              </a:extLst>
            </p:cNvPr>
            <p:cNvSpPr/>
            <p:nvPr/>
          </p:nvSpPr>
          <p:spPr>
            <a:xfrm>
              <a:off x="114978" y="1077136"/>
              <a:ext cx="339979" cy="352237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600" b="1">
                  <a:solidFill>
                    <a:schemeClr val="bg1"/>
                  </a:solidFill>
                </a:rPr>
                <a:t>1</a:t>
              </a:r>
            </a:p>
          </p:txBody>
        </p:sp>
        <p:pic>
          <p:nvPicPr>
            <p:cNvPr id="66" name="Picture 2" descr="upload.wikimedia.org/wikipedia/commons/thumb/d/d3/...">
              <a:extLst>
                <a:ext uri="{FF2B5EF4-FFF2-40B4-BE49-F238E27FC236}">
                  <a16:creationId xmlns:a16="http://schemas.microsoft.com/office/drawing/2014/main" id="{7B0BC3D6-385D-4203-8D4A-D804AD7605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907" y="1512915"/>
              <a:ext cx="1303004" cy="6515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7" name="Picture 4" descr="upload.wikimedia.org/wikipedia/commons/8/84/Fla...">
              <a:extLst>
                <a:ext uri="{FF2B5EF4-FFF2-40B4-BE49-F238E27FC236}">
                  <a16:creationId xmlns:a16="http://schemas.microsoft.com/office/drawing/2014/main" id="{9E364B40-4A83-4BDF-A85C-7F8737365F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6750" y="2908223"/>
              <a:ext cx="1298448" cy="6492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20B15267-9FA8-40BA-B2C1-75C493883FD0}"/>
                </a:ext>
              </a:extLst>
            </p:cNvPr>
            <p:cNvSpPr txBox="1"/>
            <p:nvPr/>
          </p:nvSpPr>
          <p:spPr>
            <a:xfrm>
              <a:off x="301733" y="4173737"/>
              <a:ext cx="11447267" cy="276999"/>
            </a:xfrm>
            <a:prstGeom prst="rect">
              <a:avLst/>
            </a:prstGeom>
            <a:solidFill>
              <a:srgbClr val="464646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Tx/>
                <a:buSzPts val="1100"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О</a:t>
              </a: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с</a:t>
              </a: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SimSun" panose="02010600030101010101" pitchFamily="2" charset="-122"/>
                  <a:cs typeface="Times New Roman" panose="02020603050405020304" pitchFamily="18" charset="0"/>
                </a:rPr>
                <a:t>новные ресурсы</a:t>
              </a: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14A62FC1-C1CB-4536-8782-28FF4D40B2F3}"/>
                </a:ext>
              </a:extLst>
            </p:cNvPr>
            <p:cNvSpPr/>
            <p:nvPr/>
          </p:nvSpPr>
          <p:spPr>
            <a:xfrm>
              <a:off x="114978" y="4104771"/>
              <a:ext cx="339979" cy="352237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ru" sz="1600" b="1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CC11323F-C1BE-4AB1-9B69-0D2CA1183536}"/>
                </a:ext>
              </a:extLst>
            </p:cNvPr>
            <p:cNvSpPr txBox="1"/>
            <p:nvPr/>
          </p:nvSpPr>
          <p:spPr>
            <a:xfrm>
              <a:off x="1722082" y="1672314"/>
              <a:ext cx="1661038" cy="410751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GB" sz="1200" kern="0" dirty="0" err="1">
                  <a:solidFill>
                    <a:srgbClr val="000000"/>
                  </a:solidFill>
                  <a:latin typeface="Arial"/>
                </a:rPr>
                <a:t>Qaztrade</a:t>
              </a:r>
              <a:endParaRPr lang="ru" sz="12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AF758987-4798-40D8-B251-5B963EBBE327}"/>
                </a:ext>
              </a:extLst>
            </p:cNvPr>
            <p:cNvSpPr txBox="1"/>
            <p:nvPr/>
          </p:nvSpPr>
          <p:spPr>
            <a:xfrm>
              <a:off x="3559291" y="1666072"/>
              <a:ext cx="2432529" cy="416993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200" kern="0">
                  <a:solidFill>
                    <a:srgbClr val="000000"/>
                  </a:solidFill>
                  <a:latin typeface="Arial"/>
                </a:rPr>
                <a:t>Министерство инвестиций и инфраструктурного развития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F4298528-50D7-4E27-B4CA-54A25B491711}"/>
                </a:ext>
              </a:extLst>
            </p:cNvPr>
            <p:cNvSpPr txBox="1"/>
            <p:nvPr/>
          </p:nvSpPr>
          <p:spPr>
            <a:xfrm>
              <a:off x="6167991" y="1672314"/>
              <a:ext cx="1614802" cy="410751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200" kern="0">
                  <a:solidFill>
                    <a:srgbClr val="000000"/>
                  </a:solidFill>
                  <a:latin typeface="Arial"/>
                </a:rPr>
                <a:t>АТАМАКЕН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215F966A-938E-41C5-BA4C-B792488FE10B}"/>
                </a:ext>
              </a:extLst>
            </p:cNvPr>
            <p:cNvSpPr txBox="1"/>
            <p:nvPr/>
          </p:nvSpPr>
          <p:spPr>
            <a:xfrm>
              <a:off x="7958964" y="1672314"/>
              <a:ext cx="1849084" cy="410751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200" kern="0">
                  <a:solidFill>
                    <a:srgbClr val="000000"/>
                  </a:solidFill>
                  <a:latin typeface="Arial"/>
                </a:rPr>
                <a:t>Министерство торговли и интеграции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F6DAD87E-9882-4546-8FDA-C06A0EEA5D73}"/>
                </a:ext>
              </a:extLst>
            </p:cNvPr>
            <p:cNvSpPr txBox="1"/>
            <p:nvPr/>
          </p:nvSpPr>
          <p:spPr>
            <a:xfrm>
              <a:off x="9984218" y="1672314"/>
              <a:ext cx="1686497" cy="410751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200" kern="0" dirty="0">
                  <a:solidFill>
                    <a:srgbClr val="000000"/>
                  </a:solidFill>
                  <a:latin typeface="Arial"/>
                </a:rPr>
                <a:t>Акимат г. Шымкент </a:t>
              </a:r>
              <a:endParaRPr lang="en-GB" sz="1200" kern="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A731AA92-1013-42B5-89AE-EEC6910E058D}"/>
                </a:ext>
              </a:extLst>
            </p:cNvPr>
            <p:cNvGrpSpPr/>
            <p:nvPr/>
          </p:nvGrpSpPr>
          <p:grpSpPr>
            <a:xfrm>
              <a:off x="256750" y="2256286"/>
              <a:ext cx="11413964" cy="426940"/>
              <a:chOff x="256750" y="3022326"/>
              <a:chExt cx="8720292" cy="556449"/>
            </a:xfrm>
          </p:grpSpPr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3CA3118F-F9EE-47FB-B5C7-C180C9DD9E62}"/>
                  </a:ext>
                </a:extLst>
              </p:cNvPr>
              <p:cNvSpPr txBox="1"/>
              <p:nvPr/>
            </p:nvSpPr>
            <p:spPr>
              <a:xfrm>
                <a:off x="7564338" y="3043426"/>
                <a:ext cx="1412704" cy="535349"/>
              </a:xfrm>
              <a:prstGeom prst="rect">
                <a:avLst/>
              </a:prstGeom>
              <a:noFill/>
              <a:ln w="0">
                <a:solidFill>
                  <a:srgbClr val="FFC000"/>
                </a:solidFill>
                <a:prstDash val="sysDash"/>
              </a:ln>
            </p:spPr>
            <p:txBody>
              <a:bodyPr wrap="square" lIns="91440" tIns="91440" rIns="91440" bIns="91440" rtlCol="0" anchor="ctr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ru" sz="1200" kern="0" dirty="0">
                    <a:solidFill>
                      <a:srgbClr val="000000"/>
                    </a:solidFill>
                    <a:latin typeface="Arial"/>
                  </a:rPr>
                  <a:t>АкиматТуркестанской области </a:t>
                </a: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F5A27527-3963-45A4-9977-7BDBEE160C11}"/>
                  </a:ext>
                </a:extLst>
              </p:cNvPr>
              <p:cNvSpPr txBox="1"/>
              <p:nvPr/>
            </p:nvSpPr>
            <p:spPr>
              <a:xfrm>
                <a:off x="5691831" y="3022326"/>
                <a:ext cx="1621808" cy="544099"/>
              </a:xfrm>
              <a:prstGeom prst="rect">
                <a:avLst/>
              </a:prstGeom>
              <a:noFill/>
              <a:ln w="0">
                <a:solidFill>
                  <a:srgbClr val="FFC000"/>
                </a:solidFill>
                <a:prstDash val="sysDash"/>
              </a:ln>
            </p:spPr>
            <p:txBody>
              <a:bodyPr wrap="square" lIns="91440" tIns="91440" rIns="91440" bIns="91440" rtlCol="0" anchor="ctr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ru" sz="1200" kern="0" dirty="0">
                    <a:solidFill>
                      <a:srgbClr val="000000"/>
                    </a:solidFill>
                    <a:latin typeface="Arial"/>
                  </a:rPr>
                  <a:t>Комитет государственных доходов</a:t>
                </a:r>
              </a:p>
            </p:txBody>
          </p:sp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1AA34A84-BFF0-4DCA-9381-D17AEDC6C580}"/>
                  </a:ext>
                </a:extLst>
              </p:cNvPr>
              <p:cNvSpPr txBox="1"/>
              <p:nvPr/>
            </p:nvSpPr>
            <p:spPr>
              <a:xfrm>
                <a:off x="4061587" y="3025760"/>
                <a:ext cx="1412704" cy="543070"/>
              </a:xfrm>
              <a:prstGeom prst="rect">
                <a:avLst/>
              </a:prstGeom>
              <a:noFill/>
              <a:ln w="0">
                <a:solidFill>
                  <a:srgbClr val="FFC000"/>
                </a:solidFill>
                <a:prstDash val="sysDash"/>
              </a:ln>
            </p:spPr>
            <p:txBody>
              <a:bodyPr wrap="square" lIns="91440" tIns="91440" rIns="91440" bIns="91440" rtlCol="0" anchor="ctr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ru" sz="1200" kern="0" dirty="0">
                    <a:solidFill>
                      <a:srgbClr val="000000"/>
                    </a:solidFill>
                    <a:latin typeface="Arial"/>
                  </a:rPr>
                  <a:t>Индустриальные зоны Тассай и Жулдыз </a:t>
                </a: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4BABC6EE-CE91-4856-8161-0B4303D46409}"/>
                  </a:ext>
                </a:extLst>
              </p:cNvPr>
              <p:cNvSpPr txBox="1"/>
              <p:nvPr/>
            </p:nvSpPr>
            <p:spPr>
              <a:xfrm>
                <a:off x="256750" y="3023524"/>
                <a:ext cx="1269036" cy="535349"/>
              </a:xfrm>
              <a:prstGeom prst="rect">
                <a:avLst/>
              </a:prstGeom>
              <a:noFill/>
              <a:ln w="0">
                <a:solidFill>
                  <a:srgbClr val="FFC000"/>
                </a:solidFill>
                <a:prstDash val="sysDash"/>
              </a:ln>
            </p:spPr>
            <p:txBody>
              <a:bodyPr wrap="square" lIns="91440" tIns="91440" rIns="91440" bIns="91440" rtlCol="0" anchor="ctr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ru" sz="1200" kern="0">
                    <a:solidFill>
                      <a:srgbClr val="000000"/>
                    </a:solidFill>
                    <a:latin typeface="Arial"/>
                  </a:rPr>
                  <a:t>Министерство сельского хозяйства</a:t>
                </a:r>
              </a:p>
            </p:txBody>
          </p:sp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628B6386-36E0-43F7-9CAF-467DCDE8CE4C}"/>
                  </a:ext>
                </a:extLst>
              </p:cNvPr>
              <p:cNvSpPr txBox="1"/>
              <p:nvPr/>
            </p:nvSpPr>
            <p:spPr>
              <a:xfrm>
                <a:off x="1864458" y="3022326"/>
                <a:ext cx="1858457" cy="543485"/>
              </a:xfrm>
              <a:prstGeom prst="rect">
                <a:avLst/>
              </a:prstGeom>
              <a:noFill/>
              <a:ln w="0">
                <a:solidFill>
                  <a:srgbClr val="FFC000"/>
                </a:solidFill>
                <a:prstDash val="sysDash"/>
              </a:ln>
            </p:spPr>
            <p:txBody>
              <a:bodyPr wrap="square" lIns="91440" tIns="91440" rIns="91440" bIns="91440" rtlCol="0" anchor="ctr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ru" sz="1200" kern="0">
                    <a:solidFill>
                      <a:srgbClr val="000000"/>
                    </a:solidFill>
                    <a:latin typeface="Arial"/>
                  </a:rPr>
                  <a:t>Пограничная служба Комитета национальной безопасности</a:t>
                </a:r>
                <a:endParaRPr lang="en-GB" sz="1200" kern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BF46172E-C145-4EB7-B267-35AB4CC60D4F}"/>
                </a:ext>
              </a:extLst>
            </p:cNvPr>
            <p:cNvSpPr txBox="1"/>
            <p:nvPr/>
          </p:nvSpPr>
          <p:spPr>
            <a:xfrm>
              <a:off x="1722082" y="3000792"/>
              <a:ext cx="1298447" cy="420624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200" kern="0">
                  <a:solidFill>
                    <a:srgbClr val="000000"/>
                  </a:solidFill>
                  <a:latin typeface="Arial"/>
                </a:rPr>
                <a:t>Министерство транспорта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402BD147-776E-4945-86B5-283B7FD22840}"/>
                </a:ext>
              </a:extLst>
            </p:cNvPr>
            <p:cNvSpPr txBox="1"/>
            <p:nvPr/>
          </p:nvSpPr>
          <p:spPr>
            <a:xfrm>
              <a:off x="3089886" y="3014317"/>
              <a:ext cx="2432237" cy="420624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200" kern="0" dirty="0">
                  <a:solidFill>
                    <a:srgbClr val="000000"/>
                  </a:solidFill>
                </a:rPr>
                <a:t>Логистический центр Фаровон </a:t>
              </a:r>
              <a:r>
                <a:rPr lang="ru" sz="1200" kern="0" dirty="0">
                  <a:solidFill>
                    <a:srgbClr val="000000"/>
                  </a:solidFill>
                  <a:latin typeface="Arial"/>
                </a:rPr>
                <a:t>ООО «Хайот», г. Ташкент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B07DB4E3-C252-4C35-82D7-E5A6F6C27B35}"/>
                </a:ext>
              </a:extLst>
            </p:cNvPr>
            <p:cNvSpPr txBox="1"/>
            <p:nvPr/>
          </p:nvSpPr>
          <p:spPr>
            <a:xfrm>
              <a:off x="5667906" y="3022523"/>
              <a:ext cx="1822160" cy="420624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200" kern="0" dirty="0">
                  <a:solidFill>
                    <a:srgbClr val="000000"/>
                  </a:solidFill>
                  <a:latin typeface="Arial"/>
                </a:rPr>
                <a:t>Министерство сельского хозяйства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46167687-1DB7-4427-8D7F-675607455E28}"/>
                </a:ext>
              </a:extLst>
            </p:cNvPr>
            <p:cNvSpPr txBox="1"/>
            <p:nvPr/>
          </p:nvSpPr>
          <p:spPr>
            <a:xfrm>
              <a:off x="7586607" y="3014317"/>
              <a:ext cx="1935782" cy="420624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200" kern="0" dirty="0">
                  <a:solidFill>
                    <a:srgbClr val="000000"/>
                  </a:solidFill>
                  <a:latin typeface="Arial"/>
                </a:rPr>
                <a:t>Государственный таможенный комитет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F7648832-A0B4-4863-89F7-9773E2127E31}"/>
                </a:ext>
              </a:extLst>
            </p:cNvPr>
            <p:cNvSpPr txBox="1"/>
            <p:nvPr/>
          </p:nvSpPr>
          <p:spPr>
            <a:xfrm>
              <a:off x="9644731" y="3022523"/>
              <a:ext cx="2025983" cy="420624"/>
            </a:xfrm>
            <a:prstGeom prst="rect">
              <a:avLst/>
            </a:prstGeom>
            <a:noFill/>
            <a:ln w="0">
              <a:solidFill>
                <a:srgbClr val="FFC000"/>
              </a:solidFill>
              <a:prstDash val="sysDash"/>
            </a:ln>
          </p:spPr>
          <p:txBody>
            <a:bodyPr wrap="square" lIns="91440" tIns="91440" rIns="91440" bIns="9144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ru" sz="1200" kern="0" dirty="0">
                  <a:solidFill>
                    <a:srgbClr val="000000"/>
                  </a:solidFill>
                  <a:latin typeface="Arial"/>
                </a:rPr>
                <a:t>Торгово-промышленная палата</a:t>
              </a:r>
              <a:endParaRPr lang="en-GB" sz="1200" kern="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8785B92D-4B3B-4071-9D1A-D6D035B12EF5}"/>
                </a:ext>
              </a:extLst>
            </p:cNvPr>
            <p:cNvGrpSpPr/>
            <p:nvPr/>
          </p:nvGrpSpPr>
          <p:grpSpPr>
            <a:xfrm>
              <a:off x="114978" y="3654739"/>
              <a:ext cx="11650334" cy="431567"/>
              <a:chOff x="114978" y="4655405"/>
              <a:chExt cx="11650334" cy="431567"/>
            </a:xfrm>
          </p:grpSpPr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7973BFFB-DF73-4082-A371-BCF2C642C4C5}"/>
                  </a:ext>
                </a:extLst>
              </p:cNvPr>
              <p:cNvSpPr txBox="1"/>
              <p:nvPr/>
            </p:nvSpPr>
            <p:spPr>
              <a:xfrm>
                <a:off x="114978" y="4655405"/>
                <a:ext cx="4500592" cy="420624"/>
              </a:xfrm>
              <a:prstGeom prst="rect">
                <a:avLst/>
              </a:prstGeom>
              <a:noFill/>
              <a:ln w="0">
                <a:solidFill>
                  <a:srgbClr val="FFC000"/>
                </a:solidFill>
                <a:prstDash val="sysDash"/>
              </a:ln>
            </p:spPr>
            <p:txBody>
              <a:bodyPr wrap="square" lIns="91440" tIns="91440" rIns="91440" bIns="91440" rtlCol="0" anchor="ctr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ru" sz="1200" kern="0" dirty="0">
                    <a:solidFill>
                      <a:srgbClr val="000000"/>
                    </a:solidFill>
                    <a:latin typeface="Arial"/>
                  </a:rPr>
                  <a:t>Санитарно-эпидемиологическая служба (СЭС), Министерство здравоохранения и Агентство по карантину и защите растений</a:t>
                </a: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F4E39888-0D22-414C-B2BA-81AAFC284829}"/>
                  </a:ext>
                </a:extLst>
              </p:cNvPr>
              <p:cNvSpPr txBox="1"/>
              <p:nvPr/>
            </p:nvSpPr>
            <p:spPr>
              <a:xfrm>
                <a:off x="4691271" y="4656603"/>
                <a:ext cx="2096142" cy="420624"/>
              </a:xfrm>
              <a:prstGeom prst="rect">
                <a:avLst/>
              </a:prstGeom>
              <a:noFill/>
              <a:ln w="0">
                <a:solidFill>
                  <a:srgbClr val="FFC000"/>
                </a:solidFill>
                <a:prstDash val="sysDash"/>
              </a:ln>
            </p:spPr>
            <p:txBody>
              <a:bodyPr wrap="square" lIns="91440" tIns="91440" rIns="91440" bIns="91440" rtlCol="0" anchor="ctr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ru" sz="1200" kern="0" dirty="0">
                    <a:solidFill>
                      <a:srgbClr val="000000"/>
                    </a:solidFill>
                    <a:latin typeface="Arial"/>
                  </a:rPr>
                  <a:t>Министерство инвестиций и внешней торговли</a:t>
                </a: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FFFAD1D0-6FC9-445D-9443-B135D76598C5}"/>
                  </a:ext>
                </a:extLst>
              </p:cNvPr>
              <p:cNvSpPr txBox="1"/>
              <p:nvPr/>
            </p:nvSpPr>
            <p:spPr>
              <a:xfrm>
                <a:off x="6863114" y="4666348"/>
                <a:ext cx="1800972" cy="420624"/>
              </a:xfrm>
              <a:prstGeom prst="rect">
                <a:avLst/>
              </a:prstGeom>
              <a:noFill/>
              <a:ln w="0">
                <a:solidFill>
                  <a:srgbClr val="FFC000"/>
                </a:solidFill>
                <a:prstDash val="sysDash"/>
              </a:ln>
            </p:spPr>
            <p:txBody>
              <a:bodyPr wrap="square" lIns="91440" tIns="91440" rIns="91440" bIns="91440" rtlCol="0" anchor="ctr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ru" sz="1200" kern="0" dirty="0">
                    <a:solidFill>
                      <a:srgbClr val="000000"/>
                    </a:solidFill>
                    <a:latin typeface="Arial"/>
                  </a:rPr>
                  <a:t>Хокимиат Ташкентской области</a:t>
                </a:r>
              </a:p>
            </p:txBody>
          </p: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56CB83B-461B-493C-AFCF-579636923AB2}"/>
                  </a:ext>
                </a:extLst>
              </p:cNvPr>
              <p:cNvSpPr txBox="1"/>
              <p:nvPr/>
            </p:nvSpPr>
            <p:spPr>
              <a:xfrm>
                <a:off x="8680398" y="4655405"/>
                <a:ext cx="3084914" cy="420624"/>
              </a:xfrm>
              <a:prstGeom prst="rect">
                <a:avLst/>
              </a:prstGeom>
              <a:noFill/>
              <a:ln w="0">
                <a:solidFill>
                  <a:srgbClr val="FFC000"/>
                </a:solidFill>
                <a:prstDash val="sysDash"/>
              </a:ln>
            </p:spPr>
            <p:txBody>
              <a:bodyPr wrap="square" lIns="91440" tIns="91440" rIns="91440" bIns="91440" rtlCol="0" anchor="ctr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ru" sz="1200" kern="0" dirty="0">
                    <a:solidFill>
                      <a:srgbClr val="000000"/>
                    </a:solidFill>
                    <a:latin typeface="Arial"/>
                  </a:rPr>
                  <a:t>Узбекское агентство по стандартизации, метрологии и сертификации</a:t>
                </a:r>
                <a:endParaRPr lang="en-GB" sz="12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B21B7780-4AC2-4519-B3F3-C5B5D2C7CDBF}"/>
                </a:ext>
              </a:extLst>
            </p:cNvPr>
            <p:cNvCxnSpPr/>
            <p:nvPr/>
          </p:nvCxnSpPr>
          <p:spPr>
            <a:xfrm>
              <a:off x="256750" y="2821860"/>
              <a:ext cx="11492250" cy="0"/>
            </a:xfrm>
            <a:prstGeom prst="line">
              <a:avLst/>
            </a:prstGeom>
            <a:ln w="12700" cap="sq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599CFF65-E002-4DCB-A2EE-815DD02A2628}"/>
                </a:ext>
              </a:extLst>
            </p:cNvPr>
            <p:cNvGrpSpPr/>
            <p:nvPr/>
          </p:nvGrpSpPr>
          <p:grpSpPr>
            <a:xfrm>
              <a:off x="459212" y="4928078"/>
              <a:ext cx="420624" cy="420624"/>
              <a:chOff x="459212" y="2205706"/>
              <a:chExt cx="557100" cy="557100"/>
            </a:xfrm>
          </p:grpSpPr>
          <p:sp>
            <p:nvSpPr>
              <p:cNvPr id="97" name="Google Shape;2088;g1389d6804d3_10_89">
                <a:extLst>
                  <a:ext uri="{FF2B5EF4-FFF2-40B4-BE49-F238E27FC236}">
                    <a16:creationId xmlns:a16="http://schemas.microsoft.com/office/drawing/2014/main" id="{FA5511A8-5189-43EB-82BD-A4CC7953063B}"/>
                  </a:ext>
                </a:extLst>
              </p:cNvPr>
              <p:cNvSpPr/>
              <p:nvPr/>
            </p:nvSpPr>
            <p:spPr>
              <a:xfrm>
                <a:off x="459212" y="2205706"/>
                <a:ext cx="557100" cy="557100"/>
              </a:xfrm>
              <a:prstGeom prst="ellipse">
                <a:avLst/>
              </a:prstGeom>
              <a:solidFill>
                <a:srgbClr val="C28A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3600"/>
                  <a:buFont typeface="Arial"/>
                  <a:buNone/>
                  <a:tabLst/>
                  <a:defRPr/>
                </a:pPr>
                <a:endParaRPr kumimoji="0" sz="3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98" name="Graphic 97" descr="Bar graph with upward trend with solid fill">
                <a:extLst>
                  <a:ext uri="{FF2B5EF4-FFF2-40B4-BE49-F238E27FC236}">
                    <a16:creationId xmlns:a16="http://schemas.microsoft.com/office/drawing/2014/main" id="{A1CB4197-E948-4AF2-9AAB-178C6B09C9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554331" y="2322333"/>
                <a:ext cx="346700" cy="346700"/>
              </a:xfrm>
              <a:prstGeom prst="rect">
                <a:avLst/>
              </a:prstGeom>
            </p:spPr>
          </p:pic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99029405-4ADB-4C30-830E-497A47F06B79}"/>
                </a:ext>
              </a:extLst>
            </p:cNvPr>
            <p:cNvGrpSpPr/>
            <p:nvPr/>
          </p:nvGrpSpPr>
          <p:grpSpPr>
            <a:xfrm>
              <a:off x="459212" y="4442787"/>
              <a:ext cx="420624" cy="420624"/>
              <a:chOff x="586838" y="3429000"/>
              <a:chExt cx="557100" cy="557100"/>
            </a:xfrm>
          </p:grpSpPr>
          <p:sp>
            <p:nvSpPr>
              <p:cNvPr id="95" name="Google Shape;2088;g1389d6804d3_10_89">
                <a:extLst>
                  <a:ext uri="{FF2B5EF4-FFF2-40B4-BE49-F238E27FC236}">
                    <a16:creationId xmlns:a16="http://schemas.microsoft.com/office/drawing/2014/main" id="{B2D90F8A-AB57-4C07-A1F8-2B12C39A7E58}"/>
                  </a:ext>
                </a:extLst>
              </p:cNvPr>
              <p:cNvSpPr/>
              <p:nvPr/>
            </p:nvSpPr>
            <p:spPr>
              <a:xfrm>
                <a:off x="586838" y="3429000"/>
                <a:ext cx="557100" cy="557100"/>
              </a:xfrm>
              <a:prstGeom prst="ellipse">
                <a:avLst/>
              </a:prstGeom>
              <a:solidFill>
                <a:srgbClr val="C28A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3600"/>
                  <a:buFont typeface="Arial"/>
                  <a:buNone/>
                  <a:tabLst/>
                  <a:defRPr/>
                </a:pPr>
                <a:endParaRPr kumimoji="0" sz="3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96" name="Google Shape;2104;g1389d6804d3_10_89">
                <a:extLst>
                  <a:ext uri="{FF2B5EF4-FFF2-40B4-BE49-F238E27FC236}">
                    <a16:creationId xmlns:a16="http://schemas.microsoft.com/office/drawing/2014/main" id="{3CFD6617-6304-4560-916F-5D86C98B500C}"/>
                  </a:ext>
                </a:extLst>
              </p:cNvPr>
              <p:cNvPicPr preferRelativeResize="0"/>
              <p:nvPr/>
            </p:nvPicPr>
            <p:blipFill rotWithShape="1">
              <a:blip r:embed="rId11">
                <a:alphaModFix/>
              </a:blip>
              <a:srcRect/>
              <a:stretch/>
            </p:blipFill>
            <p:spPr>
              <a:xfrm>
                <a:off x="659387" y="3518311"/>
                <a:ext cx="391841" cy="391841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F095ED8F-7D48-40BF-A7FC-9F1411E7B8A2}"/>
                </a:ext>
              </a:extLst>
            </p:cNvPr>
            <p:cNvGrpSpPr/>
            <p:nvPr/>
          </p:nvGrpSpPr>
          <p:grpSpPr>
            <a:xfrm>
              <a:off x="459212" y="5413369"/>
              <a:ext cx="420624" cy="420624"/>
              <a:chOff x="459212" y="3232595"/>
              <a:chExt cx="557100" cy="557100"/>
            </a:xfrm>
          </p:grpSpPr>
          <p:sp>
            <p:nvSpPr>
              <p:cNvPr id="93" name="Google Shape;2088;g1389d6804d3_10_89">
                <a:extLst>
                  <a:ext uri="{FF2B5EF4-FFF2-40B4-BE49-F238E27FC236}">
                    <a16:creationId xmlns:a16="http://schemas.microsoft.com/office/drawing/2014/main" id="{5CD187C8-C5B0-4E07-9F98-539B7B83BD7E}"/>
                  </a:ext>
                </a:extLst>
              </p:cNvPr>
              <p:cNvSpPr/>
              <p:nvPr/>
            </p:nvSpPr>
            <p:spPr>
              <a:xfrm>
                <a:off x="459212" y="3232595"/>
                <a:ext cx="557100" cy="557100"/>
              </a:xfrm>
              <a:prstGeom prst="ellipse">
                <a:avLst/>
              </a:prstGeom>
              <a:solidFill>
                <a:srgbClr val="C28A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3600"/>
                  <a:buFont typeface="Arial"/>
                  <a:buNone/>
                  <a:tabLst/>
                  <a:defRPr/>
                </a:pPr>
                <a:endParaRPr kumimoji="0" sz="3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94" name="Graphic 93" descr="Internet with solid fill">
                <a:extLst>
                  <a:ext uri="{FF2B5EF4-FFF2-40B4-BE49-F238E27FC236}">
                    <a16:creationId xmlns:a16="http://schemas.microsoft.com/office/drawing/2014/main" id="{B8DB778F-6E1A-4250-B1CA-A7B39A3558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524835" y="3291055"/>
                <a:ext cx="440180" cy="440180"/>
              </a:xfrm>
              <a:prstGeom prst="rect">
                <a:avLst/>
              </a:prstGeom>
            </p:spPr>
          </p:pic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258E2B12-9B35-42F8-933E-143039B3BD90}"/>
                </a:ext>
              </a:extLst>
            </p:cNvPr>
            <p:cNvGrpSpPr/>
            <p:nvPr/>
          </p:nvGrpSpPr>
          <p:grpSpPr>
            <a:xfrm>
              <a:off x="459212" y="5898660"/>
              <a:ext cx="420624" cy="420624"/>
              <a:chOff x="459212" y="5745971"/>
              <a:chExt cx="420624" cy="420624"/>
            </a:xfrm>
          </p:grpSpPr>
          <p:sp>
            <p:nvSpPr>
              <p:cNvPr id="91" name="Google Shape;2088;g1389d6804d3_10_89">
                <a:extLst>
                  <a:ext uri="{FF2B5EF4-FFF2-40B4-BE49-F238E27FC236}">
                    <a16:creationId xmlns:a16="http://schemas.microsoft.com/office/drawing/2014/main" id="{FCC75565-1CB3-499B-80D2-7E01C5F03BA4}"/>
                  </a:ext>
                </a:extLst>
              </p:cNvPr>
              <p:cNvSpPr/>
              <p:nvPr/>
            </p:nvSpPr>
            <p:spPr>
              <a:xfrm>
                <a:off x="459212" y="5745971"/>
                <a:ext cx="420624" cy="420624"/>
              </a:xfrm>
              <a:prstGeom prst="ellipse">
                <a:avLst/>
              </a:prstGeom>
              <a:solidFill>
                <a:srgbClr val="C28A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3600"/>
                  <a:buFont typeface="Arial"/>
                  <a:buNone/>
                  <a:tabLst/>
                  <a:defRPr/>
                </a:pPr>
                <a:endParaRPr kumimoji="0" sz="3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92" name="Graphic 91" descr="Business Growth outline">
                <a:extLst>
                  <a:ext uri="{FF2B5EF4-FFF2-40B4-BE49-F238E27FC236}">
                    <a16:creationId xmlns:a16="http://schemas.microsoft.com/office/drawing/2014/main" id="{1ACD7240-9BAA-48CB-B7DD-41D006037B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557368" y="5806590"/>
                <a:ext cx="279668" cy="279668"/>
              </a:xfrm>
              <a:prstGeom prst="rect">
                <a:avLst/>
              </a:prstGeom>
            </p:spPr>
          </p:pic>
        </p:grpSp>
        <p:sp>
          <p:nvSpPr>
            <p:cNvPr id="87" name="Google Shape;2097;g1389d6804d3_10_89">
              <a:extLst>
                <a:ext uri="{FF2B5EF4-FFF2-40B4-BE49-F238E27FC236}">
                  <a16:creationId xmlns:a16="http://schemas.microsoft.com/office/drawing/2014/main" id="{A432A4D3-0D5E-438A-B451-FAF6AABF5A22}"/>
                </a:ext>
              </a:extLst>
            </p:cNvPr>
            <p:cNvSpPr/>
            <p:nvPr/>
          </p:nvSpPr>
          <p:spPr>
            <a:xfrm>
              <a:off x="1064281" y="4509923"/>
              <a:ext cx="10701031" cy="353488"/>
            </a:xfrm>
            <a:prstGeom prst="round2DiagRect">
              <a:avLst>
                <a:gd name="adj1" fmla="val 16667"/>
                <a:gd name="adj2" fmla="val 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5486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Tx/>
                <a:buNone/>
                <a:tabLst/>
                <a:defRPr/>
              </a:pPr>
              <a:r>
                <a:rPr kumimoji="0" lang="ru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Повышенное внимание к двусторонней торговле между двумя странами (цель - превысить объем </a:t>
              </a:r>
              <a:r>
                <a:rPr kumimoji="0" lang="ru" sz="13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двусторонней торговли в 10 млрд долл США к 2030 году)</a:t>
              </a:r>
            </a:p>
          </p:txBody>
        </p:sp>
        <p:sp>
          <p:nvSpPr>
            <p:cNvPr id="88" name="Google Shape;2097;g1389d6804d3_10_89">
              <a:extLst>
                <a:ext uri="{FF2B5EF4-FFF2-40B4-BE49-F238E27FC236}">
                  <a16:creationId xmlns:a16="http://schemas.microsoft.com/office/drawing/2014/main" id="{517DDF12-7A93-4351-9B14-09CABB6F73A0}"/>
                </a:ext>
              </a:extLst>
            </p:cNvPr>
            <p:cNvSpPr/>
            <p:nvPr/>
          </p:nvSpPr>
          <p:spPr>
            <a:xfrm>
              <a:off x="1064282" y="4922598"/>
              <a:ext cx="10701031" cy="353488"/>
            </a:xfrm>
            <a:prstGeom prst="round2DiagRect">
              <a:avLst>
                <a:gd name="adj1" fmla="val 16667"/>
                <a:gd name="adj2" fmla="val 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5486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Tx/>
                <a:buNone/>
                <a:tabLst/>
                <a:defRPr/>
              </a:pPr>
              <a:r>
                <a:rPr lang="ru" sz="13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Обоснование переименования МЦТЭС в </a:t>
              </a:r>
              <a:r>
                <a:rPr lang="ru-RU" sz="13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МЦПК</a:t>
              </a:r>
              <a:r>
                <a:rPr lang="ru" sz="13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 с целью повышения внимания к производственной кооперации</a:t>
              </a:r>
              <a:endParaRPr kumimoji="0" lang="en-GB" sz="13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9" name="Google Shape;2097;g1389d6804d3_10_89">
              <a:extLst>
                <a:ext uri="{FF2B5EF4-FFF2-40B4-BE49-F238E27FC236}">
                  <a16:creationId xmlns:a16="http://schemas.microsoft.com/office/drawing/2014/main" id="{4E34C1C4-D99F-4474-B5A4-EAEF0E7102A1}"/>
                </a:ext>
              </a:extLst>
            </p:cNvPr>
            <p:cNvSpPr/>
            <p:nvPr/>
          </p:nvSpPr>
          <p:spPr>
            <a:xfrm>
              <a:off x="1064282" y="5335273"/>
              <a:ext cx="10701031" cy="508254"/>
            </a:xfrm>
            <a:prstGeom prst="round2DiagRect">
              <a:avLst>
                <a:gd name="adj1" fmla="val 16667"/>
                <a:gd name="adj2" fmla="val 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5486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Tx/>
                <a:buNone/>
                <a:tabLst/>
                <a:defRPr/>
              </a:pPr>
              <a:r>
                <a:rPr kumimoji="0" lang="ru" sz="13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Информация о перспективах ключевых секторов </a:t>
              </a:r>
              <a:r>
                <a:rPr kumimoji="0" lang="ru-RU" sz="13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МЦПК</a:t>
              </a:r>
              <a:r>
                <a:rPr kumimoji="0" lang="ru" sz="13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, включая сектор пищевой промышленности, товаров повседневного спроса, производство одежды, фармацевтику, мебель, мясопереработку и т. д. с точки зрения производства. </a:t>
              </a:r>
            </a:p>
          </p:txBody>
        </p:sp>
        <p:sp>
          <p:nvSpPr>
            <p:cNvPr id="90" name="Google Shape;2097;g1389d6804d3_10_89">
              <a:extLst>
                <a:ext uri="{FF2B5EF4-FFF2-40B4-BE49-F238E27FC236}">
                  <a16:creationId xmlns:a16="http://schemas.microsoft.com/office/drawing/2014/main" id="{7F9A35A2-6641-4DD3-9D7A-9CF89E0E4D1B}"/>
                </a:ext>
              </a:extLst>
            </p:cNvPr>
            <p:cNvSpPr/>
            <p:nvPr/>
          </p:nvSpPr>
          <p:spPr>
            <a:xfrm>
              <a:off x="1064282" y="5902713"/>
              <a:ext cx="10701031" cy="416571"/>
            </a:xfrm>
            <a:prstGeom prst="round2DiagRect">
              <a:avLst>
                <a:gd name="adj1" fmla="val 16667"/>
                <a:gd name="adj2" fmla="val 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5486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Tx/>
                <a:buNone/>
                <a:tabLst/>
                <a:defRPr/>
              </a:pPr>
              <a:r>
                <a:rPr kumimoji="0" lang="ru" sz="13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Стратегический вклад, связанный с местами, которые необходимо изучить для развития </a:t>
              </a:r>
              <a:r>
                <a:rPr kumimoji="0" lang="ru-RU" sz="13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МЦПК</a:t>
              </a:r>
              <a:endParaRPr kumimoji="0" lang="ru" sz="13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6687670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36000"/>
            <a:lum/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379AA2-ED46-4BD9-A397-5BBD93295767}"/>
              </a:ext>
            </a:extLst>
          </p:cNvPr>
          <p:cNvSpPr/>
          <p:nvPr/>
        </p:nvSpPr>
        <p:spPr>
          <a:xfrm>
            <a:off x="0" y="2150807"/>
            <a:ext cx="7895073" cy="25563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" sz="3200" dirty="0">
                <a:solidFill>
                  <a:prstClr val="white"/>
                </a:solidFill>
                <a:latin typeface="Georgia"/>
              </a:rPr>
              <a:t>Обоснование и контекст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53918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095B41-810A-40B0-8ED6-F81B04F66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7275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32" imgH="532" progId="TCLayout.ActiveDocument.1">
                  <p:embed/>
                </p:oleObj>
              </mc:Choice>
              <mc:Fallback>
                <p:oleObj name="think-cell Slide" r:id="rId18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095B41-810A-40B0-8ED6-F81B04F66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2"/>
          <p:cNvSpPr txBox="1">
            <a:spLocks noGrp="1"/>
          </p:cNvSpPr>
          <p:nvPr>
            <p:ph type="title"/>
          </p:nvPr>
        </p:nvSpPr>
        <p:spPr>
          <a:xfrm>
            <a:off x="442914" y="345559"/>
            <a:ext cx="11306175" cy="369332"/>
          </a:xfrm>
        </p:spPr>
        <p:txBody>
          <a:bodyPr anchor="ctr" anchorCtr="0">
            <a:normAutofit/>
          </a:bodyPr>
          <a:lstStyle/>
          <a:p>
            <a:r>
              <a:rPr lang="ru" sz="2400" b="0" dirty="0">
                <a:latin typeface="Georgia" panose="02040502050405020303" pitchFamily="18" charset="0"/>
              </a:rPr>
              <a:t>Рост двусторонней торговли и производства в Казахстане и Узбекистане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E604613-77F0-4E58-AF20-8ECACBDFD86D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/>
              <a:t>сентябрь 2023</a:t>
            </a:r>
            <a:endParaRPr lang="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1B9F92D-B04E-49C5-A87C-DF7A3E00830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en-US" smtClean="0"/>
              <a:pPr lvl="0"/>
              <a:t>8</a:t>
            </a:fld>
            <a:endParaRPr lang="en-US"/>
          </a:p>
        </p:txBody>
      </p:sp>
      <p:sp>
        <p:nvSpPr>
          <p:cNvPr id="261" name="Footer Placeholder 11">
            <a:extLst>
              <a:ext uri="{FF2B5EF4-FFF2-40B4-BE49-F238E27FC236}">
                <a16:creationId xmlns:a16="http://schemas.microsoft.com/office/drawing/2014/main" id="{53DCAED6-BCEF-41CC-8EC6-1562EDEDDC82}"/>
              </a:ext>
            </a:extLst>
          </p:cNvPr>
          <p:cNvSpPr txBox="1">
            <a:spLocks/>
          </p:cNvSpPr>
          <p:nvPr/>
        </p:nvSpPr>
        <p:spPr>
          <a:xfrm>
            <a:off x="368985" y="662940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едварительное технико-экономическое обоснование создания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ЦПК</a:t>
            </a: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ри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КШТХ</a:t>
            </a:r>
            <a:endParaRPr kumimoji="0" lang="ru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4A1160E-53C2-45AD-B957-EF3D3ED9A66B}"/>
              </a:ext>
            </a:extLst>
          </p:cNvPr>
          <p:cNvGrpSpPr/>
          <p:nvPr/>
        </p:nvGrpSpPr>
        <p:grpSpPr>
          <a:xfrm>
            <a:off x="470837" y="1702771"/>
            <a:ext cx="2550030" cy="1971802"/>
            <a:chOff x="7285474" y="1060450"/>
            <a:chExt cx="4906526" cy="3188571"/>
          </a:xfrm>
        </p:grpSpPr>
        <p:sp>
          <p:nvSpPr>
            <p:cNvPr id="62" name="Freeform 177">
              <a:extLst>
                <a:ext uri="{FF2B5EF4-FFF2-40B4-BE49-F238E27FC236}">
                  <a16:creationId xmlns:a16="http://schemas.microsoft.com/office/drawing/2014/main" id="{75C4C0EE-202F-489F-A8E3-F17741261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6588" y="1060450"/>
              <a:ext cx="4835412" cy="2513842"/>
            </a:xfrm>
            <a:custGeom>
              <a:avLst/>
              <a:gdLst>
                <a:gd name="T0" fmla="*/ 478 w 5383"/>
                <a:gd name="T1" fmla="*/ 1151 h 2710"/>
                <a:gd name="T2" fmla="*/ 768 w 5383"/>
                <a:gd name="T3" fmla="*/ 1290 h 2710"/>
                <a:gd name="T4" fmla="*/ 717 w 5383"/>
                <a:gd name="T5" fmla="*/ 1492 h 2710"/>
                <a:gd name="T6" fmla="*/ 642 w 5383"/>
                <a:gd name="T7" fmla="*/ 1564 h 2710"/>
                <a:gd name="T8" fmla="*/ 420 w 5383"/>
                <a:gd name="T9" fmla="*/ 1522 h 2710"/>
                <a:gd name="T10" fmla="*/ 324 w 5383"/>
                <a:gd name="T11" fmla="*/ 1626 h 2710"/>
                <a:gd name="T12" fmla="*/ 277 w 5383"/>
                <a:gd name="T13" fmla="*/ 1711 h 2710"/>
                <a:gd name="T14" fmla="*/ 330 w 5383"/>
                <a:gd name="T15" fmla="*/ 1947 h 2710"/>
                <a:gd name="T16" fmla="*/ 385 w 5383"/>
                <a:gd name="T17" fmla="*/ 2147 h 2710"/>
                <a:gd name="T18" fmla="*/ 1438 w 5383"/>
                <a:gd name="T19" fmla="*/ 1663 h 2710"/>
                <a:gd name="T20" fmla="*/ 1550 w 5383"/>
                <a:gd name="T21" fmla="*/ 1613 h 2710"/>
                <a:gd name="T22" fmla="*/ 1715 w 5383"/>
                <a:gd name="T23" fmla="*/ 1607 h 2710"/>
                <a:gd name="T24" fmla="*/ 1598 w 5383"/>
                <a:gd name="T25" fmla="*/ 1760 h 2710"/>
                <a:gd name="T26" fmla="*/ 1723 w 5383"/>
                <a:gd name="T27" fmla="*/ 2004 h 2710"/>
                <a:gd name="T28" fmla="*/ 1967 w 5383"/>
                <a:gd name="T29" fmla="*/ 2120 h 2710"/>
                <a:gd name="T30" fmla="*/ 2303 w 5383"/>
                <a:gd name="T31" fmla="*/ 2260 h 2710"/>
                <a:gd name="T32" fmla="*/ 2310 w 5383"/>
                <a:gd name="T33" fmla="*/ 2451 h 2710"/>
                <a:gd name="T34" fmla="*/ 2397 w 5383"/>
                <a:gd name="T35" fmla="*/ 2641 h 2710"/>
                <a:gd name="T36" fmla="*/ 2665 w 5383"/>
                <a:gd name="T37" fmla="*/ 2685 h 2710"/>
                <a:gd name="T38" fmla="*/ 2976 w 5383"/>
                <a:gd name="T39" fmla="*/ 2498 h 2710"/>
                <a:gd name="T40" fmla="*/ 3336 w 5383"/>
                <a:gd name="T41" fmla="*/ 2416 h 2710"/>
                <a:gd name="T42" fmla="*/ 3581 w 5383"/>
                <a:gd name="T43" fmla="*/ 2328 h 2710"/>
                <a:gd name="T44" fmla="*/ 3895 w 5383"/>
                <a:gd name="T45" fmla="*/ 2401 h 2710"/>
                <a:gd name="T46" fmla="*/ 4304 w 5383"/>
                <a:gd name="T47" fmla="*/ 2457 h 2710"/>
                <a:gd name="T48" fmla="*/ 4507 w 5383"/>
                <a:gd name="T49" fmla="*/ 2347 h 2710"/>
                <a:gd name="T50" fmla="*/ 4513 w 5383"/>
                <a:gd name="T51" fmla="*/ 2096 h 2710"/>
                <a:gd name="T52" fmla="*/ 4482 w 5383"/>
                <a:gd name="T53" fmla="*/ 2008 h 2710"/>
                <a:gd name="T54" fmla="*/ 4722 w 5383"/>
                <a:gd name="T55" fmla="*/ 1967 h 2710"/>
                <a:gd name="T56" fmla="*/ 4763 w 5383"/>
                <a:gd name="T57" fmla="*/ 1865 h 2710"/>
                <a:gd name="T58" fmla="*/ 4977 w 5383"/>
                <a:gd name="T59" fmla="*/ 1698 h 2710"/>
                <a:gd name="T60" fmla="*/ 5136 w 5383"/>
                <a:gd name="T61" fmla="*/ 1600 h 2710"/>
                <a:gd name="T62" fmla="*/ 5116 w 5383"/>
                <a:gd name="T63" fmla="*/ 1364 h 2710"/>
                <a:gd name="T64" fmla="*/ 5275 w 5383"/>
                <a:gd name="T65" fmla="*/ 1183 h 2710"/>
                <a:gd name="T66" fmla="*/ 5231 w 5383"/>
                <a:gd name="T67" fmla="*/ 1059 h 2710"/>
                <a:gd name="T68" fmla="*/ 5070 w 5383"/>
                <a:gd name="T69" fmla="*/ 1186 h 2710"/>
                <a:gd name="T70" fmla="*/ 4846 w 5383"/>
                <a:gd name="T71" fmla="*/ 924 h 2710"/>
                <a:gd name="T72" fmla="*/ 4580 w 5383"/>
                <a:gd name="T73" fmla="*/ 882 h 2710"/>
                <a:gd name="T74" fmla="*/ 4393 w 5383"/>
                <a:gd name="T75" fmla="*/ 877 h 2710"/>
                <a:gd name="T76" fmla="*/ 4043 w 5383"/>
                <a:gd name="T77" fmla="*/ 311 h 2710"/>
                <a:gd name="T78" fmla="*/ 3925 w 5383"/>
                <a:gd name="T79" fmla="*/ 201 h 2710"/>
                <a:gd name="T80" fmla="*/ 3709 w 5383"/>
                <a:gd name="T81" fmla="*/ 347 h 2710"/>
                <a:gd name="T82" fmla="*/ 3612 w 5383"/>
                <a:gd name="T83" fmla="*/ 305 h 2710"/>
                <a:gd name="T84" fmla="*/ 3384 w 5383"/>
                <a:gd name="T85" fmla="*/ 256 h 2710"/>
                <a:gd name="T86" fmla="*/ 3288 w 5383"/>
                <a:gd name="T87" fmla="*/ 23 h 2710"/>
                <a:gd name="T88" fmla="*/ 2937 w 5383"/>
                <a:gd name="T89" fmla="*/ 72 h 2710"/>
                <a:gd name="T90" fmla="*/ 2474 w 5383"/>
                <a:gd name="T91" fmla="*/ 131 h 2710"/>
                <a:gd name="T92" fmla="*/ 2252 w 5383"/>
                <a:gd name="T93" fmla="*/ 163 h 2710"/>
                <a:gd name="T94" fmla="*/ 2141 w 5383"/>
                <a:gd name="T95" fmla="*/ 258 h 2710"/>
                <a:gd name="T96" fmla="*/ 2116 w 5383"/>
                <a:gd name="T97" fmla="*/ 366 h 2710"/>
                <a:gd name="T98" fmla="*/ 2044 w 5383"/>
                <a:gd name="T99" fmla="*/ 558 h 2710"/>
                <a:gd name="T100" fmla="*/ 2087 w 5383"/>
                <a:gd name="T101" fmla="*/ 740 h 2710"/>
                <a:gd name="T102" fmla="*/ 1949 w 5383"/>
                <a:gd name="T103" fmla="*/ 785 h 2710"/>
                <a:gd name="T104" fmla="*/ 1745 w 5383"/>
                <a:gd name="T105" fmla="*/ 756 h 2710"/>
                <a:gd name="T106" fmla="*/ 1585 w 5383"/>
                <a:gd name="T107" fmla="*/ 593 h 2710"/>
                <a:gd name="T108" fmla="*/ 1269 w 5383"/>
                <a:gd name="T109" fmla="*/ 529 h 2710"/>
                <a:gd name="T110" fmla="*/ 1135 w 5383"/>
                <a:gd name="T111" fmla="*/ 441 h 2710"/>
                <a:gd name="T112" fmla="*/ 905 w 5383"/>
                <a:gd name="T113" fmla="*/ 364 h 2710"/>
                <a:gd name="T114" fmla="*/ 679 w 5383"/>
                <a:gd name="T115" fmla="*/ 364 h 2710"/>
                <a:gd name="T116" fmla="*/ 492 w 5383"/>
                <a:gd name="T117" fmla="*/ 483 h 2710"/>
                <a:gd name="T118" fmla="*/ 359 w 5383"/>
                <a:gd name="T119" fmla="*/ 433 h 2710"/>
                <a:gd name="T120" fmla="*/ 186 w 5383"/>
                <a:gd name="T121" fmla="*/ 570 h 2710"/>
                <a:gd name="T122" fmla="*/ 50 w 5383"/>
                <a:gd name="T123" fmla="*/ 827 h 2710"/>
                <a:gd name="T124" fmla="*/ 202 w 5383"/>
                <a:gd name="T125" fmla="*/ 1070 h 2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83" h="2710">
                  <a:moveTo>
                    <a:pt x="200" y="1198"/>
                  </a:moveTo>
                  <a:lnTo>
                    <a:pt x="206" y="1199"/>
                  </a:lnTo>
                  <a:lnTo>
                    <a:pt x="214" y="1200"/>
                  </a:lnTo>
                  <a:lnTo>
                    <a:pt x="232" y="1197"/>
                  </a:lnTo>
                  <a:lnTo>
                    <a:pt x="251" y="1194"/>
                  </a:lnTo>
                  <a:lnTo>
                    <a:pt x="267" y="1205"/>
                  </a:lnTo>
                  <a:lnTo>
                    <a:pt x="283" y="1217"/>
                  </a:lnTo>
                  <a:lnTo>
                    <a:pt x="289" y="1215"/>
                  </a:lnTo>
                  <a:lnTo>
                    <a:pt x="296" y="1213"/>
                  </a:lnTo>
                  <a:lnTo>
                    <a:pt x="333" y="1213"/>
                  </a:lnTo>
                  <a:lnTo>
                    <a:pt x="345" y="1212"/>
                  </a:lnTo>
                  <a:lnTo>
                    <a:pt x="356" y="1209"/>
                  </a:lnTo>
                  <a:lnTo>
                    <a:pt x="366" y="1204"/>
                  </a:lnTo>
                  <a:lnTo>
                    <a:pt x="379" y="1200"/>
                  </a:lnTo>
                  <a:lnTo>
                    <a:pt x="394" y="1195"/>
                  </a:lnTo>
                  <a:lnTo>
                    <a:pt x="407" y="1189"/>
                  </a:lnTo>
                  <a:lnTo>
                    <a:pt x="420" y="1184"/>
                  </a:lnTo>
                  <a:lnTo>
                    <a:pt x="433" y="1176"/>
                  </a:lnTo>
                  <a:lnTo>
                    <a:pt x="442" y="1168"/>
                  </a:lnTo>
                  <a:lnTo>
                    <a:pt x="450" y="1159"/>
                  </a:lnTo>
                  <a:lnTo>
                    <a:pt x="453" y="1156"/>
                  </a:lnTo>
                  <a:lnTo>
                    <a:pt x="457" y="1153"/>
                  </a:lnTo>
                  <a:lnTo>
                    <a:pt x="462" y="1151"/>
                  </a:lnTo>
                  <a:lnTo>
                    <a:pt x="467" y="1151"/>
                  </a:lnTo>
                  <a:lnTo>
                    <a:pt x="478" y="1151"/>
                  </a:lnTo>
                  <a:lnTo>
                    <a:pt x="487" y="1153"/>
                  </a:lnTo>
                  <a:lnTo>
                    <a:pt x="496" y="1156"/>
                  </a:lnTo>
                  <a:lnTo>
                    <a:pt x="504" y="1159"/>
                  </a:lnTo>
                  <a:lnTo>
                    <a:pt x="522" y="1168"/>
                  </a:lnTo>
                  <a:lnTo>
                    <a:pt x="540" y="1174"/>
                  </a:lnTo>
                  <a:lnTo>
                    <a:pt x="549" y="1176"/>
                  </a:lnTo>
                  <a:lnTo>
                    <a:pt x="556" y="1178"/>
                  </a:lnTo>
                  <a:lnTo>
                    <a:pt x="563" y="1181"/>
                  </a:lnTo>
                  <a:lnTo>
                    <a:pt x="568" y="1184"/>
                  </a:lnTo>
                  <a:lnTo>
                    <a:pt x="579" y="1193"/>
                  </a:lnTo>
                  <a:lnTo>
                    <a:pt x="589" y="1204"/>
                  </a:lnTo>
                  <a:lnTo>
                    <a:pt x="597" y="1212"/>
                  </a:lnTo>
                  <a:lnTo>
                    <a:pt x="605" y="1218"/>
                  </a:lnTo>
                  <a:lnTo>
                    <a:pt x="614" y="1222"/>
                  </a:lnTo>
                  <a:lnTo>
                    <a:pt x="622" y="1225"/>
                  </a:lnTo>
                  <a:lnTo>
                    <a:pt x="642" y="1230"/>
                  </a:lnTo>
                  <a:lnTo>
                    <a:pt x="663" y="1235"/>
                  </a:lnTo>
                  <a:lnTo>
                    <a:pt x="681" y="1243"/>
                  </a:lnTo>
                  <a:lnTo>
                    <a:pt x="697" y="1250"/>
                  </a:lnTo>
                  <a:lnTo>
                    <a:pt x="712" y="1259"/>
                  </a:lnTo>
                  <a:lnTo>
                    <a:pt x="729" y="1267"/>
                  </a:lnTo>
                  <a:lnTo>
                    <a:pt x="744" y="1272"/>
                  </a:lnTo>
                  <a:lnTo>
                    <a:pt x="758" y="1280"/>
                  </a:lnTo>
                  <a:lnTo>
                    <a:pt x="763" y="1285"/>
                  </a:lnTo>
                  <a:lnTo>
                    <a:pt x="768" y="1290"/>
                  </a:lnTo>
                  <a:lnTo>
                    <a:pt x="770" y="1296"/>
                  </a:lnTo>
                  <a:lnTo>
                    <a:pt x="771" y="1303"/>
                  </a:lnTo>
                  <a:lnTo>
                    <a:pt x="771" y="1307"/>
                  </a:lnTo>
                  <a:lnTo>
                    <a:pt x="769" y="1311"/>
                  </a:lnTo>
                  <a:lnTo>
                    <a:pt x="768" y="1313"/>
                  </a:lnTo>
                  <a:lnTo>
                    <a:pt x="764" y="1316"/>
                  </a:lnTo>
                  <a:lnTo>
                    <a:pt x="759" y="1321"/>
                  </a:lnTo>
                  <a:lnTo>
                    <a:pt x="754" y="1327"/>
                  </a:lnTo>
                  <a:lnTo>
                    <a:pt x="750" y="1336"/>
                  </a:lnTo>
                  <a:lnTo>
                    <a:pt x="748" y="1344"/>
                  </a:lnTo>
                  <a:lnTo>
                    <a:pt x="746" y="1353"/>
                  </a:lnTo>
                  <a:lnTo>
                    <a:pt x="745" y="1363"/>
                  </a:lnTo>
                  <a:lnTo>
                    <a:pt x="751" y="1406"/>
                  </a:lnTo>
                  <a:lnTo>
                    <a:pt x="750" y="1414"/>
                  </a:lnTo>
                  <a:lnTo>
                    <a:pt x="749" y="1421"/>
                  </a:lnTo>
                  <a:lnTo>
                    <a:pt x="746" y="1429"/>
                  </a:lnTo>
                  <a:lnTo>
                    <a:pt x="743" y="1435"/>
                  </a:lnTo>
                  <a:lnTo>
                    <a:pt x="735" y="1446"/>
                  </a:lnTo>
                  <a:lnTo>
                    <a:pt x="724" y="1457"/>
                  </a:lnTo>
                  <a:lnTo>
                    <a:pt x="720" y="1462"/>
                  </a:lnTo>
                  <a:lnTo>
                    <a:pt x="718" y="1468"/>
                  </a:lnTo>
                  <a:lnTo>
                    <a:pt x="717" y="1473"/>
                  </a:lnTo>
                  <a:lnTo>
                    <a:pt x="717" y="1480"/>
                  </a:lnTo>
                  <a:lnTo>
                    <a:pt x="717" y="1486"/>
                  </a:lnTo>
                  <a:lnTo>
                    <a:pt x="717" y="1492"/>
                  </a:lnTo>
                  <a:lnTo>
                    <a:pt x="715" y="1498"/>
                  </a:lnTo>
                  <a:lnTo>
                    <a:pt x="713" y="1504"/>
                  </a:lnTo>
                  <a:lnTo>
                    <a:pt x="707" y="1509"/>
                  </a:lnTo>
                  <a:lnTo>
                    <a:pt x="700" y="1513"/>
                  </a:lnTo>
                  <a:lnTo>
                    <a:pt x="689" y="1523"/>
                  </a:lnTo>
                  <a:lnTo>
                    <a:pt x="682" y="1534"/>
                  </a:lnTo>
                  <a:lnTo>
                    <a:pt x="678" y="1539"/>
                  </a:lnTo>
                  <a:lnTo>
                    <a:pt x="674" y="1544"/>
                  </a:lnTo>
                  <a:lnTo>
                    <a:pt x="672" y="1551"/>
                  </a:lnTo>
                  <a:lnTo>
                    <a:pt x="671" y="1558"/>
                  </a:lnTo>
                  <a:lnTo>
                    <a:pt x="676" y="1561"/>
                  </a:lnTo>
                  <a:lnTo>
                    <a:pt x="681" y="1566"/>
                  </a:lnTo>
                  <a:lnTo>
                    <a:pt x="683" y="1571"/>
                  </a:lnTo>
                  <a:lnTo>
                    <a:pt x="686" y="1578"/>
                  </a:lnTo>
                  <a:lnTo>
                    <a:pt x="687" y="1591"/>
                  </a:lnTo>
                  <a:lnTo>
                    <a:pt x="687" y="1606"/>
                  </a:lnTo>
                  <a:lnTo>
                    <a:pt x="688" y="1616"/>
                  </a:lnTo>
                  <a:lnTo>
                    <a:pt x="687" y="1626"/>
                  </a:lnTo>
                  <a:lnTo>
                    <a:pt x="681" y="1628"/>
                  </a:lnTo>
                  <a:lnTo>
                    <a:pt x="673" y="1605"/>
                  </a:lnTo>
                  <a:lnTo>
                    <a:pt x="664" y="1584"/>
                  </a:lnTo>
                  <a:lnTo>
                    <a:pt x="658" y="1575"/>
                  </a:lnTo>
                  <a:lnTo>
                    <a:pt x="651" y="1569"/>
                  </a:lnTo>
                  <a:lnTo>
                    <a:pt x="647" y="1566"/>
                  </a:lnTo>
                  <a:lnTo>
                    <a:pt x="642" y="1564"/>
                  </a:lnTo>
                  <a:lnTo>
                    <a:pt x="637" y="1563"/>
                  </a:lnTo>
                  <a:lnTo>
                    <a:pt x="631" y="1563"/>
                  </a:lnTo>
                  <a:lnTo>
                    <a:pt x="585" y="1563"/>
                  </a:lnTo>
                  <a:lnTo>
                    <a:pt x="569" y="1563"/>
                  </a:lnTo>
                  <a:lnTo>
                    <a:pt x="554" y="1561"/>
                  </a:lnTo>
                  <a:lnTo>
                    <a:pt x="546" y="1560"/>
                  </a:lnTo>
                  <a:lnTo>
                    <a:pt x="539" y="1559"/>
                  </a:lnTo>
                  <a:lnTo>
                    <a:pt x="532" y="1556"/>
                  </a:lnTo>
                  <a:lnTo>
                    <a:pt x="524" y="1553"/>
                  </a:lnTo>
                  <a:lnTo>
                    <a:pt x="517" y="1548"/>
                  </a:lnTo>
                  <a:lnTo>
                    <a:pt x="513" y="1542"/>
                  </a:lnTo>
                  <a:lnTo>
                    <a:pt x="509" y="1535"/>
                  </a:lnTo>
                  <a:lnTo>
                    <a:pt x="505" y="1528"/>
                  </a:lnTo>
                  <a:lnTo>
                    <a:pt x="502" y="1522"/>
                  </a:lnTo>
                  <a:lnTo>
                    <a:pt x="498" y="1517"/>
                  </a:lnTo>
                  <a:lnTo>
                    <a:pt x="496" y="1514"/>
                  </a:lnTo>
                  <a:lnTo>
                    <a:pt x="493" y="1513"/>
                  </a:lnTo>
                  <a:lnTo>
                    <a:pt x="489" y="1512"/>
                  </a:lnTo>
                  <a:lnTo>
                    <a:pt x="486" y="1512"/>
                  </a:lnTo>
                  <a:lnTo>
                    <a:pt x="468" y="1514"/>
                  </a:lnTo>
                  <a:lnTo>
                    <a:pt x="451" y="1518"/>
                  </a:lnTo>
                  <a:lnTo>
                    <a:pt x="440" y="1519"/>
                  </a:lnTo>
                  <a:lnTo>
                    <a:pt x="428" y="1519"/>
                  </a:lnTo>
                  <a:lnTo>
                    <a:pt x="423" y="1519"/>
                  </a:lnTo>
                  <a:lnTo>
                    <a:pt x="420" y="1522"/>
                  </a:lnTo>
                  <a:lnTo>
                    <a:pt x="417" y="1524"/>
                  </a:lnTo>
                  <a:lnTo>
                    <a:pt x="417" y="1528"/>
                  </a:lnTo>
                  <a:lnTo>
                    <a:pt x="420" y="1540"/>
                  </a:lnTo>
                  <a:lnTo>
                    <a:pt x="422" y="1553"/>
                  </a:lnTo>
                  <a:lnTo>
                    <a:pt x="422" y="1584"/>
                  </a:lnTo>
                  <a:lnTo>
                    <a:pt x="419" y="1586"/>
                  </a:lnTo>
                  <a:lnTo>
                    <a:pt x="415" y="1589"/>
                  </a:lnTo>
                  <a:lnTo>
                    <a:pt x="410" y="1584"/>
                  </a:lnTo>
                  <a:lnTo>
                    <a:pt x="404" y="1580"/>
                  </a:lnTo>
                  <a:lnTo>
                    <a:pt x="394" y="1580"/>
                  </a:lnTo>
                  <a:lnTo>
                    <a:pt x="394" y="1601"/>
                  </a:lnTo>
                  <a:lnTo>
                    <a:pt x="396" y="1606"/>
                  </a:lnTo>
                  <a:lnTo>
                    <a:pt x="399" y="1612"/>
                  </a:lnTo>
                  <a:lnTo>
                    <a:pt x="399" y="1662"/>
                  </a:lnTo>
                  <a:lnTo>
                    <a:pt x="395" y="1664"/>
                  </a:lnTo>
                  <a:lnTo>
                    <a:pt x="390" y="1664"/>
                  </a:lnTo>
                  <a:lnTo>
                    <a:pt x="381" y="1664"/>
                  </a:lnTo>
                  <a:lnTo>
                    <a:pt x="375" y="1664"/>
                  </a:lnTo>
                  <a:lnTo>
                    <a:pt x="368" y="1663"/>
                  </a:lnTo>
                  <a:lnTo>
                    <a:pt x="361" y="1659"/>
                  </a:lnTo>
                  <a:lnTo>
                    <a:pt x="350" y="1648"/>
                  </a:lnTo>
                  <a:lnTo>
                    <a:pt x="340" y="1637"/>
                  </a:lnTo>
                  <a:lnTo>
                    <a:pt x="335" y="1632"/>
                  </a:lnTo>
                  <a:lnTo>
                    <a:pt x="330" y="1628"/>
                  </a:lnTo>
                  <a:lnTo>
                    <a:pt x="324" y="1626"/>
                  </a:lnTo>
                  <a:lnTo>
                    <a:pt x="317" y="1625"/>
                  </a:lnTo>
                  <a:lnTo>
                    <a:pt x="302" y="1627"/>
                  </a:lnTo>
                  <a:lnTo>
                    <a:pt x="286" y="1630"/>
                  </a:lnTo>
                  <a:lnTo>
                    <a:pt x="276" y="1628"/>
                  </a:lnTo>
                  <a:lnTo>
                    <a:pt x="266" y="1628"/>
                  </a:lnTo>
                  <a:lnTo>
                    <a:pt x="257" y="1627"/>
                  </a:lnTo>
                  <a:lnTo>
                    <a:pt x="247" y="1626"/>
                  </a:lnTo>
                  <a:lnTo>
                    <a:pt x="238" y="1627"/>
                  </a:lnTo>
                  <a:lnTo>
                    <a:pt x="230" y="1628"/>
                  </a:lnTo>
                  <a:lnTo>
                    <a:pt x="226" y="1630"/>
                  </a:lnTo>
                  <a:lnTo>
                    <a:pt x="224" y="1632"/>
                  </a:lnTo>
                  <a:lnTo>
                    <a:pt x="221" y="1636"/>
                  </a:lnTo>
                  <a:lnTo>
                    <a:pt x="220" y="1640"/>
                  </a:lnTo>
                  <a:lnTo>
                    <a:pt x="221" y="1643"/>
                  </a:lnTo>
                  <a:lnTo>
                    <a:pt x="222" y="1647"/>
                  </a:lnTo>
                  <a:lnTo>
                    <a:pt x="225" y="1649"/>
                  </a:lnTo>
                  <a:lnTo>
                    <a:pt x="227" y="1652"/>
                  </a:lnTo>
                  <a:lnTo>
                    <a:pt x="233" y="1657"/>
                  </a:lnTo>
                  <a:lnTo>
                    <a:pt x="238" y="1662"/>
                  </a:lnTo>
                  <a:lnTo>
                    <a:pt x="246" y="1678"/>
                  </a:lnTo>
                  <a:lnTo>
                    <a:pt x="252" y="1693"/>
                  </a:lnTo>
                  <a:lnTo>
                    <a:pt x="262" y="1700"/>
                  </a:lnTo>
                  <a:lnTo>
                    <a:pt x="273" y="1707"/>
                  </a:lnTo>
                  <a:lnTo>
                    <a:pt x="276" y="1709"/>
                  </a:lnTo>
                  <a:lnTo>
                    <a:pt x="277" y="1711"/>
                  </a:lnTo>
                  <a:lnTo>
                    <a:pt x="278" y="1715"/>
                  </a:lnTo>
                  <a:lnTo>
                    <a:pt x="279" y="1719"/>
                  </a:lnTo>
                  <a:lnTo>
                    <a:pt x="279" y="1726"/>
                  </a:lnTo>
                  <a:lnTo>
                    <a:pt x="278" y="1734"/>
                  </a:lnTo>
                  <a:lnTo>
                    <a:pt x="277" y="1749"/>
                  </a:lnTo>
                  <a:lnTo>
                    <a:pt x="274" y="1764"/>
                  </a:lnTo>
                  <a:lnTo>
                    <a:pt x="282" y="1781"/>
                  </a:lnTo>
                  <a:lnTo>
                    <a:pt x="291" y="1798"/>
                  </a:lnTo>
                  <a:lnTo>
                    <a:pt x="286" y="1812"/>
                  </a:lnTo>
                  <a:lnTo>
                    <a:pt x="282" y="1826"/>
                  </a:lnTo>
                  <a:lnTo>
                    <a:pt x="282" y="1883"/>
                  </a:lnTo>
                  <a:lnTo>
                    <a:pt x="278" y="1896"/>
                  </a:lnTo>
                  <a:lnTo>
                    <a:pt x="274" y="1911"/>
                  </a:lnTo>
                  <a:lnTo>
                    <a:pt x="274" y="1914"/>
                  </a:lnTo>
                  <a:lnTo>
                    <a:pt x="276" y="1916"/>
                  </a:lnTo>
                  <a:lnTo>
                    <a:pt x="277" y="1919"/>
                  </a:lnTo>
                  <a:lnTo>
                    <a:pt x="278" y="1921"/>
                  </a:lnTo>
                  <a:lnTo>
                    <a:pt x="283" y="1924"/>
                  </a:lnTo>
                  <a:lnTo>
                    <a:pt x="289" y="1925"/>
                  </a:lnTo>
                  <a:lnTo>
                    <a:pt x="303" y="1927"/>
                  </a:lnTo>
                  <a:lnTo>
                    <a:pt x="317" y="1930"/>
                  </a:lnTo>
                  <a:lnTo>
                    <a:pt x="323" y="1932"/>
                  </a:lnTo>
                  <a:lnTo>
                    <a:pt x="327" y="1936"/>
                  </a:lnTo>
                  <a:lnTo>
                    <a:pt x="329" y="1941"/>
                  </a:lnTo>
                  <a:lnTo>
                    <a:pt x="330" y="1947"/>
                  </a:lnTo>
                  <a:lnTo>
                    <a:pt x="332" y="1961"/>
                  </a:lnTo>
                  <a:lnTo>
                    <a:pt x="335" y="1973"/>
                  </a:lnTo>
                  <a:lnTo>
                    <a:pt x="339" y="1977"/>
                  </a:lnTo>
                  <a:lnTo>
                    <a:pt x="342" y="1981"/>
                  </a:lnTo>
                  <a:lnTo>
                    <a:pt x="346" y="1983"/>
                  </a:lnTo>
                  <a:lnTo>
                    <a:pt x="350" y="1984"/>
                  </a:lnTo>
                  <a:lnTo>
                    <a:pt x="359" y="1988"/>
                  </a:lnTo>
                  <a:lnTo>
                    <a:pt x="369" y="1992"/>
                  </a:lnTo>
                  <a:lnTo>
                    <a:pt x="383" y="2005"/>
                  </a:lnTo>
                  <a:lnTo>
                    <a:pt x="399" y="2018"/>
                  </a:lnTo>
                  <a:lnTo>
                    <a:pt x="406" y="2019"/>
                  </a:lnTo>
                  <a:lnTo>
                    <a:pt x="414" y="2020"/>
                  </a:lnTo>
                  <a:lnTo>
                    <a:pt x="416" y="2022"/>
                  </a:lnTo>
                  <a:lnTo>
                    <a:pt x="419" y="2023"/>
                  </a:lnTo>
                  <a:lnTo>
                    <a:pt x="421" y="2025"/>
                  </a:lnTo>
                  <a:lnTo>
                    <a:pt x="421" y="2029"/>
                  </a:lnTo>
                  <a:lnTo>
                    <a:pt x="420" y="2035"/>
                  </a:lnTo>
                  <a:lnTo>
                    <a:pt x="419" y="2043"/>
                  </a:lnTo>
                  <a:lnTo>
                    <a:pt x="419" y="2092"/>
                  </a:lnTo>
                  <a:lnTo>
                    <a:pt x="419" y="2101"/>
                  </a:lnTo>
                  <a:lnTo>
                    <a:pt x="415" y="2108"/>
                  </a:lnTo>
                  <a:lnTo>
                    <a:pt x="411" y="2115"/>
                  </a:lnTo>
                  <a:lnTo>
                    <a:pt x="406" y="2121"/>
                  </a:lnTo>
                  <a:lnTo>
                    <a:pt x="395" y="2133"/>
                  </a:lnTo>
                  <a:lnTo>
                    <a:pt x="385" y="2147"/>
                  </a:lnTo>
                  <a:lnTo>
                    <a:pt x="385" y="2147"/>
                  </a:lnTo>
                  <a:lnTo>
                    <a:pt x="621" y="2136"/>
                  </a:lnTo>
                  <a:lnTo>
                    <a:pt x="632" y="2153"/>
                  </a:lnTo>
                  <a:lnTo>
                    <a:pt x="642" y="2170"/>
                  </a:lnTo>
                  <a:lnTo>
                    <a:pt x="650" y="2187"/>
                  </a:lnTo>
                  <a:lnTo>
                    <a:pt x="657" y="2204"/>
                  </a:lnTo>
                  <a:lnTo>
                    <a:pt x="668" y="2240"/>
                  </a:lnTo>
                  <a:lnTo>
                    <a:pt x="681" y="2281"/>
                  </a:lnTo>
                  <a:lnTo>
                    <a:pt x="686" y="2293"/>
                  </a:lnTo>
                  <a:lnTo>
                    <a:pt x="692" y="2306"/>
                  </a:lnTo>
                  <a:lnTo>
                    <a:pt x="698" y="2317"/>
                  </a:lnTo>
                  <a:lnTo>
                    <a:pt x="704" y="2327"/>
                  </a:lnTo>
                  <a:lnTo>
                    <a:pt x="710" y="2338"/>
                  </a:lnTo>
                  <a:lnTo>
                    <a:pt x="717" y="2349"/>
                  </a:lnTo>
                  <a:lnTo>
                    <a:pt x="722" y="2360"/>
                  </a:lnTo>
                  <a:lnTo>
                    <a:pt x="725" y="2374"/>
                  </a:lnTo>
                  <a:lnTo>
                    <a:pt x="732" y="2375"/>
                  </a:lnTo>
                  <a:lnTo>
                    <a:pt x="736" y="2378"/>
                  </a:lnTo>
                  <a:lnTo>
                    <a:pt x="754" y="2371"/>
                  </a:lnTo>
                  <a:lnTo>
                    <a:pt x="771" y="2364"/>
                  </a:lnTo>
                  <a:lnTo>
                    <a:pt x="771" y="2364"/>
                  </a:lnTo>
                  <a:lnTo>
                    <a:pt x="939" y="1729"/>
                  </a:lnTo>
                  <a:lnTo>
                    <a:pt x="1438" y="1664"/>
                  </a:lnTo>
                  <a:lnTo>
                    <a:pt x="1438" y="1664"/>
                  </a:lnTo>
                  <a:lnTo>
                    <a:pt x="1438" y="1663"/>
                  </a:lnTo>
                  <a:lnTo>
                    <a:pt x="1438" y="1662"/>
                  </a:lnTo>
                  <a:lnTo>
                    <a:pt x="1442" y="1653"/>
                  </a:lnTo>
                  <a:lnTo>
                    <a:pt x="1444" y="1646"/>
                  </a:lnTo>
                  <a:lnTo>
                    <a:pt x="1447" y="1642"/>
                  </a:lnTo>
                  <a:lnTo>
                    <a:pt x="1449" y="1640"/>
                  </a:lnTo>
                  <a:lnTo>
                    <a:pt x="1453" y="1638"/>
                  </a:lnTo>
                  <a:lnTo>
                    <a:pt x="1457" y="1638"/>
                  </a:lnTo>
                  <a:lnTo>
                    <a:pt x="1466" y="1640"/>
                  </a:lnTo>
                  <a:lnTo>
                    <a:pt x="1473" y="1642"/>
                  </a:lnTo>
                  <a:lnTo>
                    <a:pt x="1480" y="1647"/>
                  </a:lnTo>
                  <a:lnTo>
                    <a:pt x="1487" y="1652"/>
                  </a:lnTo>
                  <a:lnTo>
                    <a:pt x="1493" y="1657"/>
                  </a:lnTo>
                  <a:lnTo>
                    <a:pt x="1499" y="1662"/>
                  </a:lnTo>
                  <a:lnTo>
                    <a:pt x="1507" y="1666"/>
                  </a:lnTo>
                  <a:lnTo>
                    <a:pt x="1515" y="1667"/>
                  </a:lnTo>
                  <a:lnTo>
                    <a:pt x="1520" y="1666"/>
                  </a:lnTo>
                  <a:lnTo>
                    <a:pt x="1524" y="1666"/>
                  </a:lnTo>
                  <a:lnTo>
                    <a:pt x="1528" y="1663"/>
                  </a:lnTo>
                  <a:lnTo>
                    <a:pt x="1531" y="1662"/>
                  </a:lnTo>
                  <a:lnTo>
                    <a:pt x="1536" y="1656"/>
                  </a:lnTo>
                  <a:lnTo>
                    <a:pt x="1540" y="1649"/>
                  </a:lnTo>
                  <a:lnTo>
                    <a:pt x="1544" y="1641"/>
                  </a:lnTo>
                  <a:lnTo>
                    <a:pt x="1546" y="1632"/>
                  </a:lnTo>
                  <a:lnTo>
                    <a:pt x="1549" y="1623"/>
                  </a:lnTo>
                  <a:lnTo>
                    <a:pt x="1550" y="1613"/>
                  </a:lnTo>
                  <a:lnTo>
                    <a:pt x="1550" y="1604"/>
                  </a:lnTo>
                  <a:lnTo>
                    <a:pt x="1551" y="1594"/>
                  </a:lnTo>
                  <a:lnTo>
                    <a:pt x="1552" y="1590"/>
                  </a:lnTo>
                  <a:lnTo>
                    <a:pt x="1555" y="1586"/>
                  </a:lnTo>
                  <a:lnTo>
                    <a:pt x="1557" y="1585"/>
                  </a:lnTo>
                  <a:lnTo>
                    <a:pt x="1561" y="1584"/>
                  </a:lnTo>
                  <a:lnTo>
                    <a:pt x="1565" y="1584"/>
                  </a:lnTo>
                  <a:lnTo>
                    <a:pt x="1569" y="1585"/>
                  </a:lnTo>
                  <a:lnTo>
                    <a:pt x="1571" y="1587"/>
                  </a:lnTo>
                  <a:lnTo>
                    <a:pt x="1575" y="1589"/>
                  </a:lnTo>
                  <a:lnTo>
                    <a:pt x="1580" y="1595"/>
                  </a:lnTo>
                  <a:lnTo>
                    <a:pt x="1584" y="1601"/>
                  </a:lnTo>
                  <a:lnTo>
                    <a:pt x="1588" y="1607"/>
                  </a:lnTo>
                  <a:lnTo>
                    <a:pt x="1593" y="1612"/>
                  </a:lnTo>
                  <a:lnTo>
                    <a:pt x="1596" y="1615"/>
                  </a:lnTo>
                  <a:lnTo>
                    <a:pt x="1600" y="1616"/>
                  </a:lnTo>
                  <a:lnTo>
                    <a:pt x="1603" y="1617"/>
                  </a:lnTo>
                  <a:lnTo>
                    <a:pt x="1607" y="1618"/>
                  </a:lnTo>
                  <a:lnTo>
                    <a:pt x="1623" y="1615"/>
                  </a:lnTo>
                  <a:lnTo>
                    <a:pt x="1641" y="1611"/>
                  </a:lnTo>
                  <a:lnTo>
                    <a:pt x="1664" y="1611"/>
                  </a:lnTo>
                  <a:lnTo>
                    <a:pt x="1684" y="1611"/>
                  </a:lnTo>
                  <a:lnTo>
                    <a:pt x="1694" y="1611"/>
                  </a:lnTo>
                  <a:lnTo>
                    <a:pt x="1705" y="1610"/>
                  </a:lnTo>
                  <a:lnTo>
                    <a:pt x="1715" y="1607"/>
                  </a:lnTo>
                  <a:lnTo>
                    <a:pt x="1726" y="1604"/>
                  </a:lnTo>
                  <a:lnTo>
                    <a:pt x="1730" y="1610"/>
                  </a:lnTo>
                  <a:lnTo>
                    <a:pt x="1733" y="1616"/>
                  </a:lnTo>
                  <a:lnTo>
                    <a:pt x="1731" y="1625"/>
                  </a:lnTo>
                  <a:lnTo>
                    <a:pt x="1728" y="1632"/>
                  </a:lnTo>
                  <a:lnTo>
                    <a:pt x="1724" y="1640"/>
                  </a:lnTo>
                  <a:lnTo>
                    <a:pt x="1718" y="1644"/>
                  </a:lnTo>
                  <a:lnTo>
                    <a:pt x="1704" y="1654"/>
                  </a:lnTo>
                  <a:lnTo>
                    <a:pt x="1689" y="1664"/>
                  </a:lnTo>
                  <a:lnTo>
                    <a:pt x="1674" y="1678"/>
                  </a:lnTo>
                  <a:lnTo>
                    <a:pt x="1662" y="1690"/>
                  </a:lnTo>
                  <a:lnTo>
                    <a:pt x="1656" y="1697"/>
                  </a:lnTo>
                  <a:lnTo>
                    <a:pt x="1648" y="1700"/>
                  </a:lnTo>
                  <a:lnTo>
                    <a:pt x="1639" y="1704"/>
                  </a:lnTo>
                  <a:lnTo>
                    <a:pt x="1631" y="1705"/>
                  </a:lnTo>
                  <a:lnTo>
                    <a:pt x="1612" y="1702"/>
                  </a:lnTo>
                  <a:lnTo>
                    <a:pt x="1595" y="1699"/>
                  </a:lnTo>
                  <a:lnTo>
                    <a:pt x="1586" y="1699"/>
                  </a:lnTo>
                  <a:lnTo>
                    <a:pt x="1579" y="1700"/>
                  </a:lnTo>
                  <a:lnTo>
                    <a:pt x="1581" y="1711"/>
                  </a:lnTo>
                  <a:lnTo>
                    <a:pt x="1582" y="1721"/>
                  </a:lnTo>
                  <a:lnTo>
                    <a:pt x="1585" y="1731"/>
                  </a:lnTo>
                  <a:lnTo>
                    <a:pt x="1588" y="1741"/>
                  </a:lnTo>
                  <a:lnTo>
                    <a:pt x="1593" y="1751"/>
                  </a:lnTo>
                  <a:lnTo>
                    <a:pt x="1598" y="1760"/>
                  </a:lnTo>
                  <a:lnTo>
                    <a:pt x="1601" y="1765"/>
                  </a:lnTo>
                  <a:lnTo>
                    <a:pt x="1602" y="1769"/>
                  </a:lnTo>
                  <a:lnTo>
                    <a:pt x="1603" y="1773"/>
                  </a:lnTo>
                  <a:lnTo>
                    <a:pt x="1603" y="1780"/>
                  </a:lnTo>
                  <a:lnTo>
                    <a:pt x="1603" y="1787"/>
                  </a:lnTo>
                  <a:lnTo>
                    <a:pt x="1602" y="1793"/>
                  </a:lnTo>
                  <a:lnTo>
                    <a:pt x="1601" y="1800"/>
                  </a:lnTo>
                  <a:lnTo>
                    <a:pt x="1598" y="1806"/>
                  </a:lnTo>
                  <a:lnTo>
                    <a:pt x="1598" y="1806"/>
                  </a:lnTo>
                  <a:lnTo>
                    <a:pt x="1606" y="1818"/>
                  </a:lnTo>
                  <a:lnTo>
                    <a:pt x="1613" y="1828"/>
                  </a:lnTo>
                  <a:lnTo>
                    <a:pt x="1621" y="1837"/>
                  </a:lnTo>
                  <a:lnTo>
                    <a:pt x="1629" y="1845"/>
                  </a:lnTo>
                  <a:lnTo>
                    <a:pt x="1647" y="1860"/>
                  </a:lnTo>
                  <a:lnTo>
                    <a:pt x="1665" y="1879"/>
                  </a:lnTo>
                  <a:lnTo>
                    <a:pt x="1673" y="1890"/>
                  </a:lnTo>
                  <a:lnTo>
                    <a:pt x="1678" y="1900"/>
                  </a:lnTo>
                  <a:lnTo>
                    <a:pt x="1682" y="1910"/>
                  </a:lnTo>
                  <a:lnTo>
                    <a:pt x="1684" y="1921"/>
                  </a:lnTo>
                  <a:lnTo>
                    <a:pt x="1688" y="1931"/>
                  </a:lnTo>
                  <a:lnTo>
                    <a:pt x="1690" y="1942"/>
                  </a:lnTo>
                  <a:lnTo>
                    <a:pt x="1694" y="1953"/>
                  </a:lnTo>
                  <a:lnTo>
                    <a:pt x="1699" y="1965"/>
                  </a:lnTo>
                  <a:lnTo>
                    <a:pt x="1711" y="1986"/>
                  </a:lnTo>
                  <a:lnTo>
                    <a:pt x="1723" y="2004"/>
                  </a:lnTo>
                  <a:lnTo>
                    <a:pt x="1734" y="2023"/>
                  </a:lnTo>
                  <a:lnTo>
                    <a:pt x="1745" y="2044"/>
                  </a:lnTo>
                  <a:lnTo>
                    <a:pt x="1750" y="2056"/>
                  </a:lnTo>
                  <a:lnTo>
                    <a:pt x="1755" y="2067"/>
                  </a:lnTo>
                  <a:lnTo>
                    <a:pt x="1760" y="2080"/>
                  </a:lnTo>
                  <a:lnTo>
                    <a:pt x="1762" y="2092"/>
                  </a:lnTo>
                  <a:lnTo>
                    <a:pt x="1764" y="2102"/>
                  </a:lnTo>
                  <a:lnTo>
                    <a:pt x="1765" y="2111"/>
                  </a:lnTo>
                  <a:lnTo>
                    <a:pt x="1766" y="2116"/>
                  </a:lnTo>
                  <a:lnTo>
                    <a:pt x="1769" y="2118"/>
                  </a:lnTo>
                  <a:lnTo>
                    <a:pt x="1772" y="2121"/>
                  </a:lnTo>
                  <a:lnTo>
                    <a:pt x="1776" y="2121"/>
                  </a:lnTo>
                  <a:lnTo>
                    <a:pt x="1793" y="2120"/>
                  </a:lnTo>
                  <a:lnTo>
                    <a:pt x="1810" y="2117"/>
                  </a:lnTo>
                  <a:lnTo>
                    <a:pt x="1826" y="2113"/>
                  </a:lnTo>
                  <a:lnTo>
                    <a:pt x="1839" y="2108"/>
                  </a:lnTo>
                  <a:lnTo>
                    <a:pt x="1854" y="2103"/>
                  </a:lnTo>
                  <a:lnTo>
                    <a:pt x="1869" y="2100"/>
                  </a:lnTo>
                  <a:lnTo>
                    <a:pt x="1885" y="2097"/>
                  </a:lnTo>
                  <a:lnTo>
                    <a:pt x="1903" y="2096"/>
                  </a:lnTo>
                  <a:lnTo>
                    <a:pt x="1915" y="2096"/>
                  </a:lnTo>
                  <a:lnTo>
                    <a:pt x="1928" y="2100"/>
                  </a:lnTo>
                  <a:lnTo>
                    <a:pt x="1937" y="2103"/>
                  </a:lnTo>
                  <a:lnTo>
                    <a:pt x="1947" y="2108"/>
                  </a:lnTo>
                  <a:lnTo>
                    <a:pt x="1967" y="2120"/>
                  </a:lnTo>
                  <a:lnTo>
                    <a:pt x="1990" y="2132"/>
                  </a:lnTo>
                  <a:lnTo>
                    <a:pt x="2008" y="2141"/>
                  </a:lnTo>
                  <a:lnTo>
                    <a:pt x="2024" y="2149"/>
                  </a:lnTo>
                  <a:lnTo>
                    <a:pt x="2041" y="2156"/>
                  </a:lnTo>
                  <a:lnTo>
                    <a:pt x="2057" y="2161"/>
                  </a:lnTo>
                  <a:lnTo>
                    <a:pt x="2074" y="2164"/>
                  </a:lnTo>
                  <a:lnTo>
                    <a:pt x="2090" y="2167"/>
                  </a:lnTo>
                  <a:lnTo>
                    <a:pt x="2109" y="2169"/>
                  </a:lnTo>
                  <a:lnTo>
                    <a:pt x="2129" y="2169"/>
                  </a:lnTo>
                  <a:lnTo>
                    <a:pt x="2144" y="2169"/>
                  </a:lnTo>
                  <a:lnTo>
                    <a:pt x="2156" y="2167"/>
                  </a:lnTo>
                  <a:lnTo>
                    <a:pt x="2169" y="2163"/>
                  </a:lnTo>
                  <a:lnTo>
                    <a:pt x="2181" y="2159"/>
                  </a:lnTo>
                  <a:lnTo>
                    <a:pt x="2192" y="2156"/>
                  </a:lnTo>
                  <a:lnTo>
                    <a:pt x="2205" y="2153"/>
                  </a:lnTo>
                  <a:lnTo>
                    <a:pt x="2218" y="2151"/>
                  </a:lnTo>
                  <a:lnTo>
                    <a:pt x="2232" y="2149"/>
                  </a:lnTo>
                  <a:lnTo>
                    <a:pt x="2277" y="2149"/>
                  </a:lnTo>
                  <a:lnTo>
                    <a:pt x="2280" y="2168"/>
                  </a:lnTo>
                  <a:lnTo>
                    <a:pt x="2284" y="2184"/>
                  </a:lnTo>
                  <a:lnTo>
                    <a:pt x="2288" y="2199"/>
                  </a:lnTo>
                  <a:lnTo>
                    <a:pt x="2291" y="2214"/>
                  </a:lnTo>
                  <a:lnTo>
                    <a:pt x="2295" y="2227"/>
                  </a:lnTo>
                  <a:lnTo>
                    <a:pt x="2299" y="2244"/>
                  </a:lnTo>
                  <a:lnTo>
                    <a:pt x="2303" y="2260"/>
                  </a:lnTo>
                  <a:lnTo>
                    <a:pt x="2305" y="2277"/>
                  </a:lnTo>
                  <a:lnTo>
                    <a:pt x="2305" y="2296"/>
                  </a:lnTo>
                  <a:lnTo>
                    <a:pt x="2304" y="2313"/>
                  </a:lnTo>
                  <a:lnTo>
                    <a:pt x="2304" y="2322"/>
                  </a:lnTo>
                  <a:lnTo>
                    <a:pt x="2305" y="2329"/>
                  </a:lnTo>
                  <a:lnTo>
                    <a:pt x="2306" y="2338"/>
                  </a:lnTo>
                  <a:lnTo>
                    <a:pt x="2311" y="2345"/>
                  </a:lnTo>
                  <a:lnTo>
                    <a:pt x="2318" y="2352"/>
                  </a:lnTo>
                  <a:lnTo>
                    <a:pt x="2324" y="2356"/>
                  </a:lnTo>
                  <a:lnTo>
                    <a:pt x="2331" y="2360"/>
                  </a:lnTo>
                  <a:lnTo>
                    <a:pt x="2339" y="2364"/>
                  </a:lnTo>
                  <a:lnTo>
                    <a:pt x="2346" y="2368"/>
                  </a:lnTo>
                  <a:lnTo>
                    <a:pt x="2351" y="2371"/>
                  </a:lnTo>
                  <a:lnTo>
                    <a:pt x="2354" y="2374"/>
                  </a:lnTo>
                  <a:lnTo>
                    <a:pt x="2356" y="2378"/>
                  </a:lnTo>
                  <a:lnTo>
                    <a:pt x="2356" y="2381"/>
                  </a:lnTo>
                  <a:lnTo>
                    <a:pt x="2357" y="2385"/>
                  </a:lnTo>
                  <a:lnTo>
                    <a:pt x="2357" y="2420"/>
                  </a:lnTo>
                  <a:lnTo>
                    <a:pt x="2344" y="2422"/>
                  </a:lnTo>
                  <a:lnTo>
                    <a:pt x="2331" y="2425"/>
                  </a:lnTo>
                  <a:lnTo>
                    <a:pt x="2326" y="2427"/>
                  </a:lnTo>
                  <a:lnTo>
                    <a:pt x="2321" y="2430"/>
                  </a:lnTo>
                  <a:lnTo>
                    <a:pt x="2318" y="2435"/>
                  </a:lnTo>
                  <a:lnTo>
                    <a:pt x="2314" y="2440"/>
                  </a:lnTo>
                  <a:lnTo>
                    <a:pt x="2310" y="2451"/>
                  </a:lnTo>
                  <a:lnTo>
                    <a:pt x="2308" y="2461"/>
                  </a:lnTo>
                  <a:lnTo>
                    <a:pt x="2308" y="2472"/>
                  </a:lnTo>
                  <a:lnTo>
                    <a:pt x="2308" y="2482"/>
                  </a:lnTo>
                  <a:lnTo>
                    <a:pt x="2308" y="2492"/>
                  </a:lnTo>
                  <a:lnTo>
                    <a:pt x="2308" y="2502"/>
                  </a:lnTo>
                  <a:lnTo>
                    <a:pt x="2308" y="2513"/>
                  </a:lnTo>
                  <a:lnTo>
                    <a:pt x="2305" y="2525"/>
                  </a:lnTo>
                  <a:lnTo>
                    <a:pt x="2329" y="2529"/>
                  </a:lnTo>
                  <a:lnTo>
                    <a:pt x="2351" y="2531"/>
                  </a:lnTo>
                  <a:lnTo>
                    <a:pt x="2361" y="2533"/>
                  </a:lnTo>
                  <a:lnTo>
                    <a:pt x="2370" y="2536"/>
                  </a:lnTo>
                  <a:lnTo>
                    <a:pt x="2375" y="2539"/>
                  </a:lnTo>
                  <a:lnTo>
                    <a:pt x="2378" y="2543"/>
                  </a:lnTo>
                  <a:lnTo>
                    <a:pt x="2382" y="2546"/>
                  </a:lnTo>
                  <a:lnTo>
                    <a:pt x="2386" y="2550"/>
                  </a:lnTo>
                  <a:lnTo>
                    <a:pt x="2388" y="2556"/>
                  </a:lnTo>
                  <a:lnTo>
                    <a:pt x="2390" y="2562"/>
                  </a:lnTo>
                  <a:lnTo>
                    <a:pt x="2390" y="2567"/>
                  </a:lnTo>
                  <a:lnTo>
                    <a:pt x="2388" y="2574"/>
                  </a:lnTo>
                  <a:lnTo>
                    <a:pt x="2386" y="2586"/>
                  </a:lnTo>
                  <a:lnTo>
                    <a:pt x="2386" y="2598"/>
                  </a:lnTo>
                  <a:lnTo>
                    <a:pt x="2387" y="2610"/>
                  </a:lnTo>
                  <a:lnTo>
                    <a:pt x="2390" y="2621"/>
                  </a:lnTo>
                  <a:lnTo>
                    <a:pt x="2393" y="2631"/>
                  </a:lnTo>
                  <a:lnTo>
                    <a:pt x="2397" y="2641"/>
                  </a:lnTo>
                  <a:lnTo>
                    <a:pt x="2402" y="2648"/>
                  </a:lnTo>
                  <a:lnTo>
                    <a:pt x="2408" y="2657"/>
                  </a:lnTo>
                  <a:lnTo>
                    <a:pt x="2416" y="2664"/>
                  </a:lnTo>
                  <a:lnTo>
                    <a:pt x="2426" y="2670"/>
                  </a:lnTo>
                  <a:lnTo>
                    <a:pt x="2434" y="2674"/>
                  </a:lnTo>
                  <a:lnTo>
                    <a:pt x="2442" y="2677"/>
                  </a:lnTo>
                  <a:lnTo>
                    <a:pt x="2450" y="2678"/>
                  </a:lnTo>
                  <a:lnTo>
                    <a:pt x="2459" y="2678"/>
                  </a:lnTo>
                  <a:lnTo>
                    <a:pt x="2477" y="2678"/>
                  </a:lnTo>
                  <a:lnTo>
                    <a:pt x="2496" y="2679"/>
                  </a:lnTo>
                  <a:lnTo>
                    <a:pt x="2514" y="2681"/>
                  </a:lnTo>
                  <a:lnTo>
                    <a:pt x="2530" y="2685"/>
                  </a:lnTo>
                  <a:lnTo>
                    <a:pt x="2545" y="2690"/>
                  </a:lnTo>
                  <a:lnTo>
                    <a:pt x="2558" y="2696"/>
                  </a:lnTo>
                  <a:lnTo>
                    <a:pt x="2573" y="2701"/>
                  </a:lnTo>
                  <a:lnTo>
                    <a:pt x="2588" y="2705"/>
                  </a:lnTo>
                  <a:lnTo>
                    <a:pt x="2603" y="2709"/>
                  </a:lnTo>
                  <a:lnTo>
                    <a:pt x="2622" y="2710"/>
                  </a:lnTo>
                  <a:lnTo>
                    <a:pt x="2631" y="2709"/>
                  </a:lnTo>
                  <a:lnTo>
                    <a:pt x="2638" y="2708"/>
                  </a:lnTo>
                  <a:lnTo>
                    <a:pt x="2644" y="2705"/>
                  </a:lnTo>
                  <a:lnTo>
                    <a:pt x="2650" y="2701"/>
                  </a:lnTo>
                  <a:lnTo>
                    <a:pt x="2655" y="2696"/>
                  </a:lnTo>
                  <a:lnTo>
                    <a:pt x="2660" y="2691"/>
                  </a:lnTo>
                  <a:lnTo>
                    <a:pt x="2665" y="2685"/>
                  </a:lnTo>
                  <a:lnTo>
                    <a:pt x="2669" y="2679"/>
                  </a:lnTo>
                  <a:lnTo>
                    <a:pt x="2678" y="2665"/>
                  </a:lnTo>
                  <a:lnTo>
                    <a:pt x="2688" y="2652"/>
                  </a:lnTo>
                  <a:lnTo>
                    <a:pt x="2693" y="2646"/>
                  </a:lnTo>
                  <a:lnTo>
                    <a:pt x="2698" y="2639"/>
                  </a:lnTo>
                  <a:lnTo>
                    <a:pt x="2704" y="2633"/>
                  </a:lnTo>
                  <a:lnTo>
                    <a:pt x="2710" y="2627"/>
                  </a:lnTo>
                  <a:lnTo>
                    <a:pt x="2726" y="2616"/>
                  </a:lnTo>
                  <a:lnTo>
                    <a:pt x="2741" y="2607"/>
                  </a:lnTo>
                  <a:lnTo>
                    <a:pt x="2756" y="2598"/>
                  </a:lnTo>
                  <a:lnTo>
                    <a:pt x="2771" y="2592"/>
                  </a:lnTo>
                  <a:lnTo>
                    <a:pt x="2787" y="2586"/>
                  </a:lnTo>
                  <a:lnTo>
                    <a:pt x="2803" y="2580"/>
                  </a:lnTo>
                  <a:lnTo>
                    <a:pt x="2821" y="2575"/>
                  </a:lnTo>
                  <a:lnTo>
                    <a:pt x="2840" y="2570"/>
                  </a:lnTo>
                  <a:lnTo>
                    <a:pt x="2857" y="2566"/>
                  </a:lnTo>
                  <a:lnTo>
                    <a:pt x="2869" y="2559"/>
                  </a:lnTo>
                  <a:lnTo>
                    <a:pt x="2881" y="2551"/>
                  </a:lnTo>
                  <a:lnTo>
                    <a:pt x="2891" y="2544"/>
                  </a:lnTo>
                  <a:lnTo>
                    <a:pt x="2903" y="2535"/>
                  </a:lnTo>
                  <a:lnTo>
                    <a:pt x="2914" y="2528"/>
                  </a:lnTo>
                  <a:lnTo>
                    <a:pt x="2926" y="2520"/>
                  </a:lnTo>
                  <a:lnTo>
                    <a:pt x="2941" y="2514"/>
                  </a:lnTo>
                  <a:lnTo>
                    <a:pt x="2960" y="2505"/>
                  </a:lnTo>
                  <a:lnTo>
                    <a:pt x="2976" y="2498"/>
                  </a:lnTo>
                  <a:lnTo>
                    <a:pt x="2992" y="2489"/>
                  </a:lnTo>
                  <a:lnTo>
                    <a:pt x="3006" y="2481"/>
                  </a:lnTo>
                  <a:lnTo>
                    <a:pt x="3034" y="2462"/>
                  </a:lnTo>
                  <a:lnTo>
                    <a:pt x="3069" y="2442"/>
                  </a:lnTo>
                  <a:lnTo>
                    <a:pt x="3069" y="2442"/>
                  </a:lnTo>
                  <a:lnTo>
                    <a:pt x="3085" y="2423"/>
                  </a:lnTo>
                  <a:lnTo>
                    <a:pt x="3099" y="2406"/>
                  </a:lnTo>
                  <a:lnTo>
                    <a:pt x="3106" y="2399"/>
                  </a:lnTo>
                  <a:lnTo>
                    <a:pt x="3115" y="2394"/>
                  </a:lnTo>
                  <a:lnTo>
                    <a:pt x="3120" y="2391"/>
                  </a:lnTo>
                  <a:lnTo>
                    <a:pt x="3125" y="2390"/>
                  </a:lnTo>
                  <a:lnTo>
                    <a:pt x="3131" y="2389"/>
                  </a:lnTo>
                  <a:lnTo>
                    <a:pt x="3137" y="2389"/>
                  </a:lnTo>
                  <a:lnTo>
                    <a:pt x="3150" y="2389"/>
                  </a:lnTo>
                  <a:lnTo>
                    <a:pt x="3161" y="2391"/>
                  </a:lnTo>
                  <a:lnTo>
                    <a:pt x="3171" y="2395"/>
                  </a:lnTo>
                  <a:lnTo>
                    <a:pt x="3182" y="2399"/>
                  </a:lnTo>
                  <a:lnTo>
                    <a:pt x="3192" y="2402"/>
                  </a:lnTo>
                  <a:lnTo>
                    <a:pt x="3202" y="2405"/>
                  </a:lnTo>
                  <a:lnTo>
                    <a:pt x="3213" y="2407"/>
                  </a:lnTo>
                  <a:lnTo>
                    <a:pt x="3225" y="2409"/>
                  </a:lnTo>
                  <a:lnTo>
                    <a:pt x="3295" y="2409"/>
                  </a:lnTo>
                  <a:lnTo>
                    <a:pt x="3311" y="2410"/>
                  </a:lnTo>
                  <a:lnTo>
                    <a:pt x="3324" y="2412"/>
                  </a:lnTo>
                  <a:lnTo>
                    <a:pt x="3336" y="2416"/>
                  </a:lnTo>
                  <a:lnTo>
                    <a:pt x="3347" y="2422"/>
                  </a:lnTo>
                  <a:lnTo>
                    <a:pt x="3370" y="2436"/>
                  </a:lnTo>
                  <a:lnTo>
                    <a:pt x="3396" y="2451"/>
                  </a:lnTo>
                  <a:lnTo>
                    <a:pt x="3396" y="2395"/>
                  </a:lnTo>
                  <a:lnTo>
                    <a:pt x="3396" y="2378"/>
                  </a:lnTo>
                  <a:lnTo>
                    <a:pt x="3397" y="2363"/>
                  </a:lnTo>
                  <a:lnTo>
                    <a:pt x="3398" y="2356"/>
                  </a:lnTo>
                  <a:lnTo>
                    <a:pt x="3401" y="2349"/>
                  </a:lnTo>
                  <a:lnTo>
                    <a:pt x="3403" y="2342"/>
                  </a:lnTo>
                  <a:lnTo>
                    <a:pt x="3407" y="2334"/>
                  </a:lnTo>
                  <a:lnTo>
                    <a:pt x="3412" y="2329"/>
                  </a:lnTo>
                  <a:lnTo>
                    <a:pt x="3415" y="2324"/>
                  </a:lnTo>
                  <a:lnTo>
                    <a:pt x="3420" y="2321"/>
                  </a:lnTo>
                  <a:lnTo>
                    <a:pt x="3427" y="2318"/>
                  </a:lnTo>
                  <a:lnTo>
                    <a:pt x="3438" y="2314"/>
                  </a:lnTo>
                  <a:lnTo>
                    <a:pt x="3450" y="2313"/>
                  </a:lnTo>
                  <a:lnTo>
                    <a:pt x="3476" y="2316"/>
                  </a:lnTo>
                  <a:lnTo>
                    <a:pt x="3506" y="2317"/>
                  </a:lnTo>
                  <a:lnTo>
                    <a:pt x="3524" y="2317"/>
                  </a:lnTo>
                  <a:lnTo>
                    <a:pt x="3538" y="2314"/>
                  </a:lnTo>
                  <a:lnTo>
                    <a:pt x="3546" y="2314"/>
                  </a:lnTo>
                  <a:lnTo>
                    <a:pt x="3553" y="2316"/>
                  </a:lnTo>
                  <a:lnTo>
                    <a:pt x="3562" y="2317"/>
                  </a:lnTo>
                  <a:lnTo>
                    <a:pt x="3569" y="2321"/>
                  </a:lnTo>
                  <a:lnTo>
                    <a:pt x="3581" y="2328"/>
                  </a:lnTo>
                  <a:lnTo>
                    <a:pt x="3591" y="2335"/>
                  </a:lnTo>
                  <a:lnTo>
                    <a:pt x="3598" y="2344"/>
                  </a:lnTo>
                  <a:lnTo>
                    <a:pt x="3605" y="2354"/>
                  </a:lnTo>
                  <a:lnTo>
                    <a:pt x="3612" y="2364"/>
                  </a:lnTo>
                  <a:lnTo>
                    <a:pt x="3619" y="2373"/>
                  </a:lnTo>
                  <a:lnTo>
                    <a:pt x="3628" y="2383"/>
                  </a:lnTo>
                  <a:lnTo>
                    <a:pt x="3638" y="2391"/>
                  </a:lnTo>
                  <a:lnTo>
                    <a:pt x="3655" y="2404"/>
                  </a:lnTo>
                  <a:lnTo>
                    <a:pt x="3671" y="2414"/>
                  </a:lnTo>
                  <a:lnTo>
                    <a:pt x="3687" y="2421"/>
                  </a:lnTo>
                  <a:lnTo>
                    <a:pt x="3704" y="2428"/>
                  </a:lnTo>
                  <a:lnTo>
                    <a:pt x="3720" y="2433"/>
                  </a:lnTo>
                  <a:lnTo>
                    <a:pt x="3737" y="2437"/>
                  </a:lnTo>
                  <a:lnTo>
                    <a:pt x="3757" y="2438"/>
                  </a:lnTo>
                  <a:lnTo>
                    <a:pt x="3777" y="2440"/>
                  </a:lnTo>
                  <a:lnTo>
                    <a:pt x="3788" y="2440"/>
                  </a:lnTo>
                  <a:lnTo>
                    <a:pt x="3797" y="2438"/>
                  </a:lnTo>
                  <a:lnTo>
                    <a:pt x="3805" y="2436"/>
                  </a:lnTo>
                  <a:lnTo>
                    <a:pt x="3814" y="2433"/>
                  </a:lnTo>
                  <a:lnTo>
                    <a:pt x="3830" y="2427"/>
                  </a:lnTo>
                  <a:lnTo>
                    <a:pt x="3846" y="2420"/>
                  </a:lnTo>
                  <a:lnTo>
                    <a:pt x="3861" y="2412"/>
                  </a:lnTo>
                  <a:lnTo>
                    <a:pt x="3877" y="2406"/>
                  </a:lnTo>
                  <a:lnTo>
                    <a:pt x="3886" y="2404"/>
                  </a:lnTo>
                  <a:lnTo>
                    <a:pt x="3895" y="2401"/>
                  </a:lnTo>
                  <a:lnTo>
                    <a:pt x="3905" y="2400"/>
                  </a:lnTo>
                  <a:lnTo>
                    <a:pt x="3915" y="2400"/>
                  </a:lnTo>
                  <a:lnTo>
                    <a:pt x="4028" y="2400"/>
                  </a:lnTo>
                  <a:lnTo>
                    <a:pt x="4048" y="2399"/>
                  </a:lnTo>
                  <a:lnTo>
                    <a:pt x="4066" y="2397"/>
                  </a:lnTo>
                  <a:lnTo>
                    <a:pt x="4085" y="2395"/>
                  </a:lnTo>
                  <a:lnTo>
                    <a:pt x="4106" y="2394"/>
                  </a:lnTo>
                  <a:lnTo>
                    <a:pt x="4121" y="2394"/>
                  </a:lnTo>
                  <a:lnTo>
                    <a:pt x="4135" y="2392"/>
                  </a:lnTo>
                  <a:lnTo>
                    <a:pt x="4147" y="2392"/>
                  </a:lnTo>
                  <a:lnTo>
                    <a:pt x="4162" y="2394"/>
                  </a:lnTo>
                  <a:lnTo>
                    <a:pt x="4167" y="2396"/>
                  </a:lnTo>
                  <a:lnTo>
                    <a:pt x="4172" y="2399"/>
                  </a:lnTo>
                  <a:lnTo>
                    <a:pt x="4177" y="2402"/>
                  </a:lnTo>
                  <a:lnTo>
                    <a:pt x="4181" y="2407"/>
                  </a:lnTo>
                  <a:lnTo>
                    <a:pt x="4184" y="2411"/>
                  </a:lnTo>
                  <a:lnTo>
                    <a:pt x="4189" y="2414"/>
                  </a:lnTo>
                  <a:lnTo>
                    <a:pt x="4194" y="2416"/>
                  </a:lnTo>
                  <a:lnTo>
                    <a:pt x="4199" y="2417"/>
                  </a:lnTo>
                  <a:lnTo>
                    <a:pt x="4287" y="2417"/>
                  </a:lnTo>
                  <a:lnTo>
                    <a:pt x="4292" y="2425"/>
                  </a:lnTo>
                  <a:lnTo>
                    <a:pt x="4295" y="2433"/>
                  </a:lnTo>
                  <a:lnTo>
                    <a:pt x="4299" y="2441"/>
                  </a:lnTo>
                  <a:lnTo>
                    <a:pt x="4301" y="2448"/>
                  </a:lnTo>
                  <a:lnTo>
                    <a:pt x="4304" y="2457"/>
                  </a:lnTo>
                  <a:lnTo>
                    <a:pt x="4307" y="2464"/>
                  </a:lnTo>
                  <a:lnTo>
                    <a:pt x="4312" y="2471"/>
                  </a:lnTo>
                  <a:lnTo>
                    <a:pt x="4318" y="2477"/>
                  </a:lnTo>
                  <a:lnTo>
                    <a:pt x="4335" y="2487"/>
                  </a:lnTo>
                  <a:lnTo>
                    <a:pt x="4349" y="2495"/>
                  </a:lnTo>
                  <a:lnTo>
                    <a:pt x="4366" y="2502"/>
                  </a:lnTo>
                  <a:lnTo>
                    <a:pt x="4381" y="2507"/>
                  </a:lnTo>
                  <a:lnTo>
                    <a:pt x="4413" y="2515"/>
                  </a:lnTo>
                  <a:lnTo>
                    <a:pt x="4449" y="2528"/>
                  </a:lnTo>
                  <a:lnTo>
                    <a:pt x="4449" y="2528"/>
                  </a:lnTo>
                  <a:lnTo>
                    <a:pt x="4450" y="2518"/>
                  </a:lnTo>
                  <a:lnTo>
                    <a:pt x="4453" y="2510"/>
                  </a:lnTo>
                  <a:lnTo>
                    <a:pt x="4456" y="2503"/>
                  </a:lnTo>
                  <a:lnTo>
                    <a:pt x="4461" y="2495"/>
                  </a:lnTo>
                  <a:lnTo>
                    <a:pt x="4470" y="2483"/>
                  </a:lnTo>
                  <a:lnTo>
                    <a:pt x="4480" y="2471"/>
                  </a:lnTo>
                  <a:lnTo>
                    <a:pt x="4490" y="2459"/>
                  </a:lnTo>
                  <a:lnTo>
                    <a:pt x="4498" y="2446"/>
                  </a:lnTo>
                  <a:lnTo>
                    <a:pt x="4501" y="2440"/>
                  </a:lnTo>
                  <a:lnTo>
                    <a:pt x="4503" y="2432"/>
                  </a:lnTo>
                  <a:lnTo>
                    <a:pt x="4506" y="2423"/>
                  </a:lnTo>
                  <a:lnTo>
                    <a:pt x="4506" y="2415"/>
                  </a:lnTo>
                  <a:lnTo>
                    <a:pt x="4506" y="2354"/>
                  </a:lnTo>
                  <a:lnTo>
                    <a:pt x="4507" y="2350"/>
                  </a:lnTo>
                  <a:lnTo>
                    <a:pt x="4507" y="2347"/>
                  </a:lnTo>
                  <a:lnTo>
                    <a:pt x="4510" y="2344"/>
                  </a:lnTo>
                  <a:lnTo>
                    <a:pt x="4511" y="2342"/>
                  </a:lnTo>
                  <a:lnTo>
                    <a:pt x="4517" y="2338"/>
                  </a:lnTo>
                  <a:lnTo>
                    <a:pt x="4523" y="2334"/>
                  </a:lnTo>
                  <a:lnTo>
                    <a:pt x="4530" y="2330"/>
                  </a:lnTo>
                  <a:lnTo>
                    <a:pt x="4535" y="2327"/>
                  </a:lnTo>
                  <a:lnTo>
                    <a:pt x="4537" y="2324"/>
                  </a:lnTo>
                  <a:lnTo>
                    <a:pt x="4539" y="2321"/>
                  </a:lnTo>
                  <a:lnTo>
                    <a:pt x="4539" y="2318"/>
                  </a:lnTo>
                  <a:lnTo>
                    <a:pt x="4541" y="2314"/>
                  </a:lnTo>
                  <a:lnTo>
                    <a:pt x="4539" y="2307"/>
                  </a:lnTo>
                  <a:lnTo>
                    <a:pt x="4537" y="2299"/>
                  </a:lnTo>
                  <a:lnTo>
                    <a:pt x="4535" y="2293"/>
                  </a:lnTo>
                  <a:lnTo>
                    <a:pt x="4531" y="2287"/>
                  </a:lnTo>
                  <a:lnTo>
                    <a:pt x="4522" y="2275"/>
                  </a:lnTo>
                  <a:lnTo>
                    <a:pt x="4515" y="2261"/>
                  </a:lnTo>
                  <a:lnTo>
                    <a:pt x="4511" y="2249"/>
                  </a:lnTo>
                  <a:lnTo>
                    <a:pt x="4508" y="2237"/>
                  </a:lnTo>
                  <a:lnTo>
                    <a:pt x="4507" y="2226"/>
                  </a:lnTo>
                  <a:lnTo>
                    <a:pt x="4506" y="2216"/>
                  </a:lnTo>
                  <a:lnTo>
                    <a:pt x="4506" y="2194"/>
                  </a:lnTo>
                  <a:lnTo>
                    <a:pt x="4506" y="2169"/>
                  </a:lnTo>
                  <a:lnTo>
                    <a:pt x="4507" y="2143"/>
                  </a:lnTo>
                  <a:lnTo>
                    <a:pt x="4511" y="2120"/>
                  </a:lnTo>
                  <a:lnTo>
                    <a:pt x="4513" y="2096"/>
                  </a:lnTo>
                  <a:lnTo>
                    <a:pt x="4515" y="2070"/>
                  </a:lnTo>
                  <a:lnTo>
                    <a:pt x="4515" y="2065"/>
                  </a:lnTo>
                  <a:lnTo>
                    <a:pt x="4512" y="2060"/>
                  </a:lnTo>
                  <a:lnTo>
                    <a:pt x="4510" y="2056"/>
                  </a:lnTo>
                  <a:lnTo>
                    <a:pt x="4506" y="2054"/>
                  </a:lnTo>
                  <a:lnTo>
                    <a:pt x="4501" y="2050"/>
                  </a:lnTo>
                  <a:lnTo>
                    <a:pt x="4496" y="2049"/>
                  </a:lnTo>
                  <a:lnTo>
                    <a:pt x="4491" y="2048"/>
                  </a:lnTo>
                  <a:lnTo>
                    <a:pt x="4486" y="2048"/>
                  </a:lnTo>
                  <a:lnTo>
                    <a:pt x="4426" y="2048"/>
                  </a:lnTo>
                  <a:lnTo>
                    <a:pt x="4423" y="2044"/>
                  </a:lnTo>
                  <a:lnTo>
                    <a:pt x="4418" y="2041"/>
                  </a:lnTo>
                  <a:lnTo>
                    <a:pt x="4415" y="2040"/>
                  </a:lnTo>
                  <a:lnTo>
                    <a:pt x="4414" y="2038"/>
                  </a:lnTo>
                  <a:lnTo>
                    <a:pt x="4413" y="2035"/>
                  </a:lnTo>
                  <a:lnTo>
                    <a:pt x="4413" y="2033"/>
                  </a:lnTo>
                  <a:lnTo>
                    <a:pt x="4413" y="2029"/>
                  </a:lnTo>
                  <a:lnTo>
                    <a:pt x="4414" y="2025"/>
                  </a:lnTo>
                  <a:lnTo>
                    <a:pt x="4415" y="2023"/>
                  </a:lnTo>
                  <a:lnTo>
                    <a:pt x="4418" y="2020"/>
                  </a:lnTo>
                  <a:lnTo>
                    <a:pt x="4423" y="2017"/>
                  </a:lnTo>
                  <a:lnTo>
                    <a:pt x="4430" y="2014"/>
                  </a:lnTo>
                  <a:lnTo>
                    <a:pt x="4449" y="2012"/>
                  </a:lnTo>
                  <a:lnTo>
                    <a:pt x="4466" y="2010"/>
                  </a:lnTo>
                  <a:lnTo>
                    <a:pt x="4482" y="2008"/>
                  </a:lnTo>
                  <a:lnTo>
                    <a:pt x="4495" y="2007"/>
                  </a:lnTo>
                  <a:lnTo>
                    <a:pt x="4508" y="2003"/>
                  </a:lnTo>
                  <a:lnTo>
                    <a:pt x="4523" y="1999"/>
                  </a:lnTo>
                  <a:lnTo>
                    <a:pt x="4548" y="1992"/>
                  </a:lnTo>
                  <a:lnTo>
                    <a:pt x="4571" y="1987"/>
                  </a:lnTo>
                  <a:lnTo>
                    <a:pt x="4593" y="1983"/>
                  </a:lnTo>
                  <a:lnTo>
                    <a:pt x="4618" y="1976"/>
                  </a:lnTo>
                  <a:lnTo>
                    <a:pt x="4628" y="1971"/>
                  </a:lnTo>
                  <a:lnTo>
                    <a:pt x="4636" y="1965"/>
                  </a:lnTo>
                  <a:lnTo>
                    <a:pt x="4641" y="1961"/>
                  </a:lnTo>
                  <a:lnTo>
                    <a:pt x="4646" y="1958"/>
                  </a:lnTo>
                  <a:lnTo>
                    <a:pt x="4651" y="1957"/>
                  </a:lnTo>
                  <a:lnTo>
                    <a:pt x="4657" y="1956"/>
                  </a:lnTo>
                  <a:lnTo>
                    <a:pt x="4664" y="1957"/>
                  </a:lnTo>
                  <a:lnTo>
                    <a:pt x="4670" y="1960"/>
                  </a:lnTo>
                  <a:lnTo>
                    <a:pt x="4676" y="1962"/>
                  </a:lnTo>
                  <a:lnTo>
                    <a:pt x="4681" y="1965"/>
                  </a:lnTo>
                  <a:lnTo>
                    <a:pt x="4686" y="1968"/>
                  </a:lnTo>
                  <a:lnTo>
                    <a:pt x="4692" y="1971"/>
                  </a:lnTo>
                  <a:lnTo>
                    <a:pt x="4698" y="1973"/>
                  </a:lnTo>
                  <a:lnTo>
                    <a:pt x="4706" y="1973"/>
                  </a:lnTo>
                  <a:lnTo>
                    <a:pt x="4711" y="1973"/>
                  </a:lnTo>
                  <a:lnTo>
                    <a:pt x="4715" y="1972"/>
                  </a:lnTo>
                  <a:lnTo>
                    <a:pt x="4718" y="1969"/>
                  </a:lnTo>
                  <a:lnTo>
                    <a:pt x="4722" y="1967"/>
                  </a:lnTo>
                  <a:lnTo>
                    <a:pt x="4730" y="1961"/>
                  </a:lnTo>
                  <a:lnTo>
                    <a:pt x="4736" y="1953"/>
                  </a:lnTo>
                  <a:lnTo>
                    <a:pt x="4742" y="1946"/>
                  </a:lnTo>
                  <a:lnTo>
                    <a:pt x="4748" y="1940"/>
                  </a:lnTo>
                  <a:lnTo>
                    <a:pt x="4752" y="1937"/>
                  </a:lnTo>
                  <a:lnTo>
                    <a:pt x="4756" y="1935"/>
                  </a:lnTo>
                  <a:lnTo>
                    <a:pt x="4761" y="1934"/>
                  </a:lnTo>
                  <a:lnTo>
                    <a:pt x="4766" y="1934"/>
                  </a:lnTo>
                  <a:lnTo>
                    <a:pt x="4768" y="1934"/>
                  </a:lnTo>
                  <a:lnTo>
                    <a:pt x="4772" y="1935"/>
                  </a:lnTo>
                  <a:lnTo>
                    <a:pt x="4773" y="1937"/>
                  </a:lnTo>
                  <a:lnTo>
                    <a:pt x="4775" y="1938"/>
                  </a:lnTo>
                  <a:lnTo>
                    <a:pt x="4780" y="1943"/>
                  </a:lnTo>
                  <a:lnTo>
                    <a:pt x="4785" y="1947"/>
                  </a:lnTo>
                  <a:lnTo>
                    <a:pt x="4808" y="1931"/>
                  </a:lnTo>
                  <a:lnTo>
                    <a:pt x="4808" y="1894"/>
                  </a:lnTo>
                  <a:lnTo>
                    <a:pt x="4793" y="1894"/>
                  </a:lnTo>
                  <a:lnTo>
                    <a:pt x="4778" y="1891"/>
                  </a:lnTo>
                  <a:lnTo>
                    <a:pt x="4772" y="1889"/>
                  </a:lnTo>
                  <a:lnTo>
                    <a:pt x="4767" y="1885"/>
                  </a:lnTo>
                  <a:lnTo>
                    <a:pt x="4766" y="1883"/>
                  </a:lnTo>
                  <a:lnTo>
                    <a:pt x="4763" y="1880"/>
                  </a:lnTo>
                  <a:lnTo>
                    <a:pt x="4763" y="1878"/>
                  </a:lnTo>
                  <a:lnTo>
                    <a:pt x="4762" y="1874"/>
                  </a:lnTo>
                  <a:lnTo>
                    <a:pt x="4763" y="1865"/>
                  </a:lnTo>
                  <a:lnTo>
                    <a:pt x="4764" y="1858"/>
                  </a:lnTo>
                  <a:lnTo>
                    <a:pt x="4767" y="1850"/>
                  </a:lnTo>
                  <a:lnTo>
                    <a:pt x="4769" y="1843"/>
                  </a:lnTo>
                  <a:lnTo>
                    <a:pt x="4777" y="1829"/>
                  </a:lnTo>
                  <a:lnTo>
                    <a:pt x="4783" y="1814"/>
                  </a:lnTo>
                  <a:lnTo>
                    <a:pt x="4789" y="1787"/>
                  </a:lnTo>
                  <a:lnTo>
                    <a:pt x="4794" y="1762"/>
                  </a:lnTo>
                  <a:lnTo>
                    <a:pt x="4797" y="1738"/>
                  </a:lnTo>
                  <a:lnTo>
                    <a:pt x="4797" y="1709"/>
                  </a:lnTo>
                  <a:lnTo>
                    <a:pt x="4847" y="1709"/>
                  </a:lnTo>
                  <a:lnTo>
                    <a:pt x="4856" y="1713"/>
                  </a:lnTo>
                  <a:lnTo>
                    <a:pt x="4865" y="1715"/>
                  </a:lnTo>
                  <a:lnTo>
                    <a:pt x="4876" y="1714"/>
                  </a:lnTo>
                  <a:lnTo>
                    <a:pt x="4886" y="1710"/>
                  </a:lnTo>
                  <a:lnTo>
                    <a:pt x="4896" y="1705"/>
                  </a:lnTo>
                  <a:lnTo>
                    <a:pt x="4905" y="1700"/>
                  </a:lnTo>
                  <a:lnTo>
                    <a:pt x="4913" y="1695"/>
                  </a:lnTo>
                  <a:lnTo>
                    <a:pt x="4923" y="1690"/>
                  </a:lnTo>
                  <a:lnTo>
                    <a:pt x="4933" y="1688"/>
                  </a:lnTo>
                  <a:lnTo>
                    <a:pt x="4944" y="1687"/>
                  </a:lnTo>
                  <a:lnTo>
                    <a:pt x="4951" y="1687"/>
                  </a:lnTo>
                  <a:lnTo>
                    <a:pt x="4957" y="1688"/>
                  </a:lnTo>
                  <a:lnTo>
                    <a:pt x="4963" y="1689"/>
                  </a:lnTo>
                  <a:lnTo>
                    <a:pt x="4968" y="1692"/>
                  </a:lnTo>
                  <a:lnTo>
                    <a:pt x="4977" y="1698"/>
                  </a:lnTo>
                  <a:lnTo>
                    <a:pt x="4987" y="1705"/>
                  </a:lnTo>
                  <a:lnTo>
                    <a:pt x="4995" y="1711"/>
                  </a:lnTo>
                  <a:lnTo>
                    <a:pt x="5005" y="1718"/>
                  </a:lnTo>
                  <a:lnTo>
                    <a:pt x="5010" y="1720"/>
                  </a:lnTo>
                  <a:lnTo>
                    <a:pt x="5015" y="1721"/>
                  </a:lnTo>
                  <a:lnTo>
                    <a:pt x="5021" y="1723"/>
                  </a:lnTo>
                  <a:lnTo>
                    <a:pt x="5028" y="1723"/>
                  </a:lnTo>
                  <a:lnTo>
                    <a:pt x="5040" y="1721"/>
                  </a:lnTo>
                  <a:lnTo>
                    <a:pt x="5052" y="1720"/>
                  </a:lnTo>
                  <a:lnTo>
                    <a:pt x="5052" y="1702"/>
                  </a:lnTo>
                  <a:lnTo>
                    <a:pt x="5052" y="1684"/>
                  </a:lnTo>
                  <a:lnTo>
                    <a:pt x="5052" y="1675"/>
                  </a:lnTo>
                  <a:lnTo>
                    <a:pt x="5055" y="1668"/>
                  </a:lnTo>
                  <a:lnTo>
                    <a:pt x="5059" y="1659"/>
                  </a:lnTo>
                  <a:lnTo>
                    <a:pt x="5064" y="1652"/>
                  </a:lnTo>
                  <a:lnTo>
                    <a:pt x="5069" y="1647"/>
                  </a:lnTo>
                  <a:lnTo>
                    <a:pt x="5075" y="1642"/>
                  </a:lnTo>
                  <a:lnTo>
                    <a:pt x="5080" y="1638"/>
                  </a:lnTo>
                  <a:lnTo>
                    <a:pt x="5086" y="1635"/>
                  </a:lnTo>
                  <a:lnTo>
                    <a:pt x="5098" y="1628"/>
                  </a:lnTo>
                  <a:lnTo>
                    <a:pt x="5111" y="1623"/>
                  </a:lnTo>
                  <a:lnTo>
                    <a:pt x="5121" y="1616"/>
                  </a:lnTo>
                  <a:lnTo>
                    <a:pt x="5129" y="1609"/>
                  </a:lnTo>
                  <a:lnTo>
                    <a:pt x="5133" y="1605"/>
                  </a:lnTo>
                  <a:lnTo>
                    <a:pt x="5136" y="1600"/>
                  </a:lnTo>
                  <a:lnTo>
                    <a:pt x="5138" y="1594"/>
                  </a:lnTo>
                  <a:lnTo>
                    <a:pt x="5138" y="1586"/>
                  </a:lnTo>
                  <a:lnTo>
                    <a:pt x="5138" y="1579"/>
                  </a:lnTo>
                  <a:lnTo>
                    <a:pt x="5137" y="1571"/>
                  </a:lnTo>
                  <a:lnTo>
                    <a:pt x="5134" y="1565"/>
                  </a:lnTo>
                  <a:lnTo>
                    <a:pt x="5132" y="1559"/>
                  </a:lnTo>
                  <a:lnTo>
                    <a:pt x="5126" y="1546"/>
                  </a:lnTo>
                  <a:lnTo>
                    <a:pt x="5118" y="1535"/>
                  </a:lnTo>
                  <a:lnTo>
                    <a:pt x="5111" y="1524"/>
                  </a:lnTo>
                  <a:lnTo>
                    <a:pt x="5105" y="1512"/>
                  </a:lnTo>
                  <a:lnTo>
                    <a:pt x="5102" y="1506"/>
                  </a:lnTo>
                  <a:lnTo>
                    <a:pt x="5100" y="1499"/>
                  </a:lnTo>
                  <a:lnTo>
                    <a:pt x="5098" y="1492"/>
                  </a:lnTo>
                  <a:lnTo>
                    <a:pt x="5098" y="1484"/>
                  </a:lnTo>
                  <a:lnTo>
                    <a:pt x="5098" y="1472"/>
                  </a:lnTo>
                  <a:lnTo>
                    <a:pt x="5100" y="1461"/>
                  </a:lnTo>
                  <a:lnTo>
                    <a:pt x="5102" y="1451"/>
                  </a:lnTo>
                  <a:lnTo>
                    <a:pt x="5103" y="1441"/>
                  </a:lnTo>
                  <a:lnTo>
                    <a:pt x="5108" y="1421"/>
                  </a:lnTo>
                  <a:lnTo>
                    <a:pt x="5112" y="1399"/>
                  </a:lnTo>
                  <a:lnTo>
                    <a:pt x="5113" y="1388"/>
                  </a:lnTo>
                  <a:lnTo>
                    <a:pt x="5112" y="1378"/>
                  </a:lnTo>
                  <a:lnTo>
                    <a:pt x="5112" y="1373"/>
                  </a:lnTo>
                  <a:lnTo>
                    <a:pt x="5113" y="1368"/>
                  </a:lnTo>
                  <a:lnTo>
                    <a:pt x="5116" y="1364"/>
                  </a:lnTo>
                  <a:lnTo>
                    <a:pt x="5118" y="1359"/>
                  </a:lnTo>
                  <a:lnTo>
                    <a:pt x="5123" y="1354"/>
                  </a:lnTo>
                  <a:lnTo>
                    <a:pt x="5129" y="1349"/>
                  </a:lnTo>
                  <a:lnTo>
                    <a:pt x="5134" y="1346"/>
                  </a:lnTo>
                  <a:lnTo>
                    <a:pt x="5141" y="1343"/>
                  </a:lnTo>
                  <a:lnTo>
                    <a:pt x="5153" y="1339"/>
                  </a:lnTo>
                  <a:lnTo>
                    <a:pt x="5165" y="1337"/>
                  </a:lnTo>
                  <a:lnTo>
                    <a:pt x="5179" y="1334"/>
                  </a:lnTo>
                  <a:lnTo>
                    <a:pt x="5192" y="1332"/>
                  </a:lnTo>
                  <a:lnTo>
                    <a:pt x="5199" y="1329"/>
                  </a:lnTo>
                  <a:lnTo>
                    <a:pt x="5205" y="1327"/>
                  </a:lnTo>
                  <a:lnTo>
                    <a:pt x="5211" y="1323"/>
                  </a:lnTo>
                  <a:lnTo>
                    <a:pt x="5218" y="1319"/>
                  </a:lnTo>
                  <a:lnTo>
                    <a:pt x="5226" y="1313"/>
                  </a:lnTo>
                  <a:lnTo>
                    <a:pt x="5234" y="1306"/>
                  </a:lnTo>
                  <a:lnTo>
                    <a:pt x="5240" y="1300"/>
                  </a:lnTo>
                  <a:lnTo>
                    <a:pt x="5245" y="1292"/>
                  </a:lnTo>
                  <a:lnTo>
                    <a:pt x="5250" y="1285"/>
                  </a:lnTo>
                  <a:lnTo>
                    <a:pt x="5255" y="1276"/>
                  </a:lnTo>
                  <a:lnTo>
                    <a:pt x="5259" y="1269"/>
                  </a:lnTo>
                  <a:lnTo>
                    <a:pt x="5262" y="1260"/>
                  </a:lnTo>
                  <a:lnTo>
                    <a:pt x="5267" y="1243"/>
                  </a:lnTo>
                  <a:lnTo>
                    <a:pt x="5271" y="1224"/>
                  </a:lnTo>
                  <a:lnTo>
                    <a:pt x="5274" y="1204"/>
                  </a:lnTo>
                  <a:lnTo>
                    <a:pt x="5275" y="1183"/>
                  </a:lnTo>
                  <a:lnTo>
                    <a:pt x="5329" y="1183"/>
                  </a:lnTo>
                  <a:lnTo>
                    <a:pt x="5343" y="1169"/>
                  </a:lnTo>
                  <a:lnTo>
                    <a:pt x="5355" y="1159"/>
                  </a:lnTo>
                  <a:lnTo>
                    <a:pt x="5368" y="1148"/>
                  </a:lnTo>
                  <a:lnTo>
                    <a:pt x="5383" y="1136"/>
                  </a:lnTo>
                  <a:lnTo>
                    <a:pt x="5383" y="1136"/>
                  </a:lnTo>
                  <a:lnTo>
                    <a:pt x="5377" y="1135"/>
                  </a:lnTo>
                  <a:lnTo>
                    <a:pt x="5373" y="1133"/>
                  </a:lnTo>
                  <a:lnTo>
                    <a:pt x="5368" y="1132"/>
                  </a:lnTo>
                  <a:lnTo>
                    <a:pt x="5364" y="1130"/>
                  </a:lnTo>
                  <a:lnTo>
                    <a:pt x="5358" y="1124"/>
                  </a:lnTo>
                  <a:lnTo>
                    <a:pt x="5352" y="1117"/>
                  </a:lnTo>
                  <a:lnTo>
                    <a:pt x="5346" y="1110"/>
                  </a:lnTo>
                  <a:lnTo>
                    <a:pt x="5339" y="1102"/>
                  </a:lnTo>
                  <a:lnTo>
                    <a:pt x="5332" y="1096"/>
                  </a:lnTo>
                  <a:lnTo>
                    <a:pt x="5323" y="1092"/>
                  </a:lnTo>
                  <a:lnTo>
                    <a:pt x="5305" y="1086"/>
                  </a:lnTo>
                  <a:lnTo>
                    <a:pt x="5286" y="1084"/>
                  </a:lnTo>
                  <a:lnTo>
                    <a:pt x="5269" y="1083"/>
                  </a:lnTo>
                  <a:lnTo>
                    <a:pt x="5249" y="1078"/>
                  </a:lnTo>
                  <a:lnTo>
                    <a:pt x="5245" y="1075"/>
                  </a:lnTo>
                  <a:lnTo>
                    <a:pt x="5240" y="1071"/>
                  </a:lnTo>
                  <a:lnTo>
                    <a:pt x="5237" y="1068"/>
                  </a:lnTo>
                  <a:lnTo>
                    <a:pt x="5234" y="1064"/>
                  </a:lnTo>
                  <a:lnTo>
                    <a:pt x="5231" y="1059"/>
                  </a:lnTo>
                  <a:lnTo>
                    <a:pt x="5228" y="1055"/>
                  </a:lnTo>
                  <a:lnTo>
                    <a:pt x="5223" y="1053"/>
                  </a:lnTo>
                  <a:lnTo>
                    <a:pt x="5218" y="1052"/>
                  </a:lnTo>
                  <a:lnTo>
                    <a:pt x="5213" y="1053"/>
                  </a:lnTo>
                  <a:lnTo>
                    <a:pt x="5209" y="1055"/>
                  </a:lnTo>
                  <a:lnTo>
                    <a:pt x="5205" y="1058"/>
                  </a:lnTo>
                  <a:lnTo>
                    <a:pt x="5203" y="1061"/>
                  </a:lnTo>
                  <a:lnTo>
                    <a:pt x="5199" y="1070"/>
                  </a:lnTo>
                  <a:lnTo>
                    <a:pt x="5195" y="1080"/>
                  </a:lnTo>
                  <a:lnTo>
                    <a:pt x="5184" y="1100"/>
                  </a:lnTo>
                  <a:lnTo>
                    <a:pt x="5173" y="1117"/>
                  </a:lnTo>
                  <a:lnTo>
                    <a:pt x="5168" y="1130"/>
                  </a:lnTo>
                  <a:lnTo>
                    <a:pt x="5167" y="1143"/>
                  </a:lnTo>
                  <a:lnTo>
                    <a:pt x="5165" y="1148"/>
                  </a:lnTo>
                  <a:lnTo>
                    <a:pt x="5164" y="1155"/>
                  </a:lnTo>
                  <a:lnTo>
                    <a:pt x="5162" y="1161"/>
                  </a:lnTo>
                  <a:lnTo>
                    <a:pt x="5158" y="1166"/>
                  </a:lnTo>
                  <a:lnTo>
                    <a:pt x="5154" y="1171"/>
                  </a:lnTo>
                  <a:lnTo>
                    <a:pt x="5149" y="1174"/>
                  </a:lnTo>
                  <a:lnTo>
                    <a:pt x="5144" y="1178"/>
                  </a:lnTo>
                  <a:lnTo>
                    <a:pt x="5139" y="1181"/>
                  </a:lnTo>
                  <a:lnTo>
                    <a:pt x="5129" y="1184"/>
                  </a:lnTo>
                  <a:lnTo>
                    <a:pt x="5118" y="1186"/>
                  </a:lnTo>
                  <a:lnTo>
                    <a:pt x="5096" y="1187"/>
                  </a:lnTo>
                  <a:lnTo>
                    <a:pt x="5070" y="1186"/>
                  </a:lnTo>
                  <a:lnTo>
                    <a:pt x="5059" y="1184"/>
                  </a:lnTo>
                  <a:lnTo>
                    <a:pt x="5049" y="1182"/>
                  </a:lnTo>
                  <a:lnTo>
                    <a:pt x="5039" y="1178"/>
                  </a:lnTo>
                  <a:lnTo>
                    <a:pt x="5031" y="1172"/>
                  </a:lnTo>
                  <a:lnTo>
                    <a:pt x="5025" y="1166"/>
                  </a:lnTo>
                  <a:lnTo>
                    <a:pt x="5019" y="1157"/>
                  </a:lnTo>
                  <a:lnTo>
                    <a:pt x="5014" y="1148"/>
                  </a:lnTo>
                  <a:lnTo>
                    <a:pt x="5009" y="1138"/>
                  </a:lnTo>
                  <a:lnTo>
                    <a:pt x="5000" y="1116"/>
                  </a:lnTo>
                  <a:lnTo>
                    <a:pt x="4992" y="1094"/>
                  </a:lnTo>
                  <a:lnTo>
                    <a:pt x="4982" y="1071"/>
                  </a:lnTo>
                  <a:lnTo>
                    <a:pt x="4970" y="1049"/>
                  </a:lnTo>
                  <a:lnTo>
                    <a:pt x="4964" y="1042"/>
                  </a:lnTo>
                  <a:lnTo>
                    <a:pt x="4958" y="1035"/>
                  </a:lnTo>
                  <a:lnTo>
                    <a:pt x="4951" y="1030"/>
                  </a:lnTo>
                  <a:lnTo>
                    <a:pt x="4943" y="1026"/>
                  </a:lnTo>
                  <a:lnTo>
                    <a:pt x="4936" y="1022"/>
                  </a:lnTo>
                  <a:lnTo>
                    <a:pt x="4929" y="1017"/>
                  </a:lnTo>
                  <a:lnTo>
                    <a:pt x="4922" y="1011"/>
                  </a:lnTo>
                  <a:lnTo>
                    <a:pt x="4916" y="1004"/>
                  </a:lnTo>
                  <a:lnTo>
                    <a:pt x="4906" y="990"/>
                  </a:lnTo>
                  <a:lnTo>
                    <a:pt x="4896" y="976"/>
                  </a:lnTo>
                  <a:lnTo>
                    <a:pt x="4886" y="963"/>
                  </a:lnTo>
                  <a:lnTo>
                    <a:pt x="4874" y="950"/>
                  </a:lnTo>
                  <a:lnTo>
                    <a:pt x="4846" y="924"/>
                  </a:lnTo>
                  <a:lnTo>
                    <a:pt x="4824" y="899"/>
                  </a:lnTo>
                  <a:lnTo>
                    <a:pt x="4818" y="894"/>
                  </a:lnTo>
                  <a:lnTo>
                    <a:pt x="4811" y="889"/>
                  </a:lnTo>
                  <a:lnTo>
                    <a:pt x="4805" y="884"/>
                  </a:lnTo>
                  <a:lnTo>
                    <a:pt x="4799" y="880"/>
                  </a:lnTo>
                  <a:lnTo>
                    <a:pt x="4792" y="878"/>
                  </a:lnTo>
                  <a:lnTo>
                    <a:pt x="4783" y="875"/>
                  </a:lnTo>
                  <a:lnTo>
                    <a:pt x="4774" y="874"/>
                  </a:lnTo>
                  <a:lnTo>
                    <a:pt x="4766" y="873"/>
                  </a:lnTo>
                  <a:lnTo>
                    <a:pt x="4751" y="874"/>
                  </a:lnTo>
                  <a:lnTo>
                    <a:pt x="4738" y="878"/>
                  </a:lnTo>
                  <a:lnTo>
                    <a:pt x="4727" y="883"/>
                  </a:lnTo>
                  <a:lnTo>
                    <a:pt x="4716" y="889"/>
                  </a:lnTo>
                  <a:lnTo>
                    <a:pt x="4705" y="894"/>
                  </a:lnTo>
                  <a:lnTo>
                    <a:pt x="4692" y="899"/>
                  </a:lnTo>
                  <a:lnTo>
                    <a:pt x="4680" y="903"/>
                  </a:lnTo>
                  <a:lnTo>
                    <a:pt x="4666" y="904"/>
                  </a:lnTo>
                  <a:lnTo>
                    <a:pt x="4640" y="905"/>
                  </a:lnTo>
                  <a:lnTo>
                    <a:pt x="4616" y="904"/>
                  </a:lnTo>
                  <a:lnTo>
                    <a:pt x="4607" y="901"/>
                  </a:lnTo>
                  <a:lnTo>
                    <a:pt x="4597" y="898"/>
                  </a:lnTo>
                  <a:lnTo>
                    <a:pt x="4592" y="894"/>
                  </a:lnTo>
                  <a:lnTo>
                    <a:pt x="4588" y="890"/>
                  </a:lnTo>
                  <a:lnTo>
                    <a:pt x="4584" y="887"/>
                  </a:lnTo>
                  <a:lnTo>
                    <a:pt x="4580" y="882"/>
                  </a:lnTo>
                  <a:lnTo>
                    <a:pt x="4574" y="864"/>
                  </a:lnTo>
                  <a:lnTo>
                    <a:pt x="4569" y="847"/>
                  </a:lnTo>
                  <a:lnTo>
                    <a:pt x="4562" y="841"/>
                  </a:lnTo>
                  <a:lnTo>
                    <a:pt x="4556" y="836"/>
                  </a:lnTo>
                  <a:lnTo>
                    <a:pt x="4548" y="832"/>
                  </a:lnTo>
                  <a:lnTo>
                    <a:pt x="4539" y="830"/>
                  </a:lnTo>
                  <a:lnTo>
                    <a:pt x="4522" y="828"/>
                  </a:lnTo>
                  <a:lnTo>
                    <a:pt x="4502" y="827"/>
                  </a:lnTo>
                  <a:lnTo>
                    <a:pt x="4495" y="828"/>
                  </a:lnTo>
                  <a:lnTo>
                    <a:pt x="4486" y="831"/>
                  </a:lnTo>
                  <a:lnTo>
                    <a:pt x="4489" y="847"/>
                  </a:lnTo>
                  <a:lnTo>
                    <a:pt x="4487" y="864"/>
                  </a:lnTo>
                  <a:lnTo>
                    <a:pt x="4477" y="866"/>
                  </a:lnTo>
                  <a:lnTo>
                    <a:pt x="4467" y="868"/>
                  </a:lnTo>
                  <a:lnTo>
                    <a:pt x="4459" y="872"/>
                  </a:lnTo>
                  <a:lnTo>
                    <a:pt x="4450" y="875"/>
                  </a:lnTo>
                  <a:lnTo>
                    <a:pt x="4441" y="880"/>
                  </a:lnTo>
                  <a:lnTo>
                    <a:pt x="4433" y="884"/>
                  </a:lnTo>
                  <a:lnTo>
                    <a:pt x="4423" y="887"/>
                  </a:lnTo>
                  <a:lnTo>
                    <a:pt x="4413" y="888"/>
                  </a:lnTo>
                  <a:lnTo>
                    <a:pt x="4408" y="887"/>
                  </a:lnTo>
                  <a:lnTo>
                    <a:pt x="4404" y="885"/>
                  </a:lnTo>
                  <a:lnTo>
                    <a:pt x="4400" y="884"/>
                  </a:lnTo>
                  <a:lnTo>
                    <a:pt x="4398" y="882"/>
                  </a:lnTo>
                  <a:lnTo>
                    <a:pt x="4393" y="877"/>
                  </a:lnTo>
                  <a:lnTo>
                    <a:pt x="4389" y="869"/>
                  </a:lnTo>
                  <a:lnTo>
                    <a:pt x="4383" y="852"/>
                  </a:lnTo>
                  <a:lnTo>
                    <a:pt x="4378" y="833"/>
                  </a:lnTo>
                  <a:lnTo>
                    <a:pt x="4369" y="806"/>
                  </a:lnTo>
                  <a:lnTo>
                    <a:pt x="4361" y="781"/>
                  </a:lnTo>
                  <a:lnTo>
                    <a:pt x="4351" y="758"/>
                  </a:lnTo>
                  <a:lnTo>
                    <a:pt x="4338" y="730"/>
                  </a:lnTo>
                  <a:lnTo>
                    <a:pt x="4325" y="705"/>
                  </a:lnTo>
                  <a:lnTo>
                    <a:pt x="4310" y="682"/>
                  </a:lnTo>
                  <a:lnTo>
                    <a:pt x="4295" y="662"/>
                  </a:lnTo>
                  <a:lnTo>
                    <a:pt x="4279" y="642"/>
                  </a:lnTo>
                  <a:lnTo>
                    <a:pt x="4264" y="624"/>
                  </a:lnTo>
                  <a:lnTo>
                    <a:pt x="4249" y="603"/>
                  </a:lnTo>
                  <a:lnTo>
                    <a:pt x="4234" y="580"/>
                  </a:lnTo>
                  <a:lnTo>
                    <a:pt x="4219" y="554"/>
                  </a:lnTo>
                  <a:lnTo>
                    <a:pt x="4193" y="507"/>
                  </a:lnTo>
                  <a:lnTo>
                    <a:pt x="4168" y="466"/>
                  </a:lnTo>
                  <a:lnTo>
                    <a:pt x="4156" y="446"/>
                  </a:lnTo>
                  <a:lnTo>
                    <a:pt x="4141" y="426"/>
                  </a:lnTo>
                  <a:lnTo>
                    <a:pt x="4126" y="407"/>
                  </a:lnTo>
                  <a:lnTo>
                    <a:pt x="4107" y="384"/>
                  </a:lnTo>
                  <a:lnTo>
                    <a:pt x="4085" y="357"/>
                  </a:lnTo>
                  <a:lnTo>
                    <a:pt x="4065" y="333"/>
                  </a:lnTo>
                  <a:lnTo>
                    <a:pt x="4054" y="322"/>
                  </a:lnTo>
                  <a:lnTo>
                    <a:pt x="4043" y="311"/>
                  </a:lnTo>
                  <a:lnTo>
                    <a:pt x="4029" y="301"/>
                  </a:lnTo>
                  <a:lnTo>
                    <a:pt x="4014" y="290"/>
                  </a:lnTo>
                  <a:lnTo>
                    <a:pt x="4000" y="283"/>
                  </a:lnTo>
                  <a:lnTo>
                    <a:pt x="3988" y="276"/>
                  </a:lnTo>
                  <a:lnTo>
                    <a:pt x="3982" y="273"/>
                  </a:lnTo>
                  <a:lnTo>
                    <a:pt x="3976" y="269"/>
                  </a:lnTo>
                  <a:lnTo>
                    <a:pt x="3971" y="265"/>
                  </a:lnTo>
                  <a:lnTo>
                    <a:pt x="3966" y="259"/>
                  </a:lnTo>
                  <a:lnTo>
                    <a:pt x="3958" y="256"/>
                  </a:lnTo>
                  <a:lnTo>
                    <a:pt x="3955" y="253"/>
                  </a:lnTo>
                  <a:lnTo>
                    <a:pt x="3955" y="248"/>
                  </a:lnTo>
                  <a:lnTo>
                    <a:pt x="3957" y="243"/>
                  </a:lnTo>
                  <a:lnTo>
                    <a:pt x="3959" y="238"/>
                  </a:lnTo>
                  <a:lnTo>
                    <a:pt x="3962" y="233"/>
                  </a:lnTo>
                  <a:lnTo>
                    <a:pt x="3966" y="229"/>
                  </a:lnTo>
                  <a:lnTo>
                    <a:pt x="3968" y="224"/>
                  </a:lnTo>
                  <a:lnTo>
                    <a:pt x="3971" y="219"/>
                  </a:lnTo>
                  <a:lnTo>
                    <a:pt x="3971" y="213"/>
                  </a:lnTo>
                  <a:lnTo>
                    <a:pt x="3969" y="199"/>
                  </a:lnTo>
                  <a:lnTo>
                    <a:pt x="3968" y="185"/>
                  </a:lnTo>
                  <a:lnTo>
                    <a:pt x="3951" y="182"/>
                  </a:lnTo>
                  <a:lnTo>
                    <a:pt x="3943" y="186"/>
                  </a:lnTo>
                  <a:lnTo>
                    <a:pt x="3936" y="191"/>
                  </a:lnTo>
                  <a:lnTo>
                    <a:pt x="3930" y="196"/>
                  </a:lnTo>
                  <a:lnTo>
                    <a:pt x="3925" y="201"/>
                  </a:lnTo>
                  <a:lnTo>
                    <a:pt x="3918" y="207"/>
                  </a:lnTo>
                  <a:lnTo>
                    <a:pt x="3912" y="212"/>
                  </a:lnTo>
                  <a:lnTo>
                    <a:pt x="3905" y="216"/>
                  </a:lnTo>
                  <a:lnTo>
                    <a:pt x="3897" y="219"/>
                  </a:lnTo>
                  <a:lnTo>
                    <a:pt x="3889" y="222"/>
                  </a:lnTo>
                  <a:lnTo>
                    <a:pt x="3879" y="222"/>
                  </a:lnTo>
                  <a:lnTo>
                    <a:pt x="3870" y="222"/>
                  </a:lnTo>
                  <a:lnTo>
                    <a:pt x="3861" y="222"/>
                  </a:lnTo>
                  <a:lnTo>
                    <a:pt x="3854" y="222"/>
                  </a:lnTo>
                  <a:lnTo>
                    <a:pt x="3846" y="223"/>
                  </a:lnTo>
                  <a:lnTo>
                    <a:pt x="3843" y="225"/>
                  </a:lnTo>
                  <a:lnTo>
                    <a:pt x="3840" y="227"/>
                  </a:lnTo>
                  <a:lnTo>
                    <a:pt x="3837" y="230"/>
                  </a:lnTo>
                  <a:lnTo>
                    <a:pt x="3834" y="233"/>
                  </a:lnTo>
                  <a:lnTo>
                    <a:pt x="3824" y="248"/>
                  </a:lnTo>
                  <a:lnTo>
                    <a:pt x="3814" y="261"/>
                  </a:lnTo>
                  <a:lnTo>
                    <a:pt x="3805" y="274"/>
                  </a:lnTo>
                  <a:lnTo>
                    <a:pt x="3796" y="285"/>
                  </a:lnTo>
                  <a:lnTo>
                    <a:pt x="3784" y="296"/>
                  </a:lnTo>
                  <a:lnTo>
                    <a:pt x="3772" y="306"/>
                  </a:lnTo>
                  <a:lnTo>
                    <a:pt x="3758" y="315"/>
                  </a:lnTo>
                  <a:lnTo>
                    <a:pt x="3743" y="325"/>
                  </a:lnTo>
                  <a:lnTo>
                    <a:pt x="3732" y="335"/>
                  </a:lnTo>
                  <a:lnTo>
                    <a:pt x="3721" y="345"/>
                  </a:lnTo>
                  <a:lnTo>
                    <a:pt x="3709" y="347"/>
                  </a:lnTo>
                  <a:lnTo>
                    <a:pt x="3697" y="348"/>
                  </a:lnTo>
                  <a:lnTo>
                    <a:pt x="3687" y="348"/>
                  </a:lnTo>
                  <a:lnTo>
                    <a:pt x="3678" y="348"/>
                  </a:lnTo>
                  <a:lnTo>
                    <a:pt x="3668" y="349"/>
                  </a:lnTo>
                  <a:lnTo>
                    <a:pt x="3656" y="349"/>
                  </a:lnTo>
                  <a:lnTo>
                    <a:pt x="3646" y="352"/>
                  </a:lnTo>
                  <a:lnTo>
                    <a:pt x="3635" y="356"/>
                  </a:lnTo>
                  <a:lnTo>
                    <a:pt x="3628" y="359"/>
                  </a:lnTo>
                  <a:lnTo>
                    <a:pt x="3623" y="364"/>
                  </a:lnTo>
                  <a:lnTo>
                    <a:pt x="3619" y="371"/>
                  </a:lnTo>
                  <a:lnTo>
                    <a:pt x="3614" y="377"/>
                  </a:lnTo>
                  <a:lnTo>
                    <a:pt x="3610" y="383"/>
                  </a:lnTo>
                  <a:lnTo>
                    <a:pt x="3605" y="388"/>
                  </a:lnTo>
                  <a:lnTo>
                    <a:pt x="3603" y="390"/>
                  </a:lnTo>
                  <a:lnTo>
                    <a:pt x="3599" y="392"/>
                  </a:lnTo>
                  <a:lnTo>
                    <a:pt x="3597" y="392"/>
                  </a:lnTo>
                  <a:lnTo>
                    <a:pt x="3592" y="393"/>
                  </a:lnTo>
                  <a:lnTo>
                    <a:pt x="3587" y="389"/>
                  </a:lnTo>
                  <a:lnTo>
                    <a:pt x="3581" y="387"/>
                  </a:lnTo>
                  <a:lnTo>
                    <a:pt x="3581" y="373"/>
                  </a:lnTo>
                  <a:lnTo>
                    <a:pt x="3591" y="352"/>
                  </a:lnTo>
                  <a:lnTo>
                    <a:pt x="3602" y="333"/>
                  </a:lnTo>
                  <a:lnTo>
                    <a:pt x="3605" y="325"/>
                  </a:lnTo>
                  <a:lnTo>
                    <a:pt x="3609" y="315"/>
                  </a:lnTo>
                  <a:lnTo>
                    <a:pt x="3612" y="305"/>
                  </a:lnTo>
                  <a:lnTo>
                    <a:pt x="3612" y="294"/>
                  </a:lnTo>
                  <a:lnTo>
                    <a:pt x="3610" y="284"/>
                  </a:lnTo>
                  <a:lnTo>
                    <a:pt x="3607" y="276"/>
                  </a:lnTo>
                  <a:lnTo>
                    <a:pt x="3591" y="278"/>
                  </a:lnTo>
                  <a:lnTo>
                    <a:pt x="3576" y="276"/>
                  </a:lnTo>
                  <a:lnTo>
                    <a:pt x="3562" y="275"/>
                  </a:lnTo>
                  <a:lnTo>
                    <a:pt x="3550" y="271"/>
                  </a:lnTo>
                  <a:lnTo>
                    <a:pt x="3536" y="268"/>
                  </a:lnTo>
                  <a:lnTo>
                    <a:pt x="3522" y="265"/>
                  </a:lnTo>
                  <a:lnTo>
                    <a:pt x="3507" y="263"/>
                  </a:lnTo>
                  <a:lnTo>
                    <a:pt x="3492" y="261"/>
                  </a:lnTo>
                  <a:lnTo>
                    <a:pt x="3478" y="263"/>
                  </a:lnTo>
                  <a:lnTo>
                    <a:pt x="3463" y="265"/>
                  </a:lnTo>
                  <a:lnTo>
                    <a:pt x="3463" y="281"/>
                  </a:lnTo>
                  <a:lnTo>
                    <a:pt x="3463" y="299"/>
                  </a:lnTo>
                  <a:lnTo>
                    <a:pt x="3439" y="299"/>
                  </a:lnTo>
                  <a:lnTo>
                    <a:pt x="3428" y="286"/>
                  </a:lnTo>
                  <a:lnTo>
                    <a:pt x="3419" y="271"/>
                  </a:lnTo>
                  <a:lnTo>
                    <a:pt x="3415" y="265"/>
                  </a:lnTo>
                  <a:lnTo>
                    <a:pt x="3411" y="260"/>
                  </a:lnTo>
                  <a:lnTo>
                    <a:pt x="3407" y="259"/>
                  </a:lnTo>
                  <a:lnTo>
                    <a:pt x="3404" y="258"/>
                  </a:lnTo>
                  <a:lnTo>
                    <a:pt x="3401" y="256"/>
                  </a:lnTo>
                  <a:lnTo>
                    <a:pt x="3396" y="256"/>
                  </a:lnTo>
                  <a:lnTo>
                    <a:pt x="3384" y="256"/>
                  </a:lnTo>
                  <a:lnTo>
                    <a:pt x="3373" y="259"/>
                  </a:lnTo>
                  <a:lnTo>
                    <a:pt x="3362" y="261"/>
                  </a:lnTo>
                  <a:lnTo>
                    <a:pt x="3351" y="261"/>
                  </a:lnTo>
                  <a:lnTo>
                    <a:pt x="3346" y="261"/>
                  </a:lnTo>
                  <a:lnTo>
                    <a:pt x="3341" y="260"/>
                  </a:lnTo>
                  <a:lnTo>
                    <a:pt x="3337" y="259"/>
                  </a:lnTo>
                  <a:lnTo>
                    <a:pt x="3334" y="255"/>
                  </a:lnTo>
                  <a:lnTo>
                    <a:pt x="3329" y="249"/>
                  </a:lnTo>
                  <a:lnTo>
                    <a:pt x="3325" y="240"/>
                  </a:lnTo>
                  <a:lnTo>
                    <a:pt x="3321" y="230"/>
                  </a:lnTo>
                  <a:lnTo>
                    <a:pt x="3320" y="220"/>
                  </a:lnTo>
                  <a:lnTo>
                    <a:pt x="3320" y="209"/>
                  </a:lnTo>
                  <a:lnTo>
                    <a:pt x="3319" y="198"/>
                  </a:lnTo>
                  <a:lnTo>
                    <a:pt x="3320" y="186"/>
                  </a:lnTo>
                  <a:lnTo>
                    <a:pt x="3321" y="175"/>
                  </a:lnTo>
                  <a:lnTo>
                    <a:pt x="3321" y="163"/>
                  </a:lnTo>
                  <a:lnTo>
                    <a:pt x="3322" y="150"/>
                  </a:lnTo>
                  <a:lnTo>
                    <a:pt x="3321" y="136"/>
                  </a:lnTo>
                  <a:lnTo>
                    <a:pt x="3319" y="124"/>
                  </a:lnTo>
                  <a:lnTo>
                    <a:pt x="3315" y="113"/>
                  </a:lnTo>
                  <a:lnTo>
                    <a:pt x="3310" y="101"/>
                  </a:lnTo>
                  <a:lnTo>
                    <a:pt x="3300" y="79"/>
                  </a:lnTo>
                  <a:lnTo>
                    <a:pt x="3290" y="54"/>
                  </a:lnTo>
                  <a:lnTo>
                    <a:pt x="3289" y="39"/>
                  </a:lnTo>
                  <a:lnTo>
                    <a:pt x="3288" y="23"/>
                  </a:lnTo>
                  <a:lnTo>
                    <a:pt x="3286" y="16"/>
                  </a:lnTo>
                  <a:lnTo>
                    <a:pt x="3284" y="11"/>
                  </a:lnTo>
                  <a:lnTo>
                    <a:pt x="3283" y="8"/>
                  </a:lnTo>
                  <a:lnTo>
                    <a:pt x="3280" y="7"/>
                  </a:lnTo>
                  <a:lnTo>
                    <a:pt x="3276" y="6"/>
                  </a:lnTo>
                  <a:lnTo>
                    <a:pt x="3274" y="6"/>
                  </a:lnTo>
                  <a:lnTo>
                    <a:pt x="3255" y="10"/>
                  </a:lnTo>
                  <a:lnTo>
                    <a:pt x="3238" y="15"/>
                  </a:lnTo>
                  <a:lnTo>
                    <a:pt x="3223" y="13"/>
                  </a:lnTo>
                  <a:lnTo>
                    <a:pt x="3211" y="12"/>
                  </a:lnTo>
                  <a:lnTo>
                    <a:pt x="3198" y="10"/>
                  </a:lnTo>
                  <a:lnTo>
                    <a:pt x="3186" y="7"/>
                  </a:lnTo>
                  <a:lnTo>
                    <a:pt x="3175" y="5"/>
                  </a:lnTo>
                  <a:lnTo>
                    <a:pt x="3162" y="2"/>
                  </a:lnTo>
                  <a:lnTo>
                    <a:pt x="3148" y="1"/>
                  </a:lnTo>
                  <a:lnTo>
                    <a:pt x="3134" y="0"/>
                  </a:lnTo>
                  <a:lnTo>
                    <a:pt x="3114" y="1"/>
                  </a:lnTo>
                  <a:lnTo>
                    <a:pt x="3095" y="5"/>
                  </a:lnTo>
                  <a:lnTo>
                    <a:pt x="3078" y="10"/>
                  </a:lnTo>
                  <a:lnTo>
                    <a:pt x="3062" y="16"/>
                  </a:lnTo>
                  <a:lnTo>
                    <a:pt x="3028" y="31"/>
                  </a:lnTo>
                  <a:lnTo>
                    <a:pt x="2992" y="48"/>
                  </a:lnTo>
                  <a:lnTo>
                    <a:pt x="2981" y="58"/>
                  </a:lnTo>
                  <a:lnTo>
                    <a:pt x="2968" y="65"/>
                  </a:lnTo>
                  <a:lnTo>
                    <a:pt x="2937" y="72"/>
                  </a:lnTo>
                  <a:lnTo>
                    <a:pt x="2907" y="77"/>
                  </a:lnTo>
                  <a:lnTo>
                    <a:pt x="2880" y="78"/>
                  </a:lnTo>
                  <a:lnTo>
                    <a:pt x="2853" y="78"/>
                  </a:lnTo>
                  <a:lnTo>
                    <a:pt x="2826" y="78"/>
                  </a:lnTo>
                  <a:lnTo>
                    <a:pt x="2798" y="78"/>
                  </a:lnTo>
                  <a:lnTo>
                    <a:pt x="2768" y="79"/>
                  </a:lnTo>
                  <a:lnTo>
                    <a:pt x="2736" y="83"/>
                  </a:lnTo>
                  <a:lnTo>
                    <a:pt x="2721" y="85"/>
                  </a:lnTo>
                  <a:lnTo>
                    <a:pt x="2709" y="90"/>
                  </a:lnTo>
                  <a:lnTo>
                    <a:pt x="2698" y="95"/>
                  </a:lnTo>
                  <a:lnTo>
                    <a:pt x="2686" y="101"/>
                  </a:lnTo>
                  <a:lnTo>
                    <a:pt x="2675" y="108"/>
                  </a:lnTo>
                  <a:lnTo>
                    <a:pt x="2664" y="113"/>
                  </a:lnTo>
                  <a:lnTo>
                    <a:pt x="2652" y="115"/>
                  </a:lnTo>
                  <a:lnTo>
                    <a:pt x="2637" y="116"/>
                  </a:lnTo>
                  <a:lnTo>
                    <a:pt x="2622" y="116"/>
                  </a:lnTo>
                  <a:lnTo>
                    <a:pt x="2607" y="114"/>
                  </a:lnTo>
                  <a:lnTo>
                    <a:pt x="2593" y="113"/>
                  </a:lnTo>
                  <a:lnTo>
                    <a:pt x="2577" y="111"/>
                  </a:lnTo>
                  <a:lnTo>
                    <a:pt x="2563" y="111"/>
                  </a:lnTo>
                  <a:lnTo>
                    <a:pt x="2550" y="114"/>
                  </a:lnTo>
                  <a:lnTo>
                    <a:pt x="2537" y="116"/>
                  </a:lnTo>
                  <a:lnTo>
                    <a:pt x="2525" y="119"/>
                  </a:lnTo>
                  <a:lnTo>
                    <a:pt x="2501" y="125"/>
                  </a:lnTo>
                  <a:lnTo>
                    <a:pt x="2474" y="131"/>
                  </a:lnTo>
                  <a:lnTo>
                    <a:pt x="2455" y="132"/>
                  </a:lnTo>
                  <a:lnTo>
                    <a:pt x="2439" y="134"/>
                  </a:lnTo>
                  <a:lnTo>
                    <a:pt x="2423" y="135"/>
                  </a:lnTo>
                  <a:lnTo>
                    <a:pt x="2406" y="140"/>
                  </a:lnTo>
                  <a:lnTo>
                    <a:pt x="2398" y="142"/>
                  </a:lnTo>
                  <a:lnTo>
                    <a:pt x="2391" y="147"/>
                  </a:lnTo>
                  <a:lnTo>
                    <a:pt x="2386" y="152"/>
                  </a:lnTo>
                  <a:lnTo>
                    <a:pt x="2380" y="158"/>
                  </a:lnTo>
                  <a:lnTo>
                    <a:pt x="2375" y="162"/>
                  </a:lnTo>
                  <a:lnTo>
                    <a:pt x="2368" y="167"/>
                  </a:lnTo>
                  <a:lnTo>
                    <a:pt x="2362" y="170"/>
                  </a:lnTo>
                  <a:lnTo>
                    <a:pt x="2354" y="171"/>
                  </a:lnTo>
                  <a:lnTo>
                    <a:pt x="2346" y="170"/>
                  </a:lnTo>
                  <a:lnTo>
                    <a:pt x="2339" y="168"/>
                  </a:lnTo>
                  <a:lnTo>
                    <a:pt x="2332" y="166"/>
                  </a:lnTo>
                  <a:lnTo>
                    <a:pt x="2325" y="162"/>
                  </a:lnTo>
                  <a:lnTo>
                    <a:pt x="2319" y="160"/>
                  </a:lnTo>
                  <a:lnTo>
                    <a:pt x="2313" y="156"/>
                  </a:lnTo>
                  <a:lnTo>
                    <a:pt x="2305" y="155"/>
                  </a:lnTo>
                  <a:lnTo>
                    <a:pt x="2298" y="153"/>
                  </a:lnTo>
                  <a:lnTo>
                    <a:pt x="2286" y="155"/>
                  </a:lnTo>
                  <a:lnTo>
                    <a:pt x="2278" y="156"/>
                  </a:lnTo>
                  <a:lnTo>
                    <a:pt x="2269" y="158"/>
                  </a:lnTo>
                  <a:lnTo>
                    <a:pt x="2260" y="161"/>
                  </a:lnTo>
                  <a:lnTo>
                    <a:pt x="2252" y="163"/>
                  </a:lnTo>
                  <a:lnTo>
                    <a:pt x="2243" y="166"/>
                  </a:lnTo>
                  <a:lnTo>
                    <a:pt x="2233" y="167"/>
                  </a:lnTo>
                  <a:lnTo>
                    <a:pt x="2223" y="168"/>
                  </a:lnTo>
                  <a:lnTo>
                    <a:pt x="2208" y="167"/>
                  </a:lnTo>
                  <a:lnTo>
                    <a:pt x="2195" y="165"/>
                  </a:lnTo>
                  <a:lnTo>
                    <a:pt x="2181" y="163"/>
                  </a:lnTo>
                  <a:lnTo>
                    <a:pt x="2166" y="162"/>
                  </a:lnTo>
                  <a:lnTo>
                    <a:pt x="2160" y="162"/>
                  </a:lnTo>
                  <a:lnTo>
                    <a:pt x="2154" y="163"/>
                  </a:lnTo>
                  <a:lnTo>
                    <a:pt x="2147" y="166"/>
                  </a:lnTo>
                  <a:lnTo>
                    <a:pt x="2141" y="168"/>
                  </a:lnTo>
                  <a:lnTo>
                    <a:pt x="2136" y="172"/>
                  </a:lnTo>
                  <a:lnTo>
                    <a:pt x="2132" y="176"/>
                  </a:lnTo>
                  <a:lnTo>
                    <a:pt x="2128" y="181"/>
                  </a:lnTo>
                  <a:lnTo>
                    <a:pt x="2124" y="186"/>
                  </a:lnTo>
                  <a:lnTo>
                    <a:pt x="2118" y="197"/>
                  </a:lnTo>
                  <a:lnTo>
                    <a:pt x="2113" y="211"/>
                  </a:lnTo>
                  <a:lnTo>
                    <a:pt x="2109" y="223"/>
                  </a:lnTo>
                  <a:lnTo>
                    <a:pt x="2106" y="238"/>
                  </a:lnTo>
                  <a:lnTo>
                    <a:pt x="2116" y="235"/>
                  </a:lnTo>
                  <a:lnTo>
                    <a:pt x="2125" y="234"/>
                  </a:lnTo>
                  <a:lnTo>
                    <a:pt x="2134" y="235"/>
                  </a:lnTo>
                  <a:lnTo>
                    <a:pt x="2144" y="238"/>
                  </a:lnTo>
                  <a:lnTo>
                    <a:pt x="2142" y="248"/>
                  </a:lnTo>
                  <a:lnTo>
                    <a:pt x="2141" y="258"/>
                  </a:lnTo>
                  <a:lnTo>
                    <a:pt x="2140" y="266"/>
                  </a:lnTo>
                  <a:lnTo>
                    <a:pt x="2137" y="276"/>
                  </a:lnTo>
                  <a:lnTo>
                    <a:pt x="2132" y="283"/>
                  </a:lnTo>
                  <a:lnTo>
                    <a:pt x="2126" y="289"/>
                  </a:lnTo>
                  <a:lnTo>
                    <a:pt x="2123" y="291"/>
                  </a:lnTo>
                  <a:lnTo>
                    <a:pt x="2120" y="294"/>
                  </a:lnTo>
                  <a:lnTo>
                    <a:pt x="2119" y="297"/>
                  </a:lnTo>
                  <a:lnTo>
                    <a:pt x="2118" y="301"/>
                  </a:lnTo>
                  <a:lnTo>
                    <a:pt x="2119" y="309"/>
                  </a:lnTo>
                  <a:lnTo>
                    <a:pt x="2120" y="315"/>
                  </a:lnTo>
                  <a:lnTo>
                    <a:pt x="2123" y="320"/>
                  </a:lnTo>
                  <a:lnTo>
                    <a:pt x="2126" y="323"/>
                  </a:lnTo>
                  <a:lnTo>
                    <a:pt x="2131" y="327"/>
                  </a:lnTo>
                  <a:lnTo>
                    <a:pt x="2136" y="331"/>
                  </a:lnTo>
                  <a:lnTo>
                    <a:pt x="2142" y="333"/>
                  </a:lnTo>
                  <a:lnTo>
                    <a:pt x="2149" y="336"/>
                  </a:lnTo>
                  <a:lnTo>
                    <a:pt x="2177" y="343"/>
                  </a:lnTo>
                  <a:lnTo>
                    <a:pt x="2206" y="353"/>
                  </a:lnTo>
                  <a:lnTo>
                    <a:pt x="2196" y="359"/>
                  </a:lnTo>
                  <a:lnTo>
                    <a:pt x="2186" y="366"/>
                  </a:lnTo>
                  <a:lnTo>
                    <a:pt x="2176" y="368"/>
                  </a:lnTo>
                  <a:lnTo>
                    <a:pt x="2164" y="369"/>
                  </a:lnTo>
                  <a:lnTo>
                    <a:pt x="2145" y="367"/>
                  </a:lnTo>
                  <a:lnTo>
                    <a:pt x="2126" y="364"/>
                  </a:lnTo>
                  <a:lnTo>
                    <a:pt x="2116" y="366"/>
                  </a:lnTo>
                  <a:lnTo>
                    <a:pt x="2108" y="368"/>
                  </a:lnTo>
                  <a:lnTo>
                    <a:pt x="2099" y="373"/>
                  </a:lnTo>
                  <a:lnTo>
                    <a:pt x="2093" y="378"/>
                  </a:lnTo>
                  <a:lnTo>
                    <a:pt x="2079" y="392"/>
                  </a:lnTo>
                  <a:lnTo>
                    <a:pt x="2064" y="407"/>
                  </a:lnTo>
                  <a:lnTo>
                    <a:pt x="2044" y="421"/>
                  </a:lnTo>
                  <a:lnTo>
                    <a:pt x="2027" y="435"/>
                  </a:lnTo>
                  <a:lnTo>
                    <a:pt x="2021" y="443"/>
                  </a:lnTo>
                  <a:lnTo>
                    <a:pt x="2014" y="451"/>
                  </a:lnTo>
                  <a:lnTo>
                    <a:pt x="2012" y="456"/>
                  </a:lnTo>
                  <a:lnTo>
                    <a:pt x="2011" y="461"/>
                  </a:lnTo>
                  <a:lnTo>
                    <a:pt x="2010" y="466"/>
                  </a:lnTo>
                  <a:lnTo>
                    <a:pt x="2010" y="472"/>
                  </a:lnTo>
                  <a:lnTo>
                    <a:pt x="2010" y="478"/>
                  </a:lnTo>
                  <a:lnTo>
                    <a:pt x="2011" y="485"/>
                  </a:lnTo>
                  <a:lnTo>
                    <a:pt x="2013" y="490"/>
                  </a:lnTo>
                  <a:lnTo>
                    <a:pt x="2014" y="496"/>
                  </a:lnTo>
                  <a:lnTo>
                    <a:pt x="2021" y="506"/>
                  </a:lnTo>
                  <a:lnTo>
                    <a:pt x="2027" y="514"/>
                  </a:lnTo>
                  <a:lnTo>
                    <a:pt x="2033" y="524"/>
                  </a:lnTo>
                  <a:lnTo>
                    <a:pt x="2038" y="534"/>
                  </a:lnTo>
                  <a:lnTo>
                    <a:pt x="2041" y="539"/>
                  </a:lnTo>
                  <a:lnTo>
                    <a:pt x="2042" y="545"/>
                  </a:lnTo>
                  <a:lnTo>
                    <a:pt x="2043" y="550"/>
                  </a:lnTo>
                  <a:lnTo>
                    <a:pt x="2044" y="558"/>
                  </a:lnTo>
                  <a:lnTo>
                    <a:pt x="2043" y="565"/>
                  </a:lnTo>
                  <a:lnTo>
                    <a:pt x="2039" y="573"/>
                  </a:lnTo>
                  <a:lnTo>
                    <a:pt x="2036" y="579"/>
                  </a:lnTo>
                  <a:lnTo>
                    <a:pt x="2029" y="584"/>
                  </a:lnTo>
                  <a:lnTo>
                    <a:pt x="2016" y="593"/>
                  </a:lnTo>
                  <a:lnTo>
                    <a:pt x="2000" y="600"/>
                  </a:lnTo>
                  <a:lnTo>
                    <a:pt x="1983" y="607"/>
                  </a:lnTo>
                  <a:lnTo>
                    <a:pt x="1970" y="616"/>
                  </a:lnTo>
                  <a:lnTo>
                    <a:pt x="1964" y="621"/>
                  </a:lnTo>
                  <a:lnTo>
                    <a:pt x="1960" y="627"/>
                  </a:lnTo>
                  <a:lnTo>
                    <a:pt x="1956" y="635"/>
                  </a:lnTo>
                  <a:lnTo>
                    <a:pt x="1955" y="642"/>
                  </a:lnTo>
                  <a:lnTo>
                    <a:pt x="1956" y="648"/>
                  </a:lnTo>
                  <a:lnTo>
                    <a:pt x="1957" y="653"/>
                  </a:lnTo>
                  <a:lnTo>
                    <a:pt x="1960" y="658"/>
                  </a:lnTo>
                  <a:lnTo>
                    <a:pt x="1964" y="662"/>
                  </a:lnTo>
                  <a:lnTo>
                    <a:pt x="1971" y="667"/>
                  </a:lnTo>
                  <a:lnTo>
                    <a:pt x="1982" y="671"/>
                  </a:lnTo>
                  <a:lnTo>
                    <a:pt x="1993" y="674"/>
                  </a:lnTo>
                  <a:lnTo>
                    <a:pt x="2006" y="677"/>
                  </a:lnTo>
                  <a:lnTo>
                    <a:pt x="2018" y="682"/>
                  </a:lnTo>
                  <a:lnTo>
                    <a:pt x="2029" y="688"/>
                  </a:lnTo>
                  <a:lnTo>
                    <a:pt x="2054" y="709"/>
                  </a:lnTo>
                  <a:lnTo>
                    <a:pt x="2075" y="730"/>
                  </a:lnTo>
                  <a:lnTo>
                    <a:pt x="2087" y="740"/>
                  </a:lnTo>
                  <a:lnTo>
                    <a:pt x="2099" y="748"/>
                  </a:lnTo>
                  <a:lnTo>
                    <a:pt x="2106" y="750"/>
                  </a:lnTo>
                  <a:lnTo>
                    <a:pt x="2113" y="751"/>
                  </a:lnTo>
                  <a:lnTo>
                    <a:pt x="2121" y="753"/>
                  </a:lnTo>
                  <a:lnTo>
                    <a:pt x="2129" y="754"/>
                  </a:lnTo>
                  <a:lnTo>
                    <a:pt x="2129" y="776"/>
                  </a:lnTo>
                  <a:lnTo>
                    <a:pt x="2129" y="781"/>
                  </a:lnTo>
                  <a:lnTo>
                    <a:pt x="2128" y="785"/>
                  </a:lnTo>
                  <a:lnTo>
                    <a:pt x="2125" y="789"/>
                  </a:lnTo>
                  <a:lnTo>
                    <a:pt x="2123" y="792"/>
                  </a:lnTo>
                  <a:lnTo>
                    <a:pt x="2115" y="797"/>
                  </a:lnTo>
                  <a:lnTo>
                    <a:pt x="2105" y="801"/>
                  </a:lnTo>
                  <a:lnTo>
                    <a:pt x="2084" y="805"/>
                  </a:lnTo>
                  <a:lnTo>
                    <a:pt x="2060" y="807"/>
                  </a:lnTo>
                  <a:lnTo>
                    <a:pt x="2049" y="811"/>
                  </a:lnTo>
                  <a:lnTo>
                    <a:pt x="2039" y="815"/>
                  </a:lnTo>
                  <a:lnTo>
                    <a:pt x="2029" y="817"/>
                  </a:lnTo>
                  <a:lnTo>
                    <a:pt x="2018" y="820"/>
                  </a:lnTo>
                  <a:lnTo>
                    <a:pt x="2010" y="818"/>
                  </a:lnTo>
                  <a:lnTo>
                    <a:pt x="2001" y="817"/>
                  </a:lnTo>
                  <a:lnTo>
                    <a:pt x="1993" y="815"/>
                  </a:lnTo>
                  <a:lnTo>
                    <a:pt x="1986" y="811"/>
                  </a:lnTo>
                  <a:lnTo>
                    <a:pt x="1971" y="803"/>
                  </a:lnTo>
                  <a:lnTo>
                    <a:pt x="1955" y="796"/>
                  </a:lnTo>
                  <a:lnTo>
                    <a:pt x="1949" y="785"/>
                  </a:lnTo>
                  <a:lnTo>
                    <a:pt x="1940" y="775"/>
                  </a:lnTo>
                  <a:lnTo>
                    <a:pt x="1936" y="771"/>
                  </a:lnTo>
                  <a:lnTo>
                    <a:pt x="1930" y="768"/>
                  </a:lnTo>
                  <a:lnTo>
                    <a:pt x="1925" y="766"/>
                  </a:lnTo>
                  <a:lnTo>
                    <a:pt x="1919" y="765"/>
                  </a:lnTo>
                  <a:lnTo>
                    <a:pt x="1905" y="766"/>
                  </a:lnTo>
                  <a:lnTo>
                    <a:pt x="1894" y="770"/>
                  </a:lnTo>
                  <a:lnTo>
                    <a:pt x="1884" y="775"/>
                  </a:lnTo>
                  <a:lnTo>
                    <a:pt x="1874" y="781"/>
                  </a:lnTo>
                  <a:lnTo>
                    <a:pt x="1867" y="790"/>
                  </a:lnTo>
                  <a:lnTo>
                    <a:pt x="1858" y="800"/>
                  </a:lnTo>
                  <a:lnTo>
                    <a:pt x="1852" y="811"/>
                  </a:lnTo>
                  <a:lnTo>
                    <a:pt x="1844" y="822"/>
                  </a:lnTo>
                  <a:lnTo>
                    <a:pt x="1834" y="817"/>
                  </a:lnTo>
                  <a:lnTo>
                    <a:pt x="1826" y="812"/>
                  </a:lnTo>
                  <a:lnTo>
                    <a:pt x="1818" y="807"/>
                  </a:lnTo>
                  <a:lnTo>
                    <a:pt x="1811" y="801"/>
                  </a:lnTo>
                  <a:lnTo>
                    <a:pt x="1805" y="794"/>
                  </a:lnTo>
                  <a:lnTo>
                    <a:pt x="1797" y="787"/>
                  </a:lnTo>
                  <a:lnTo>
                    <a:pt x="1788" y="782"/>
                  </a:lnTo>
                  <a:lnTo>
                    <a:pt x="1779" y="776"/>
                  </a:lnTo>
                  <a:lnTo>
                    <a:pt x="1766" y="770"/>
                  </a:lnTo>
                  <a:lnTo>
                    <a:pt x="1754" y="765"/>
                  </a:lnTo>
                  <a:lnTo>
                    <a:pt x="1749" y="761"/>
                  </a:lnTo>
                  <a:lnTo>
                    <a:pt x="1745" y="756"/>
                  </a:lnTo>
                  <a:lnTo>
                    <a:pt x="1741" y="751"/>
                  </a:lnTo>
                  <a:lnTo>
                    <a:pt x="1739" y="745"/>
                  </a:lnTo>
                  <a:lnTo>
                    <a:pt x="1734" y="718"/>
                  </a:lnTo>
                  <a:lnTo>
                    <a:pt x="1731" y="693"/>
                  </a:lnTo>
                  <a:lnTo>
                    <a:pt x="1729" y="681"/>
                  </a:lnTo>
                  <a:lnTo>
                    <a:pt x="1725" y="670"/>
                  </a:lnTo>
                  <a:lnTo>
                    <a:pt x="1723" y="665"/>
                  </a:lnTo>
                  <a:lnTo>
                    <a:pt x="1719" y="660"/>
                  </a:lnTo>
                  <a:lnTo>
                    <a:pt x="1715" y="653"/>
                  </a:lnTo>
                  <a:lnTo>
                    <a:pt x="1710" y="648"/>
                  </a:lnTo>
                  <a:lnTo>
                    <a:pt x="1703" y="641"/>
                  </a:lnTo>
                  <a:lnTo>
                    <a:pt x="1695" y="636"/>
                  </a:lnTo>
                  <a:lnTo>
                    <a:pt x="1687" y="632"/>
                  </a:lnTo>
                  <a:lnTo>
                    <a:pt x="1679" y="629"/>
                  </a:lnTo>
                  <a:lnTo>
                    <a:pt x="1662" y="622"/>
                  </a:lnTo>
                  <a:lnTo>
                    <a:pt x="1642" y="615"/>
                  </a:lnTo>
                  <a:lnTo>
                    <a:pt x="1631" y="606"/>
                  </a:lnTo>
                  <a:lnTo>
                    <a:pt x="1622" y="596"/>
                  </a:lnTo>
                  <a:lnTo>
                    <a:pt x="1617" y="593"/>
                  </a:lnTo>
                  <a:lnTo>
                    <a:pt x="1612" y="589"/>
                  </a:lnTo>
                  <a:lnTo>
                    <a:pt x="1606" y="586"/>
                  </a:lnTo>
                  <a:lnTo>
                    <a:pt x="1600" y="586"/>
                  </a:lnTo>
                  <a:lnTo>
                    <a:pt x="1593" y="586"/>
                  </a:lnTo>
                  <a:lnTo>
                    <a:pt x="1590" y="589"/>
                  </a:lnTo>
                  <a:lnTo>
                    <a:pt x="1585" y="593"/>
                  </a:lnTo>
                  <a:lnTo>
                    <a:pt x="1581" y="596"/>
                  </a:lnTo>
                  <a:lnTo>
                    <a:pt x="1577" y="600"/>
                  </a:lnTo>
                  <a:lnTo>
                    <a:pt x="1572" y="603"/>
                  </a:lnTo>
                  <a:lnTo>
                    <a:pt x="1567" y="605"/>
                  </a:lnTo>
                  <a:lnTo>
                    <a:pt x="1562" y="606"/>
                  </a:lnTo>
                  <a:lnTo>
                    <a:pt x="1524" y="606"/>
                  </a:lnTo>
                  <a:lnTo>
                    <a:pt x="1492" y="605"/>
                  </a:lnTo>
                  <a:lnTo>
                    <a:pt x="1458" y="605"/>
                  </a:lnTo>
                  <a:lnTo>
                    <a:pt x="1421" y="605"/>
                  </a:lnTo>
                  <a:lnTo>
                    <a:pt x="1416" y="600"/>
                  </a:lnTo>
                  <a:lnTo>
                    <a:pt x="1410" y="595"/>
                  </a:lnTo>
                  <a:lnTo>
                    <a:pt x="1405" y="591"/>
                  </a:lnTo>
                  <a:lnTo>
                    <a:pt x="1400" y="588"/>
                  </a:lnTo>
                  <a:lnTo>
                    <a:pt x="1389" y="583"/>
                  </a:lnTo>
                  <a:lnTo>
                    <a:pt x="1376" y="580"/>
                  </a:lnTo>
                  <a:lnTo>
                    <a:pt x="1365" y="576"/>
                  </a:lnTo>
                  <a:lnTo>
                    <a:pt x="1353" y="574"/>
                  </a:lnTo>
                  <a:lnTo>
                    <a:pt x="1339" y="569"/>
                  </a:lnTo>
                  <a:lnTo>
                    <a:pt x="1326" y="563"/>
                  </a:lnTo>
                  <a:lnTo>
                    <a:pt x="1312" y="553"/>
                  </a:lnTo>
                  <a:lnTo>
                    <a:pt x="1299" y="542"/>
                  </a:lnTo>
                  <a:lnTo>
                    <a:pt x="1293" y="537"/>
                  </a:lnTo>
                  <a:lnTo>
                    <a:pt x="1285" y="533"/>
                  </a:lnTo>
                  <a:lnTo>
                    <a:pt x="1278" y="531"/>
                  </a:lnTo>
                  <a:lnTo>
                    <a:pt x="1269" y="529"/>
                  </a:lnTo>
                  <a:lnTo>
                    <a:pt x="1263" y="531"/>
                  </a:lnTo>
                  <a:lnTo>
                    <a:pt x="1258" y="533"/>
                  </a:lnTo>
                  <a:lnTo>
                    <a:pt x="1254" y="538"/>
                  </a:lnTo>
                  <a:lnTo>
                    <a:pt x="1251" y="543"/>
                  </a:lnTo>
                  <a:lnTo>
                    <a:pt x="1246" y="557"/>
                  </a:lnTo>
                  <a:lnTo>
                    <a:pt x="1238" y="569"/>
                  </a:lnTo>
                  <a:lnTo>
                    <a:pt x="1233" y="564"/>
                  </a:lnTo>
                  <a:lnTo>
                    <a:pt x="1230" y="559"/>
                  </a:lnTo>
                  <a:lnTo>
                    <a:pt x="1227" y="554"/>
                  </a:lnTo>
                  <a:lnTo>
                    <a:pt x="1225" y="548"/>
                  </a:lnTo>
                  <a:lnTo>
                    <a:pt x="1220" y="537"/>
                  </a:lnTo>
                  <a:lnTo>
                    <a:pt x="1212" y="526"/>
                  </a:lnTo>
                  <a:lnTo>
                    <a:pt x="1195" y="514"/>
                  </a:lnTo>
                  <a:lnTo>
                    <a:pt x="1179" y="503"/>
                  </a:lnTo>
                  <a:lnTo>
                    <a:pt x="1174" y="495"/>
                  </a:lnTo>
                  <a:lnTo>
                    <a:pt x="1170" y="486"/>
                  </a:lnTo>
                  <a:lnTo>
                    <a:pt x="1167" y="477"/>
                  </a:lnTo>
                  <a:lnTo>
                    <a:pt x="1165" y="469"/>
                  </a:lnTo>
                  <a:lnTo>
                    <a:pt x="1161" y="460"/>
                  </a:lnTo>
                  <a:lnTo>
                    <a:pt x="1158" y="454"/>
                  </a:lnTo>
                  <a:lnTo>
                    <a:pt x="1155" y="450"/>
                  </a:lnTo>
                  <a:lnTo>
                    <a:pt x="1153" y="447"/>
                  </a:lnTo>
                  <a:lnTo>
                    <a:pt x="1149" y="445"/>
                  </a:lnTo>
                  <a:lnTo>
                    <a:pt x="1144" y="444"/>
                  </a:lnTo>
                  <a:lnTo>
                    <a:pt x="1135" y="441"/>
                  </a:lnTo>
                  <a:lnTo>
                    <a:pt x="1126" y="441"/>
                  </a:lnTo>
                  <a:lnTo>
                    <a:pt x="1117" y="441"/>
                  </a:lnTo>
                  <a:lnTo>
                    <a:pt x="1107" y="441"/>
                  </a:lnTo>
                  <a:lnTo>
                    <a:pt x="1093" y="441"/>
                  </a:lnTo>
                  <a:lnTo>
                    <a:pt x="1081" y="443"/>
                  </a:lnTo>
                  <a:lnTo>
                    <a:pt x="1074" y="443"/>
                  </a:lnTo>
                  <a:lnTo>
                    <a:pt x="1069" y="443"/>
                  </a:lnTo>
                  <a:lnTo>
                    <a:pt x="1063" y="440"/>
                  </a:lnTo>
                  <a:lnTo>
                    <a:pt x="1058" y="435"/>
                  </a:lnTo>
                  <a:lnTo>
                    <a:pt x="1038" y="407"/>
                  </a:lnTo>
                  <a:lnTo>
                    <a:pt x="1020" y="379"/>
                  </a:lnTo>
                  <a:lnTo>
                    <a:pt x="1015" y="373"/>
                  </a:lnTo>
                  <a:lnTo>
                    <a:pt x="1008" y="367"/>
                  </a:lnTo>
                  <a:lnTo>
                    <a:pt x="1004" y="362"/>
                  </a:lnTo>
                  <a:lnTo>
                    <a:pt x="997" y="358"/>
                  </a:lnTo>
                  <a:lnTo>
                    <a:pt x="990" y="354"/>
                  </a:lnTo>
                  <a:lnTo>
                    <a:pt x="984" y="352"/>
                  </a:lnTo>
                  <a:lnTo>
                    <a:pt x="975" y="351"/>
                  </a:lnTo>
                  <a:lnTo>
                    <a:pt x="966" y="349"/>
                  </a:lnTo>
                  <a:lnTo>
                    <a:pt x="955" y="351"/>
                  </a:lnTo>
                  <a:lnTo>
                    <a:pt x="944" y="353"/>
                  </a:lnTo>
                  <a:lnTo>
                    <a:pt x="934" y="356"/>
                  </a:lnTo>
                  <a:lnTo>
                    <a:pt x="924" y="358"/>
                  </a:lnTo>
                  <a:lnTo>
                    <a:pt x="915" y="362"/>
                  </a:lnTo>
                  <a:lnTo>
                    <a:pt x="905" y="364"/>
                  </a:lnTo>
                  <a:lnTo>
                    <a:pt x="894" y="367"/>
                  </a:lnTo>
                  <a:lnTo>
                    <a:pt x="883" y="367"/>
                  </a:lnTo>
                  <a:lnTo>
                    <a:pt x="874" y="366"/>
                  </a:lnTo>
                  <a:lnTo>
                    <a:pt x="866" y="364"/>
                  </a:lnTo>
                  <a:lnTo>
                    <a:pt x="868" y="354"/>
                  </a:lnTo>
                  <a:lnTo>
                    <a:pt x="872" y="346"/>
                  </a:lnTo>
                  <a:lnTo>
                    <a:pt x="876" y="337"/>
                  </a:lnTo>
                  <a:lnTo>
                    <a:pt x="877" y="327"/>
                  </a:lnTo>
                  <a:lnTo>
                    <a:pt x="876" y="322"/>
                  </a:lnTo>
                  <a:lnTo>
                    <a:pt x="873" y="320"/>
                  </a:lnTo>
                  <a:lnTo>
                    <a:pt x="869" y="317"/>
                  </a:lnTo>
                  <a:lnTo>
                    <a:pt x="864" y="316"/>
                  </a:lnTo>
                  <a:lnTo>
                    <a:pt x="853" y="316"/>
                  </a:lnTo>
                  <a:lnTo>
                    <a:pt x="842" y="316"/>
                  </a:lnTo>
                  <a:lnTo>
                    <a:pt x="828" y="317"/>
                  </a:lnTo>
                  <a:lnTo>
                    <a:pt x="816" y="320"/>
                  </a:lnTo>
                  <a:lnTo>
                    <a:pt x="805" y="323"/>
                  </a:lnTo>
                  <a:lnTo>
                    <a:pt x="794" y="327"/>
                  </a:lnTo>
                  <a:lnTo>
                    <a:pt x="772" y="338"/>
                  </a:lnTo>
                  <a:lnTo>
                    <a:pt x="749" y="349"/>
                  </a:lnTo>
                  <a:lnTo>
                    <a:pt x="736" y="354"/>
                  </a:lnTo>
                  <a:lnTo>
                    <a:pt x="724" y="358"/>
                  </a:lnTo>
                  <a:lnTo>
                    <a:pt x="713" y="361"/>
                  </a:lnTo>
                  <a:lnTo>
                    <a:pt x="702" y="362"/>
                  </a:lnTo>
                  <a:lnTo>
                    <a:pt x="679" y="364"/>
                  </a:lnTo>
                  <a:lnTo>
                    <a:pt x="655" y="367"/>
                  </a:lnTo>
                  <a:lnTo>
                    <a:pt x="641" y="369"/>
                  </a:lnTo>
                  <a:lnTo>
                    <a:pt x="630" y="373"/>
                  </a:lnTo>
                  <a:lnTo>
                    <a:pt x="618" y="378"/>
                  </a:lnTo>
                  <a:lnTo>
                    <a:pt x="609" y="382"/>
                  </a:lnTo>
                  <a:lnTo>
                    <a:pt x="587" y="393"/>
                  </a:lnTo>
                  <a:lnTo>
                    <a:pt x="564" y="404"/>
                  </a:lnTo>
                  <a:lnTo>
                    <a:pt x="551" y="407"/>
                  </a:lnTo>
                  <a:lnTo>
                    <a:pt x="539" y="408"/>
                  </a:lnTo>
                  <a:lnTo>
                    <a:pt x="534" y="409"/>
                  </a:lnTo>
                  <a:lnTo>
                    <a:pt x="528" y="410"/>
                  </a:lnTo>
                  <a:lnTo>
                    <a:pt x="523" y="412"/>
                  </a:lnTo>
                  <a:lnTo>
                    <a:pt x="518" y="415"/>
                  </a:lnTo>
                  <a:lnTo>
                    <a:pt x="514" y="420"/>
                  </a:lnTo>
                  <a:lnTo>
                    <a:pt x="512" y="425"/>
                  </a:lnTo>
                  <a:lnTo>
                    <a:pt x="510" y="430"/>
                  </a:lnTo>
                  <a:lnTo>
                    <a:pt x="509" y="436"/>
                  </a:lnTo>
                  <a:lnTo>
                    <a:pt x="509" y="449"/>
                  </a:lnTo>
                  <a:lnTo>
                    <a:pt x="507" y="461"/>
                  </a:lnTo>
                  <a:lnTo>
                    <a:pt x="503" y="466"/>
                  </a:lnTo>
                  <a:lnTo>
                    <a:pt x="498" y="471"/>
                  </a:lnTo>
                  <a:lnTo>
                    <a:pt x="496" y="475"/>
                  </a:lnTo>
                  <a:lnTo>
                    <a:pt x="494" y="477"/>
                  </a:lnTo>
                  <a:lnTo>
                    <a:pt x="493" y="480"/>
                  </a:lnTo>
                  <a:lnTo>
                    <a:pt x="492" y="483"/>
                  </a:lnTo>
                  <a:lnTo>
                    <a:pt x="493" y="495"/>
                  </a:lnTo>
                  <a:lnTo>
                    <a:pt x="497" y="505"/>
                  </a:lnTo>
                  <a:lnTo>
                    <a:pt x="499" y="514"/>
                  </a:lnTo>
                  <a:lnTo>
                    <a:pt x="500" y="526"/>
                  </a:lnTo>
                  <a:lnTo>
                    <a:pt x="499" y="536"/>
                  </a:lnTo>
                  <a:lnTo>
                    <a:pt x="497" y="544"/>
                  </a:lnTo>
                  <a:lnTo>
                    <a:pt x="492" y="552"/>
                  </a:lnTo>
                  <a:lnTo>
                    <a:pt x="487" y="559"/>
                  </a:lnTo>
                  <a:lnTo>
                    <a:pt x="481" y="565"/>
                  </a:lnTo>
                  <a:lnTo>
                    <a:pt x="474" y="573"/>
                  </a:lnTo>
                  <a:lnTo>
                    <a:pt x="468" y="580"/>
                  </a:lnTo>
                  <a:lnTo>
                    <a:pt x="463" y="589"/>
                  </a:lnTo>
                  <a:lnTo>
                    <a:pt x="452" y="575"/>
                  </a:lnTo>
                  <a:lnTo>
                    <a:pt x="443" y="562"/>
                  </a:lnTo>
                  <a:lnTo>
                    <a:pt x="436" y="549"/>
                  </a:lnTo>
                  <a:lnTo>
                    <a:pt x="428" y="536"/>
                  </a:lnTo>
                  <a:lnTo>
                    <a:pt x="416" y="508"/>
                  </a:lnTo>
                  <a:lnTo>
                    <a:pt x="401" y="478"/>
                  </a:lnTo>
                  <a:lnTo>
                    <a:pt x="394" y="462"/>
                  </a:lnTo>
                  <a:lnTo>
                    <a:pt x="387" y="447"/>
                  </a:lnTo>
                  <a:lnTo>
                    <a:pt x="383" y="441"/>
                  </a:lnTo>
                  <a:lnTo>
                    <a:pt x="378" y="436"/>
                  </a:lnTo>
                  <a:lnTo>
                    <a:pt x="371" y="434"/>
                  </a:lnTo>
                  <a:lnTo>
                    <a:pt x="364" y="433"/>
                  </a:lnTo>
                  <a:lnTo>
                    <a:pt x="359" y="433"/>
                  </a:lnTo>
                  <a:lnTo>
                    <a:pt x="354" y="435"/>
                  </a:lnTo>
                  <a:lnTo>
                    <a:pt x="350" y="438"/>
                  </a:lnTo>
                  <a:lnTo>
                    <a:pt x="346" y="440"/>
                  </a:lnTo>
                  <a:lnTo>
                    <a:pt x="339" y="447"/>
                  </a:lnTo>
                  <a:lnTo>
                    <a:pt x="330" y="455"/>
                  </a:lnTo>
                  <a:lnTo>
                    <a:pt x="318" y="462"/>
                  </a:lnTo>
                  <a:lnTo>
                    <a:pt x="306" y="469"/>
                  </a:lnTo>
                  <a:lnTo>
                    <a:pt x="293" y="475"/>
                  </a:lnTo>
                  <a:lnTo>
                    <a:pt x="282" y="483"/>
                  </a:lnTo>
                  <a:lnTo>
                    <a:pt x="276" y="488"/>
                  </a:lnTo>
                  <a:lnTo>
                    <a:pt x="272" y="495"/>
                  </a:lnTo>
                  <a:lnTo>
                    <a:pt x="269" y="501"/>
                  </a:lnTo>
                  <a:lnTo>
                    <a:pt x="267" y="507"/>
                  </a:lnTo>
                  <a:lnTo>
                    <a:pt x="265" y="514"/>
                  </a:lnTo>
                  <a:lnTo>
                    <a:pt x="261" y="519"/>
                  </a:lnTo>
                  <a:lnTo>
                    <a:pt x="256" y="524"/>
                  </a:lnTo>
                  <a:lnTo>
                    <a:pt x="251" y="529"/>
                  </a:lnTo>
                  <a:lnTo>
                    <a:pt x="241" y="533"/>
                  </a:lnTo>
                  <a:lnTo>
                    <a:pt x="232" y="536"/>
                  </a:lnTo>
                  <a:lnTo>
                    <a:pt x="224" y="538"/>
                  </a:lnTo>
                  <a:lnTo>
                    <a:pt x="216" y="539"/>
                  </a:lnTo>
                  <a:lnTo>
                    <a:pt x="199" y="542"/>
                  </a:lnTo>
                  <a:lnTo>
                    <a:pt x="179" y="547"/>
                  </a:lnTo>
                  <a:lnTo>
                    <a:pt x="184" y="558"/>
                  </a:lnTo>
                  <a:lnTo>
                    <a:pt x="186" y="570"/>
                  </a:lnTo>
                  <a:lnTo>
                    <a:pt x="188" y="581"/>
                  </a:lnTo>
                  <a:lnTo>
                    <a:pt x="188" y="594"/>
                  </a:lnTo>
                  <a:lnTo>
                    <a:pt x="188" y="603"/>
                  </a:lnTo>
                  <a:lnTo>
                    <a:pt x="186" y="609"/>
                  </a:lnTo>
                  <a:lnTo>
                    <a:pt x="185" y="616"/>
                  </a:lnTo>
                  <a:lnTo>
                    <a:pt x="183" y="622"/>
                  </a:lnTo>
                  <a:lnTo>
                    <a:pt x="180" y="629"/>
                  </a:lnTo>
                  <a:lnTo>
                    <a:pt x="176" y="634"/>
                  </a:lnTo>
                  <a:lnTo>
                    <a:pt x="171" y="639"/>
                  </a:lnTo>
                  <a:lnTo>
                    <a:pt x="165" y="642"/>
                  </a:lnTo>
                  <a:lnTo>
                    <a:pt x="143" y="653"/>
                  </a:lnTo>
                  <a:lnTo>
                    <a:pt x="123" y="661"/>
                  </a:lnTo>
                  <a:lnTo>
                    <a:pt x="103" y="667"/>
                  </a:lnTo>
                  <a:lnTo>
                    <a:pt x="84" y="672"/>
                  </a:lnTo>
                  <a:lnTo>
                    <a:pt x="46" y="679"/>
                  </a:lnTo>
                  <a:lnTo>
                    <a:pt x="0" y="686"/>
                  </a:lnTo>
                  <a:lnTo>
                    <a:pt x="0" y="710"/>
                  </a:lnTo>
                  <a:lnTo>
                    <a:pt x="0" y="723"/>
                  </a:lnTo>
                  <a:lnTo>
                    <a:pt x="2" y="734"/>
                  </a:lnTo>
                  <a:lnTo>
                    <a:pt x="5" y="744"/>
                  </a:lnTo>
                  <a:lnTo>
                    <a:pt x="9" y="754"/>
                  </a:lnTo>
                  <a:lnTo>
                    <a:pt x="19" y="772"/>
                  </a:lnTo>
                  <a:lnTo>
                    <a:pt x="30" y="790"/>
                  </a:lnTo>
                  <a:lnTo>
                    <a:pt x="41" y="808"/>
                  </a:lnTo>
                  <a:lnTo>
                    <a:pt x="50" y="827"/>
                  </a:lnTo>
                  <a:lnTo>
                    <a:pt x="55" y="837"/>
                  </a:lnTo>
                  <a:lnTo>
                    <a:pt x="57" y="847"/>
                  </a:lnTo>
                  <a:lnTo>
                    <a:pt x="58" y="858"/>
                  </a:lnTo>
                  <a:lnTo>
                    <a:pt x="60" y="870"/>
                  </a:lnTo>
                  <a:lnTo>
                    <a:pt x="57" y="885"/>
                  </a:lnTo>
                  <a:lnTo>
                    <a:pt x="53" y="899"/>
                  </a:lnTo>
                  <a:lnTo>
                    <a:pt x="56" y="905"/>
                  </a:lnTo>
                  <a:lnTo>
                    <a:pt x="57" y="910"/>
                  </a:lnTo>
                  <a:lnTo>
                    <a:pt x="115" y="910"/>
                  </a:lnTo>
                  <a:lnTo>
                    <a:pt x="122" y="910"/>
                  </a:lnTo>
                  <a:lnTo>
                    <a:pt x="128" y="911"/>
                  </a:lnTo>
                  <a:lnTo>
                    <a:pt x="133" y="913"/>
                  </a:lnTo>
                  <a:lnTo>
                    <a:pt x="138" y="915"/>
                  </a:lnTo>
                  <a:lnTo>
                    <a:pt x="147" y="921"/>
                  </a:lnTo>
                  <a:lnTo>
                    <a:pt x="154" y="930"/>
                  </a:lnTo>
                  <a:lnTo>
                    <a:pt x="160" y="940"/>
                  </a:lnTo>
                  <a:lnTo>
                    <a:pt x="166" y="950"/>
                  </a:lnTo>
                  <a:lnTo>
                    <a:pt x="171" y="961"/>
                  </a:lnTo>
                  <a:lnTo>
                    <a:pt x="176" y="972"/>
                  </a:lnTo>
                  <a:lnTo>
                    <a:pt x="186" y="997"/>
                  </a:lnTo>
                  <a:lnTo>
                    <a:pt x="195" y="1021"/>
                  </a:lnTo>
                  <a:lnTo>
                    <a:pt x="197" y="1032"/>
                  </a:lnTo>
                  <a:lnTo>
                    <a:pt x="200" y="1044"/>
                  </a:lnTo>
                  <a:lnTo>
                    <a:pt x="201" y="1057"/>
                  </a:lnTo>
                  <a:lnTo>
                    <a:pt x="202" y="1070"/>
                  </a:lnTo>
                  <a:lnTo>
                    <a:pt x="201" y="1076"/>
                  </a:lnTo>
                  <a:lnTo>
                    <a:pt x="199" y="1083"/>
                  </a:lnTo>
                  <a:lnTo>
                    <a:pt x="195" y="1086"/>
                  </a:lnTo>
                  <a:lnTo>
                    <a:pt x="192" y="1091"/>
                  </a:lnTo>
                  <a:lnTo>
                    <a:pt x="189" y="1096"/>
                  </a:lnTo>
                  <a:lnTo>
                    <a:pt x="185" y="1100"/>
                  </a:lnTo>
                  <a:lnTo>
                    <a:pt x="183" y="1106"/>
                  </a:lnTo>
                  <a:lnTo>
                    <a:pt x="183" y="1112"/>
                  </a:lnTo>
                  <a:lnTo>
                    <a:pt x="188" y="1124"/>
                  </a:lnTo>
                  <a:lnTo>
                    <a:pt x="196" y="1135"/>
                  </a:lnTo>
                  <a:lnTo>
                    <a:pt x="199" y="1143"/>
                  </a:lnTo>
                  <a:lnTo>
                    <a:pt x="200" y="1151"/>
                  </a:lnTo>
                  <a:lnTo>
                    <a:pt x="201" y="1158"/>
                  </a:lnTo>
                  <a:lnTo>
                    <a:pt x="201" y="1166"/>
                  </a:lnTo>
                  <a:lnTo>
                    <a:pt x="200" y="1181"/>
                  </a:lnTo>
                  <a:lnTo>
                    <a:pt x="200" y="1198"/>
                  </a:lnTo>
                  <a:lnTo>
                    <a:pt x="200" y="1198"/>
                  </a:lnTo>
                  <a:close/>
                </a:path>
              </a:pathLst>
            </a:custGeom>
            <a:solidFill>
              <a:srgbClr val="447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3" name="Freeform 178">
              <a:extLst>
                <a:ext uri="{FF2B5EF4-FFF2-40B4-BE49-F238E27FC236}">
                  <a16:creationId xmlns:a16="http://schemas.microsoft.com/office/drawing/2014/main" id="{35FE4B07-B47E-4D4F-8B99-D3166CA62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1032" y="1070631"/>
              <a:ext cx="4835412" cy="2513842"/>
            </a:xfrm>
            <a:custGeom>
              <a:avLst/>
              <a:gdLst>
                <a:gd name="T0" fmla="*/ 478 w 5383"/>
                <a:gd name="T1" fmla="*/ 1151 h 2710"/>
                <a:gd name="T2" fmla="*/ 768 w 5383"/>
                <a:gd name="T3" fmla="*/ 1290 h 2710"/>
                <a:gd name="T4" fmla="*/ 717 w 5383"/>
                <a:gd name="T5" fmla="*/ 1492 h 2710"/>
                <a:gd name="T6" fmla="*/ 642 w 5383"/>
                <a:gd name="T7" fmla="*/ 1564 h 2710"/>
                <a:gd name="T8" fmla="*/ 420 w 5383"/>
                <a:gd name="T9" fmla="*/ 1522 h 2710"/>
                <a:gd name="T10" fmla="*/ 324 w 5383"/>
                <a:gd name="T11" fmla="*/ 1626 h 2710"/>
                <a:gd name="T12" fmla="*/ 277 w 5383"/>
                <a:gd name="T13" fmla="*/ 1711 h 2710"/>
                <a:gd name="T14" fmla="*/ 330 w 5383"/>
                <a:gd name="T15" fmla="*/ 1947 h 2710"/>
                <a:gd name="T16" fmla="*/ 385 w 5383"/>
                <a:gd name="T17" fmla="*/ 2147 h 2710"/>
                <a:gd name="T18" fmla="*/ 1438 w 5383"/>
                <a:gd name="T19" fmla="*/ 1663 h 2710"/>
                <a:gd name="T20" fmla="*/ 1550 w 5383"/>
                <a:gd name="T21" fmla="*/ 1613 h 2710"/>
                <a:gd name="T22" fmla="*/ 1715 w 5383"/>
                <a:gd name="T23" fmla="*/ 1607 h 2710"/>
                <a:gd name="T24" fmla="*/ 1598 w 5383"/>
                <a:gd name="T25" fmla="*/ 1760 h 2710"/>
                <a:gd name="T26" fmla="*/ 1723 w 5383"/>
                <a:gd name="T27" fmla="*/ 2004 h 2710"/>
                <a:gd name="T28" fmla="*/ 1967 w 5383"/>
                <a:gd name="T29" fmla="*/ 2120 h 2710"/>
                <a:gd name="T30" fmla="*/ 2303 w 5383"/>
                <a:gd name="T31" fmla="*/ 2260 h 2710"/>
                <a:gd name="T32" fmla="*/ 2310 w 5383"/>
                <a:gd name="T33" fmla="*/ 2451 h 2710"/>
                <a:gd name="T34" fmla="*/ 2397 w 5383"/>
                <a:gd name="T35" fmla="*/ 2641 h 2710"/>
                <a:gd name="T36" fmla="*/ 2665 w 5383"/>
                <a:gd name="T37" fmla="*/ 2685 h 2710"/>
                <a:gd name="T38" fmla="*/ 2976 w 5383"/>
                <a:gd name="T39" fmla="*/ 2498 h 2710"/>
                <a:gd name="T40" fmla="*/ 3336 w 5383"/>
                <a:gd name="T41" fmla="*/ 2416 h 2710"/>
                <a:gd name="T42" fmla="*/ 3581 w 5383"/>
                <a:gd name="T43" fmla="*/ 2328 h 2710"/>
                <a:gd name="T44" fmla="*/ 3895 w 5383"/>
                <a:gd name="T45" fmla="*/ 2401 h 2710"/>
                <a:gd name="T46" fmla="*/ 4304 w 5383"/>
                <a:gd name="T47" fmla="*/ 2457 h 2710"/>
                <a:gd name="T48" fmla="*/ 4507 w 5383"/>
                <a:gd name="T49" fmla="*/ 2347 h 2710"/>
                <a:gd name="T50" fmla="*/ 4513 w 5383"/>
                <a:gd name="T51" fmla="*/ 2096 h 2710"/>
                <a:gd name="T52" fmla="*/ 4482 w 5383"/>
                <a:gd name="T53" fmla="*/ 2008 h 2710"/>
                <a:gd name="T54" fmla="*/ 4722 w 5383"/>
                <a:gd name="T55" fmla="*/ 1967 h 2710"/>
                <a:gd name="T56" fmla="*/ 4763 w 5383"/>
                <a:gd name="T57" fmla="*/ 1865 h 2710"/>
                <a:gd name="T58" fmla="*/ 4977 w 5383"/>
                <a:gd name="T59" fmla="*/ 1698 h 2710"/>
                <a:gd name="T60" fmla="*/ 5136 w 5383"/>
                <a:gd name="T61" fmla="*/ 1600 h 2710"/>
                <a:gd name="T62" fmla="*/ 5116 w 5383"/>
                <a:gd name="T63" fmla="*/ 1364 h 2710"/>
                <a:gd name="T64" fmla="*/ 5275 w 5383"/>
                <a:gd name="T65" fmla="*/ 1183 h 2710"/>
                <a:gd name="T66" fmla="*/ 5231 w 5383"/>
                <a:gd name="T67" fmla="*/ 1059 h 2710"/>
                <a:gd name="T68" fmla="*/ 5070 w 5383"/>
                <a:gd name="T69" fmla="*/ 1186 h 2710"/>
                <a:gd name="T70" fmla="*/ 4846 w 5383"/>
                <a:gd name="T71" fmla="*/ 924 h 2710"/>
                <a:gd name="T72" fmla="*/ 4580 w 5383"/>
                <a:gd name="T73" fmla="*/ 882 h 2710"/>
                <a:gd name="T74" fmla="*/ 4393 w 5383"/>
                <a:gd name="T75" fmla="*/ 877 h 2710"/>
                <a:gd name="T76" fmla="*/ 4043 w 5383"/>
                <a:gd name="T77" fmla="*/ 311 h 2710"/>
                <a:gd name="T78" fmla="*/ 3925 w 5383"/>
                <a:gd name="T79" fmla="*/ 201 h 2710"/>
                <a:gd name="T80" fmla="*/ 3709 w 5383"/>
                <a:gd name="T81" fmla="*/ 347 h 2710"/>
                <a:gd name="T82" fmla="*/ 3612 w 5383"/>
                <a:gd name="T83" fmla="*/ 305 h 2710"/>
                <a:gd name="T84" fmla="*/ 3384 w 5383"/>
                <a:gd name="T85" fmla="*/ 256 h 2710"/>
                <a:gd name="T86" fmla="*/ 3288 w 5383"/>
                <a:gd name="T87" fmla="*/ 23 h 2710"/>
                <a:gd name="T88" fmla="*/ 2937 w 5383"/>
                <a:gd name="T89" fmla="*/ 72 h 2710"/>
                <a:gd name="T90" fmla="*/ 2474 w 5383"/>
                <a:gd name="T91" fmla="*/ 131 h 2710"/>
                <a:gd name="T92" fmla="*/ 2252 w 5383"/>
                <a:gd name="T93" fmla="*/ 163 h 2710"/>
                <a:gd name="T94" fmla="*/ 2141 w 5383"/>
                <a:gd name="T95" fmla="*/ 258 h 2710"/>
                <a:gd name="T96" fmla="*/ 2116 w 5383"/>
                <a:gd name="T97" fmla="*/ 366 h 2710"/>
                <a:gd name="T98" fmla="*/ 2044 w 5383"/>
                <a:gd name="T99" fmla="*/ 558 h 2710"/>
                <a:gd name="T100" fmla="*/ 2087 w 5383"/>
                <a:gd name="T101" fmla="*/ 740 h 2710"/>
                <a:gd name="T102" fmla="*/ 1949 w 5383"/>
                <a:gd name="T103" fmla="*/ 785 h 2710"/>
                <a:gd name="T104" fmla="*/ 1745 w 5383"/>
                <a:gd name="T105" fmla="*/ 756 h 2710"/>
                <a:gd name="T106" fmla="*/ 1585 w 5383"/>
                <a:gd name="T107" fmla="*/ 593 h 2710"/>
                <a:gd name="T108" fmla="*/ 1269 w 5383"/>
                <a:gd name="T109" fmla="*/ 529 h 2710"/>
                <a:gd name="T110" fmla="*/ 1135 w 5383"/>
                <a:gd name="T111" fmla="*/ 441 h 2710"/>
                <a:gd name="T112" fmla="*/ 905 w 5383"/>
                <a:gd name="T113" fmla="*/ 364 h 2710"/>
                <a:gd name="T114" fmla="*/ 679 w 5383"/>
                <a:gd name="T115" fmla="*/ 364 h 2710"/>
                <a:gd name="T116" fmla="*/ 492 w 5383"/>
                <a:gd name="T117" fmla="*/ 483 h 2710"/>
                <a:gd name="T118" fmla="*/ 359 w 5383"/>
                <a:gd name="T119" fmla="*/ 433 h 2710"/>
                <a:gd name="T120" fmla="*/ 186 w 5383"/>
                <a:gd name="T121" fmla="*/ 570 h 2710"/>
                <a:gd name="T122" fmla="*/ 50 w 5383"/>
                <a:gd name="T123" fmla="*/ 827 h 2710"/>
                <a:gd name="T124" fmla="*/ 202 w 5383"/>
                <a:gd name="T125" fmla="*/ 1070 h 2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83" h="2710">
                  <a:moveTo>
                    <a:pt x="200" y="1198"/>
                  </a:moveTo>
                  <a:lnTo>
                    <a:pt x="206" y="1199"/>
                  </a:lnTo>
                  <a:lnTo>
                    <a:pt x="214" y="1200"/>
                  </a:lnTo>
                  <a:lnTo>
                    <a:pt x="232" y="1197"/>
                  </a:lnTo>
                  <a:lnTo>
                    <a:pt x="251" y="1194"/>
                  </a:lnTo>
                  <a:lnTo>
                    <a:pt x="267" y="1205"/>
                  </a:lnTo>
                  <a:lnTo>
                    <a:pt x="283" y="1217"/>
                  </a:lnTo>
                  <a:lnTo>
                    <a:pt x="289" y="1215"/>
                  </a:lnTo>
                  <a:lnTo>
                    <a:pt x="296" y="1213"/>
                  </a:lnTo>
                  <a:lnTo>
                    <a:pt x="333" y="1213"/>
                  </a:lnTo>
                  <a:lnTo>
                    <a:pt x="345" y="1212"/>
                  </a:lnTo>
                  <a:lnTo>
                    <a:pt x="356" y="1209"/>
                  </a:lnTo>
                  <a:lnTo>
                    <a:pt x="366" y="1204"/>
                  </a:lnTo>
                  <a:lnTo>
                    <a:pt x="379" y="1200"/>
                  </a:lnTo>
                  <a:lnTo>
                    <a:pt x="394" y="1195"/>
                  </a:lnTo>
                  <a:lnTo>
                    <a:pt x="407" y="1189"/>
                  </a:lnTo>
                  <a:lnTo>
                    <a:pt x="420" y="1184"/>
                  </a:lnTo>
                  <a:lnTo>
                    <a:pt x="433" y="1176"/>
                  </a:lnTo>
                  <a:lnTo>
                    <a:pt x="442" y="1168"/>
                  </a:lnTo>
                  <a:lnTo>
                    <a:pt x="450" y="1159"/>
                  </a:lnTo>
                  <a:lnTo>
                    <a:pt x="453" y="1156"/>
                  </a:lnTo>
                  <a:lnTo>
                    <a:pt x="457" y="1153"/>
                  </a:lnTo>
                  <a:lnTo>
                    <a:pt x="462" y="1151"/>
                  </a:lnTo>
                  <a:lnTo>
                    <a:pt x="467" y="1151"/>
                  </a:lnTo>
                  <a:lnTo>
                    <a:pt x="478" y="1151"/>
                  </a:lnTo>
                  <a:lnTo>
                    <a:pt x="487" y="1153"/>
                  </a:lnTo>
                  <a:lnTo>
                    <a:pt x="496" y="1156"/>
                  </a:lnTo>
                  <a:lnTo>
                    <a:pt x="504" y="1159"/>
                  </a:lnTo>
                  <a:lnTo>
                    <a:pt x="522" y="1168"/>
                  </a:lnTo>
                  <a:lnTo>
                    <a:pt x="540" y="1174"/>
                  </a:lnTo>
                  <a:lnTo>
                    <a:pt x="549" y="1176"/>
                  </a:lnTo>
                  <a:lnTo>
                    <a:pt x="556" y="1178"/>
                  </a:lnTo>
                  <a:lnTo>
                    <a:pt x="563" y="1181"/>
                  </a:lnTo>
                  <a:lnTo>
                    <a:pt x="568" y="1184"/>
                  </a:lnTo>
                  <a:lnTo>
                    <a:pt x="579" y="1193"/>
                  </a:lnTo>
                  <a:lnTo>
                    <a:pt x="589" y="1204"/>
                  </a:lnTo>
                  <a:lnTo>
                    <a:pt x="597" y="1212"/>
                  </a:lnTo>
                  <a:lnTo>
                    <a:pt x="605" y="1218"/>
                  </a:lnTo>
                  <a:lnTo>
                    <a:pt x="614" y="1222"/>
                  </a:lnTo>
                  <a:lnTo>
                    <a:pt x="622" y="1225"/>
                  </a:lnTo>
                  <a:lnTo>
                    <a:pt x="642" y="1230"/>
                  </a:lnTo>
                  <a:lnTo>
                    <a:pt x="663" y="1235"/>
                  </a:lnTo>
                  <a:lnTo>
                    <a:pt x="681" y="1243"/>
                  </a:lnTo>
                  <a:lnTo>
                    <a:pt x="697" y="1250"/>
                  </a:lnTo>
                  <a:lnTo>
                    <a:pt x="712" y="1259"/>
                  </a:lnTo>
                  <a:lnTo>
                    <a:pt x="729" y="1267"/>
                  </a:lnTo>
                  <a:lnTo>
                    <a:pt x="744" y="1272"/>
                  </a:lnTo>
                  <a:lnTo>
                    <a:pt x="758" y="1280"/>
                  </a:lnTo>
                  <a:lnTo>
                    <a:pt x="763" y="1285"/>
                  </a:lnTo>
                  <a:lnTo>
                    <a:pt x="768" y="1290"/>
                  </a:lnTo>
                  <a:lnTo>
                    <a:pt x="770" y="1296"/>
                  </a:lnTo>
                  <a:lnTo>
                    <a:pt x="771" y="1303"/>
                  </a:lnTo>
                  <a:lnTo>
                    <a:pt x="771" y="1307"/>
                  </a:lnTo>
                  <a:lnTo>
                    <a:pt x="769" y="1311"/>
                  </a:lnTo>
                  <a:lnTo>
                    <a:pt x="768" y="1313"/>
                  </a:lnTo>
                  <a:lnTo>
                    <a:pt x="764" y="1316"/>
                  </a:lnTo>
                  <a:lnTo>
                    <a:pt x="759" y="1321"/>
                  </a:lnTo>
                  <a:lnTo>
                    <a:pt x="754" y="1327"/>
                  </a:lnTo>
                  <a:lnTo>
                    <a:pt x="750" y="1336"/>
                  </a:lnTo>
                  <a:lnTo>
                    <a:pt x="748" y="1344"/>
                  </a:lnTo>
                  <a:lnTo>
                    <a:pt x="746" y="1353"/>
                  </a:lnTo>
                  <a:lnTo>
                    <a:pt x="745" y="1363"/>
                  </a:lnTo>
                  <a:lnTo>
                    <a:pt x="751" y="1406"/>
                  </a:lnTo>
                  <a:lnTo>
                    <a:pt x="750" y="1414"/>
                  </a:lnTo>
                  <a:lnTo>
                    <a:pt x="749" y="1421"/>
                  </a:lnTo>
                  <a:lnTo>
                    <a:pt x="746" y="1429"/>
                  </a:lnTo>
                  <a:lnTo>
                    <a:pt x="743" y="1435"/>
                  </a:lnTo>
                  <a:lnTo>
                    <a:pt x="735" y="1446"/>
                  </a:lnTo>
                  <a:lnTo>
                    <a:pt x="724" y="1457"/>
                  </a:lnTo>
                  <a:lnTo>
                    <a:pt x="720" y="1462"/>
                  </a:lnTo>
                  <a:lnTo>
                    <a:pt x="718" y="1468"/>
                  </a:lnTo>
                  <a:lnTo>
                    <a:pt x="717" y="1473"/>
                  </a:lnTo>
                  <a:lnTo>
                    <a:pt x="717" y="1480"/>
                  </a:lnTo>
                  <a:lnTo>
                    <a:pt x="717" y="1486"/>
                  </a:lnTo>
                  <a:lnTo>
                    <a:pt x="717" y="1492"/>
                  </a:lnTo>
                  <a:lnTo>
                    <a:pt x="715" y="1498"/>
                  </a:lnTo>
                  <a:lnTo>
                    <a:pt x="713" y="1504"/>
                  </a:lnTo>
                  <a:lnTo>
                    <a:pt x="707" y="1509"/>
                  </a:lnTo>
                  <a:lnTo>
                    <a:pt x="700" y="1513"/>
                  </a:lnTo>
                  <a:lnTo>
                    <a:pt x="689" y="1523"/>
                  </a:lnTo>
                  <a:lnTo>
                    <a:pt x="682" y="1534"/>
                  </a:lnTo>
                  <a:lnTo>
                    <a:pt x="678" y="1539"/>
                  </a:lnTo>
                  <a:lnTo>
                    <a:pt x="674" y="1544"/>
                  </a:lnTo>
                  <a:lnTo>
                    <a:pt x="672" y="1551"/>
                  </a:lnTo>
                  <a:lnTo>
                    <a:pt x="671" y="1558"/>
                  </a:lnTo>
                  <a:lnTo>
                    <a:pt x="676" y="1561"/>
                  </a:lnTo>
                  <a:lnTo>
                    <a:pt x="681" y="1566"/>
                  </a:lnTo>
                  <a:lnTo>
                    <a:pt x="683" y="1571"/>
                  </a:lnTo>
                  <a:lnTo>
                    <a:pt x="686" y="1578"/>
                  </a:lnTo>
                  <a:lnTo>
                    <a:pt x="687" y="1591"/>
                  </a:lnTo>
                  <a:lnTo>
                    <a:pt x="687" y="1606"/>
                  </a:lnTo>
                  <a:lnTo>
                    <a:pt x="688" y="1616"/>
                  </a:lnTo>
                  <a:lnTo>
                    <a:pt x="687" y="1626"/>
                  </a:lnTo>
                  <a:lnTo>
                    <a:pt x="681" y="1628"/>
                  </a:lnTo>
                  <a:lnTo>
                    <a:pt x="673" y="1605"/>
                  </a:lnTo>
                  <a:lnTo>
                    <a:pt x="664" y="1584"/>
                  </a:lnTo>
                  <a:lnTo>
                    <a:pt x="658" y="1575"/>
                  </a:lnTo>
                  <a:lnTo>
                    <a:pt x="651" y="1569"/>
                  </a:lnTo>
                  <a:lnTo>
                    <a:pt x="647" y="1566"/>
                  </a:lnTo>
                  <a:lnTo>
                    <a:pt x="642" y="1564"/>
                  </a:lnTo>
                  <a:lnTo>
                    <a:pt x="637" y="1563"/>
                  </a:lnTo>
                  <a:lnTo>
                    <a:pt x="631" y="1563"/>
                  </a:lnTo>
                  <a:lnTo>
                    <a:pt x="585" y="1563"/>
                  </a:lnTo>
                  <a:lnTo>
                    <a:pt x="569" y="1563"/>
                  </a:lnTo>
                  <a:lnTo>
                    <a:pt x="554" y="1561"/>
                  </a:lnTo>
                  <a:lnTo>
                    <a:pt x="546" y="1560"/>
                  </a:lnTo>
                  <a:lnTo>
                    <a:pt x="539" y="1559"/>
                  </a:lnTo>
                  <a:lnTo>
                    <a:pt x="532" y="1556"/>
                  </a:lnTo>
                  <a:lnTo>
                    <a:pt x="524" y="1553"/>
                  </a:lnTo>
                  <a:lnTo>
                    <a:pt x="517" y="1548"/>
                  </a:lnTo>
                  <a:lnTo>
                    <a:pt x="513" y="1542"/>
                  </a:lnTo>
                  <a:lnTo>
                    <a:pt x="509" y="1535"/>
                  </a:lnTo>
                  <a:lnTo>
                    <a:pt x="505" y="1528"/>
                  </a:lnTo>
                  <a:lnTo>
                    <a:pt x="502" y="1522"/>
                  </a:lnTo>
                  <a:lnTo>
                    <a:pt x="498" y="1517"/>
                  </a:lnTo>
                  <a:lnTo>
                    <a:pt x="496" y="1514"/>
                  </a:lnTo>
                  <a:lnTo>
                    <a:pt x="493" y="1513"/>
                  </a:lnTo>
                  <a:lnTo>
                    <a:pt x="489" y="1512"/>
                  </a:lnTo>
                  <a:lnTo>
                    <a:pt x="486" y="1512"/>
                  </a:lnTo>
                  <a:lnTo>
                    <a:pt x="468" y="1514"/>
                  </a:lnTo>
                  <a:lnTo>
                    <a:pt x="451" y="1518"/>
                  </a:lnTo>
                  <a:lnTo>
                    <a:pt x="440" y="1519"/>
                  </a:lnTo>
                  <a:lnTo>
                    <a:pt x="428" y="1519"/>
                  </a:lnTo>
                  <a:lnTo>
                    <a:pt x="423" y="1519"/>
                  </a:lnTo>
                  <a:lnTo>
                    <a:pt x="420" y="1522"/>
                  </a:lnTo>
                  <a:lnTo>
                    <a:pt x="417" y="1524"/>
                  </a:lnTo>
                  <a:lnTo>
                    <a:pt x="417" y="1528"/>
                  </a:lnTo>
                  <a:lnTo>
                    <a:pt x="420" y="1540"/>
                  </a:lnTo>
                  <a:lnTo>
                    <a:pt x="422" y="1553"/>
                  </a:lnTo>
                  <a:lnTo>
                    <a:pt x="422" y="1584"/>
                  </a:lnTo>
                  <a:lnTo>
                    <a:pt x="419" y="1586"/>
                  </a:lnTo>
                  <a:lnTo>
                    <a:pt x="415" y="1589"/>
                  </a:lnTo>
                  <a:lnTo>
                    <a:pt x="410" y="1584"/>
                  </a:lnTo>
                  <a:lnTo>
                    <a:pt x="404" y="1580"/>
                  </a:lnTo>
                  <a:lnTo>
                    <a:pt x="394" y="1580"/>
                  </a:lnTo>
                  <a:lnTo>
                    <a:pt x="394" y="1601"/>
                  </a:lnTo>
                  <a:lnTo>
                    <a:pt x="396" y="1606"/>
                  </a:lnTo>
                  <a:lnTo>
                    <a:pt x="399" y="1612"/>
                  </a:lnTo>
                  <a:lnTo>
                    <a:pt x="399" y="1662"/>
                  </a:lnTo>
                  <a:lnTo>
                    <a:pt x="395" y="1664"/>
                  </a:lnTo>
                  <a:lnTo>
                    <a:pt x="390" y="1664"/>
                  </a:lnTo>
                  <a:lnTo>
                    <a:pt x="381" y="1664"/>
                  </a:lnTo>
                  <a:lnTo>
                    <a:pt x="375" y="1664"/>
                  </a:lnTo>
                  <a:lnTo>
                    <a:pt x="368" y="1663"/>
                  </a:lnTo>
                  <a:lnTo>
                    <a:pt x="361" y="1659"/>
                  </a:lnTo>
                  <a:lnTo>
                    <a:pt x="350" y="1648"/>
                  </a:lnTo>
                  <a:lnTo>
                    <a:pt x="340" y="1637"/>
                  </a:lnTo>
                  <a:lnTo>
                    <a:pt x="335" y="1632"/>
                  </a:lnTo>
                  <a:lnTo>
                    <a:pt x="330" y="1628"/>
                  </a:lnTo>
                  <a:lnTo>
                    <a:pt x="324" y="1626"/>
                  </a:lnTo>
                  <a:lnTo>
                    <a:pt x="317" y="1625"/>
                  </a:lnTo>
                  <a:lnTo>
                    <a:pt x="302" y="1627"/>
                  </a:lnTo>
                  <a:lnTo>
                    <a:pt x="286" y="1630"/>
                  </a:lnTo>
                  <a:lnTo>
                    <a:pt x="276" y="1628"/>
                  </a:lnTo>
                  <a:lnTo>
                    <a:pt x="266" y="1628"/>
                  </a:lnTo>
                  <a:lnTo>
                    <a:pt x="257" y="1627"/>
                  </a:lnTo>
                  <a:lnTo>
                    <a:pt x="247" y="1626"/>
                  </a:lnTo>
                  <a:lnTo>
                    <a:pt x="238" y="1627"/>
                  </a:lnTo>
                  <a:lnTo>
                    <a:pt x="230" y="1628"/>
                  </a:lnTo>
                  <a:lnTo>
                    <a:pt x="226" y="1630"/>
                  </a:lnTo>
                  <a:lnTo>
                    <a:pt x="224" y="1632"/>
                  </a:lnTo>
                  <a:lnTo>
                    <a:pt x="221" y="1636"/>
                  </a:lnTo>
                  <a:lnTo>
                    <a:pt x="220" y="1640"/>
                  </a:lnTo>
                  <a:lnTo>
                    <a:pt x="221" y="1643"/>
                  </a:lnTo>
                  <a:lnTo>
                    <a:pt x="222" y="1647"/>
                  </a:lnTo>
                  <a:lnTo>
                    <a:pt x="225" y="1649"/>
                  </a:lnTo>
                  <a:lnTo>
                    <a:pt x="227" y="1652"/>
                  </a:lnTo>
                  <a:lnTo>
                    <a:pt x="233" y="1657"/>
                  </a:lnTo>
                  <a:lnTo>
                    <a:pt x="238" y="1662"/>
                  </a:lnTo>
                  <a:lnTo>
                    <a:pt x="246" y="1678"/>
                  </a:lnTo>
                  <a:lnTo>
                    <a:pt x="252" y="1693"/>
                  </a:lnTo>
                  <a:lnTo>
                    <a:pt x="262" y="1700"/>
                  </a:lnTo>
                  <a:lnTo>
                    <a:pt x="273" y="1707"/>
                  </a:lnTo>
                  <a:lnTo>
                    <a:pt x="276" y="1709"/>
                  </a:lnTo>
                  <a:lnTo>
                    <a:pt x="277" y="1711"/>
                  </a:lnTo>
                  <a:lnTo>
                    <a:pt x="278" y="1715"/>
                  </a:lnTo>
                  <a:lnTo>
                    <a:pt x="279" y="1719"/>
                  </a:lnTo>
                  <a:lnTo>
                    <a:pt x="279" y="1726"/>
                  </a:lnTo>
                  <a:lnTo>
                    <a:pt x="278" y="1734"/>
                  </a:lnTo>
                  <a:lnTo>
                    <a:pt x="277" y="1749"/>
                  </a:lnTo>
                  <a:lnTo>
                    <a:pt x="274" y="1764"/>
                  </a:lnTo>
                  <a:lnTo>
                    <a:pt x="282" y="1781"/>
                  </a:lnTo>
                  <a:lnTo>
                    <a:pt x="291" y="1798"/>
                  </a:lnTo>
                  <a:lnTo>
                    <a:pt x="286" y="1812"/>
                  </a:lnTo>
                  <a:lnTo>
                    <a:pt x="282" y="1826"/>
                  </a:lnTo>
                  <a:lnTo>
                    <a:pt x="282" y="1883"/>
                  </a:lnTo>
                  <a:lnTo>
                    <a:pt x="278" y="1896"/>
                  </a:lnTo>
                  <a:lnTo>
                    <a:pt x="274" y="1911"/>
                  </a:lnTo>
                  <a:lnTo>
                    <a:pt x="274" y="1914"/>
                  </a:lnTo>
                  <a:lnTo>
                    <a:pt x="276" y="1916"/>
                  </a:lnTo>
                  <a:lnTo>
                    <a:pt x="277" y="1919"/>
                  </a:lnTo>
                  <a:lnTo>
                    <a:pt x="278" y="1921"/>
                  </a:lnTo>
                  <a:lnTo>
                    <a:pt x="283" y="1924"/>
                  </a:lnTo>
                  <a:lnTo>
                    <a:pt x="289" y="1925"/>
                  </a:lnTo>
                  <a:lnTo>
                    <a:pt x="303" y="1927"/>
                  </a:lnTo>
                  <a:lnTo>
                    <a:pt x="317" y="1930"/>
                  </a:lnTo>
                  <a:lnTo>
                    <a:pt x="323" y="1932"/>
                  </a:lnTo>
                  <a:lnTo>
                    <a:pt x="327" y="1936"/>
                  </a:lnTo>
                  <a:lnTo>
                    <a:pt x="329" y="1941"/>
                  </a:lnTo>
                  <a:lnTo>
                    <a:pt x="330" y="1947"/>
                  </a:lnTo>
                  <a:lnTo>
                    <a:pt x="332" y="1961"/>
                  </a:lnTo>
                  <a:lnTo>
                    <a:pt x="335" y="1973"/>
                  </a:lnTo>
                  <a:lnTo>
                    <a:pt x="339" y="1977"/>
                  </a:lnTo>
                  <a:lnTo>
                    <a:pt x="342" y="1981"/>
                  </a:lnTo>
                  <a:lnTo>
                    <a:pt x="346" y="1983"/>
                  </a:lnTo>
                  <a:lnTo>
                    <a:pt x="350" y="1984"/>
                  </a:lnTo>
                  <a:lnTo>
                    <a:pt x="359" y="1988"/>
                  </a:lnTo>
                  <a:lnTo>
                    <a:pt x="369" y="1992"/>
                  </a:lnTo>
                  <a:lnTo>
                    <a:pt x="383" y="2005"/>
                  </a:lnTo>
                  <a:lnTo>
                    <a:pt x="399" y="2018"/>
                  </a:lnTo>
                  <a:lnTo>
                    <a:pt x="406" y="2019"/>
                  </a:lnTo>
                  <a:lnTo>
                    <a:pt x="414" y="2020"/>
                  </a:lnTo>
                  <a:lnTo>
                    <a:pt x="416" y="2022"/>
                  </a:lnTo>
                  <a:lnTo>
                    <a:pt x="419" y="2023"/>
                  </a:lnTo>
                  <a:lnTo>
                    <a:pt x="421" y="2025"/>
                  </a:lnTo>
                  <a:lnTo>
                    <a:pt x="421" y="2029"/>
                  </a:lnTo>
                  <a:lnTo>
                    <a:pt x="420" y="2035"/>
                  </a:lnTo>
                  <a:lnTo>
                    <a:pt x="419" y="2043"/>
                  </a:lnTo>
                  <a:lnTo>
                    <a:pt x="419" y="2092"/>
                  </a:lnTo>
                  <a:lnTo>
                    <a:pt x="419" y="2101"/>
                  </a:lnTo>
                  <a:lnTo>
                    <a:pt x="415" y="2108"/>
                  </a:lnTo>
                  <a:lnTo>
                    <a:pt x="411" y="2115"/>
                  </a:lnTo>
                  <a:lnTo>
                    <a:pt x="406" y="2121"/>
                  </a:lnTo>
                  <a:lnTo>
                    <a:pt x="395" y="2133"/>
                  </a:lnTo>
                  <a:lnTo>
                    <a:pt x="385" y="2147"/>
                  </a:lnTo>
                  <a:lnTo>
                    <a:pt x="385" y="2147"/>
                  </a:lnTo>
                  <a:lnTo>
                    <a:pt x="621" y="2136"/>
                  </a:lnTo>
                  <a:lnTo>
                    <a:pt x="632" y="2153"/>
                  </a:lnTo>
                  <a:lnTo>
                    <a:pt x="642" y="2170"/>
                  </a:lnTo>
                  <a:lnTo>
                    <a:pt x="650" y="2187"/>
                  </a:lnTo>
                  <a:lnTo>
                    <a:pt x="657" y="2204"/>
                  </a:lnTo>
                  <a:lnTo>
                    <a:pt x="668" y="2240"/>
                  </a:lnTo>
                  <a:lnTo>
                    <a:pt x="681" y="2281"/>
                  </a:lnTo>
                  <a:lnTo>
                    <a:pt x="686" y="2293"/>
                  </a:lnTo>
                  <a:lnTo>
                    <a:pt x="692" y="2306"/>
                  </a:lnTo>
                  <a:lnTo>
                    <a:pt x="698" y="2317"/>
                  </a:lnTo>
                  <a:lnTo>
                    <a:pt x="704" y="2327"/>
                  </a:lnTo>
                  <a:lnTo>
                    <a:pt x="710" y="2338"/>
                  </a:lnTo>
                  <a:lnTo>
                    <a:pt x="717" y="2349"/>
                  </a:lnTo>
                  <a:lnTo>
                    <a:pt x="722" y="2360"/>
                  </a:lnTo>
                  <a:lnTo>
                    <a:pt x="725" y="2374"/>
                  </a:lnTo>
                  <a:lnTo>
                    <a:pt x="732" y="2375"/>
                  </a:lnTo>
                  <a:lnTo>
                    <a:pt x="736" y="2378"/>
                  </a:lnTo>
                  <a:lnTo>
                    <a:pt x="754" y="2371"/>
                  </a:lnTo>
                  <a:lnTo>
                    <a:pt x="771" y="2364"/>
                  </a:lnTo>
                  <a:lnTo>
                    <a:pt x="771" y="2364"/>
                  </a:lnTo>
                  <a:lnTo>
                    <a:pt x="939" y="1729"/>
                  </a:lnTo>
                  <a:lnTo>
                    <a:pt x="1438" y="1664"/>
                  </a:lnTo>
                  <a:lnTo>
                    <a:pt x="1438" y="1664"/>
                  </a:lnTo>
                  <a:lnTo>
                    <a:pt x="1438" y="1663"/>
                  </a:lnTo>
                  <a:lnTo>
                    <a:pt x="1438" y="1662"/>
                  </a:lnTo>
                  <a:lnTo>
                    <a:pt x="1442" y="1653"/>
                  </a:lnTo>
                  <a:lnTo>
                    <a:pt x="1444" y="1646"/>
                  </a:lnTo>
                  <a:lnTo>
                    <a:pt x="1447" y="1642"/>
                  </a:lnTo>
                  <a:lnTo>
                    <a:pt x="1449" y="1640"/>
                  </a:lnTo>
                  <a:lnTo>
                    <a:pt x="1453" y="1638"/>
                  </a:lnTo>
                  <a:lnTo>
                    <a:pt x="1457" y="1638"/>
                  </a:lnTo>
                  <a:lnTo>
                    <a:pt x="1466" y="1640"/>
                  </a:lnTo>
                  <a:lnTo>
                    <a:pt x="1473" y="1642"/>
                  </a:lnTo>
                  <a:lnTo>
                    <a:pt x="1480" y="1647"/>
                  </a:lnTo>
                  <a:lnTo>
                    <a:pt x="1487" y="1652"/>
                  </a:lnTo>
                  <a:lnTo>
                    <a:pt x="1493" y="1657"/>
                  </a:lnTo>
                  <a:lnTo>
                    <a:pt x="1499" y="1662"/>
                  </a:lnTo>
                  <a:lnTo>
                    <a:pt x="1507" y="1666"/>
                  </a:lnTo>
                  <a:lnTo>
                    <a:pt x="1515" y="1667"/>
                  </a:lnTo>
                  <a:lnTo>
                    <a:pt x="1520" y="1666"/>
                  </a:lnTo>
                  <a:lnTo>
                    <a:pt x="1524" y="1666"/>
                  </a:lnTo>
                  <a:lnTo>
                    <a:pt x="1528" y="1663"/>
                  </a:lnTo>
                  <a:lnTo>
                    <a:pt x="1531" y="1662"/>
                  </a:lnTo>
                  <a:lnTo>
                    <a:pt x="1536" y="1656"/>
                  </a:lnTo>
                  <a:lnTo>
                    <a:pt x="1540" y="1649"/>
                  </a:lnTo>
                  <a:lnTo>
                    <a:pt x="1544" y="1641"/>
                  </a:lnTo>
                  <a:lnTo>
                    <a:pt x="1546" y="1632"/>
                  </a:lnTo>
                  <a:lnTo>
                    <a:pt x="1549" y="1623"/>
                  </a:lnTo>
                  <a:lnTo>
                    <a:pt x="1550" y="1613"/>
                  </a:lnTo>
                  <a:lnTo>
                    <a:pt x="1550" y="1604"/>
                  </a:lnTo>
                  <a:lnTo>
                    <a:pt x="1551" y="1594"/>
                  </a:lnTo>
                  <a:lnTo>
                    <a:pt x="1552" y="1590"/>
                  </a:lnTo>
                  <a:lnTo>
                    <a:pt x="1555" y="1586"/>
                  </a:lnTo>
                  <a:lnTo>
                    <a:pt x="1557" y="1585"/>
                  </a:lnTo>
                  <a:lnTo>
                    <a:pt x="1561" y="1584"/>
                  </a:lnTo>
                  <a:lnTo>
                    <a:pt x="1565" y="1584"/>
                  </a:lnTo>
                  <a:lnTo>
                    <a:pt x="1569" y="1585"/>
                  </a:lnTo>
                  <a:lnTo>
                    <a:pt x="1571" y="1587"/>
                  </a:lnTo>
                  <a:lnTo>
                    <a:pt x="1575" y="1589"/>
                  </a:lnTo>
                  <a:lnTo>
                    <a:pt x="1580" y="1595"/>
                  </a:lnTo>
                  <a:lnTo>
                    <a:pt x="1584" y="1601"/>
                  </a:lnTo>
                  <a:lnTo>
                    <a:pt x="1588" y="1607"/>
                  </a:lnTo>
                  <a:lnTo>
                    <a:pt x="1593" y="1612"/>
                  </a:lnTo>
                  <a:lnTo>
                    <a:pt x="1596" y="1615"/>
                  </a:lnTo>
                  <a:lnTo>
                    <a:pt x="1600" y="1616"/>
                  </a:lnTo>
                  <a:lnTo>
                    <a:pt x="1603" y="1617"/>
                  </a:lnTo>
                  <a:lnTo>
                    <a:pt x="1607" y="1618"/>
                  </a:lnTo>
                  <a:lnTo>
                    <a:pt x="1623" y="1615"/>
                  </a:lnTo>
                  <a:lnTo>
                    <a:pt x="1641" y="1611"/>
                  </a:lnTo>
                  <a:lnTo>
                    <a:pt x="1664" y="1611"/>
                  </a:lnTo>
                  <a:lnTo>
                    <a:pt x="1684" y="1611"/>
                  </a:lnTo>
                  <a:lnTo>
                    <a:pt x="1694" y="1611"/>
                  </a:lnTo>
                  <a:lnTo>
                    <a:pt x="1705" y="1610"/>
                  </a:lnTo>
                  <a:lnTo>
                    <a:pt x="1715" y="1607"/>
                  </a:lnTo>
                  <a:lnTo>
                    <a:pt x="1726" y="1604"/>
                  </a:lnTo>
                  <a:lnTo>
                    <a:pt x="1730" y="1610"/>
                  </a:lnTo>
                  <a:lnTo>
                    <a:pt x="1733" y="1616"/>
                  </a:lnTo>
                  <a:lnTo>
                    <a:pt x="1731" y="1625"/>
                  </a:lnTo>
                  <a:lnTo>
                    <a:pt x="1728" y="1632"/>
                  </a:lnTo>
                  <a:lnTo>
                    <a:pt x="1724" y="1640"/>
                  </a:lnTo>
                  <a:lnTo>
                    <a:pt x="1718" y="1644"/>
                  </a:lnTo>
                  <a:lnTo>
                    <a:pt x="1704" y="1654"/>
                  </a:lnTo>
                  <a:lnTo>
                    <a:pt x="1689" y="1664"/>
                  </a:lnTo>
                  <a:lnTo>
                    <a:pt x="1674" y="1678"/>
                  </a:lnTo>
                  <a:lnTo>
                    <a:pt x="1662" y="1690"/>
                  </a:lnTo>
                  <a:lnTo>
                    <a:pt x="1656" y="1697"/>
                  </a:lnTo>
                  <a:lnTo>
                    <a:pt x="1648" y="1700"/>
                  </a:lnTo>
                  <a:lnTo>
                    <a:pt x="1639" y="1704"/>
                  </a:lnTo>
                  <a:lnTo>
                    <a:pt x="1631" y="1705"/>
                  </a:lnTo>
                  <a:lnTo>
                    <a:pt x="1612" y="1702"/>
                  </a:lnTo>
                  <a:lnTo>
                    <a:pt x="1595" y="1699"/>
                  </a:lnTo>
                  <a:lnTo>
                    <a:pt x="1586" y="1699"/>
                  </a:lnTo>
                  <a:lnTo>
                    <a:pt x="1579" y="1700"/>
                  </a:lnTo>
                  <a:lnTo>
                    <a:pt x="1581" y="1711"/>
                  </a:lnTo>
                  <a:lnTo>
                    <a:pt x="1582" y="1721"/>
                  </a:lnTo>
                  <a:lnTo>
                    <a:pt x="1585" y="1731"/>
                  </a:lnTo>
                  <a:lnTo>
                    <a:pt x="1588" y="1741"/>
                  </a:lnTo>
                  <a:lnTo>
                    <a:pt x="1593" y="1751"/>
                  </a:lnTo>
                  <a:lnTo>
                    <a:pt x="1598" y="1760"/>
                  </a:lnTo>
                  <a:lnTo>
                    <a:pt x="1601" y="1765"/>
                  </a:lnTo>
                  <a:lnTo>
                    <a:pt x="1602" y="1769"/>
                  </a:lnTo>
                  <a:lnTo>
                    <a:pt x="1603" y="1773"/>
                  </a:lnTo>
                  <a:lnTo>
                    <a:pt x="1603" y="1780"/>
                  </a:lnTo>
                  <a:lnTo>
                    <a:pt x="1603" y="1787"/>
                  </a:lnTo>
                  <a:lnTo>
                    <a:pt x="1602" y="1793"/>
                  </a:lnTo>
                  <a:lnTo>
                    <a:pt x="1601" y="1800"/>
                  </a:lnTo>
                  <a:lnTo>
                    <a:pt x="1598" y="1806"/>
                  </a:lnTo>
                  <a:lnTo>
                    <a:pt x="1598" y="1806"/>
                  </a:lnTo>
                  <a:lnTo>
                    <a:pt x="1606" y="1818"/>
                  </a:lnTo>
                  <a:lnTo>
                    <a:pt x="1613" y="1828"/>
                  </a:lnTo>
                  <a:lnTo>
                    <a:pt x="1621" y="1837"/>
                  </a:lnTo>
                  <a:lnTo>
                    <a:pt x="1629" y="1845"/>
                  </a:lnTo>
                  <a:lnTo>
                    <a:pt x="1647" y="1860"/>
                  </a:lnTo>
                  <a:lnTo>
                    <a:pt x="1665" y="1879"/>
                  </a:lnTo>
                  <a:lnTo>
                    <a:pt x="1673" y="1890"/>
                  </a:lnTo>
                  <a:lnTo>
                    <a:pt x="1678" y="1900"/>
                  </a:lnTo>
                  <a:lnTo>
                    <a:pt x="1682" y="1910"/>
                  </a:lnTo>
                  <a:lnTo>
                    <a:pt x="1684" y="1921"/>
                  </a:lnTo>
                  <a:lnTo>
                    <a:pt x="1688" y="1931"/>
                  </a:lnTo>
                  <a:lnTo>
                    <a:pt x="1690" y="1942"/>
                  </a:lnTo>
                  <a:lnTo>
                    <a:pt x="1694" y="1953"/>
                  </a:lnTo>
                  <a:lnTo>
                    <a:pt x="1699" y="1965"/>
                  </a:lnTo>
                  <a:lnTo>
                    <a:pt x="1711" y="1986"/>
                  </a:lnTo>
                  <a:lnTo>
                    <a:pt x="1723" y="2004"/>
                  </a:lnTo>
                  <a:lnTo>
                    <a:pt x="1734" y="2023"/>
                  </a:lnTo>
                  <a:lnTo>
                    <a:pt x="1745" y="2044"/>
                  </a:lnTo>
                  <a:lnTo>
                    <a:pt x="1750" y="2056"/>
                  </a:lnTo>
                  <a:lnTo>
                    <a:pt x="1755" y="2067"/>
                  </a:lnTo>
                  <a:lnTo>
                    <a:pt x="1760" y="2080"/>
                  </a:lnTo>
                  <a:lnTo>
                    <a:pt x="1762" y="2092"/>
                  </a:lnTo>
                  <a:lnTo>
                    <a:pt x="1764" y="2102"/>
                  </a:lnTo>
                  <a:lnTo>
                    <a:pt x="1765" y="2111"/>
                  </a:lnTo>
                  <a:lnTo>
                    <a:pt x="1766" y="2116"/>
                  </a:lnTo>
                  <a:lnTo>
                    <a:pt x="1769" y="2118"/>
                  </a:lnTo>
                  <a:lnTo>
                    <a:pt x="1772" y="2121"/>
                  </a:lnTo>
                  <a:lnTo>
                    <a:pt x="1776" y="2121"/>
                  </a:lnTo>
                  <a:lnTo>
                    <a:pt x="1793" y="2120"/>
                  </a:lnTo>
                  <a:lnTo>
                    <a:pt x="1810" y="2117"/>
                  </a:lnTo>
                  <a:lnTo>
                    <a:pt x="1826" y="2113"/>
                  </a:lnTo>
                  <a:lnTo>
                    <a:pt x="1839" y="2108"/>
                  </a:lnTo>
                  <a:lnTo>
                    <a:pt x="1854" y="2103"/>
                  </a:lnTo>
                  <a:lnTo>
                    <a:pt x="1869" y="2100"/>
                  </a:lnTo>
                  <a:lnTo>
                    <a:pt x="1885" y="2097"/>
                  </a:lnTo>
                  <a:lnTo>
                    <a:pt x="1903" y="2096"/>
                  </a:lnTo>
                  <a:lnTo>
                    <a:pt x="1915" y="2096"/>
                  </a:lnTo>
                  <a:lnTo>
                    <a:pt x="1928" y="2100"/>
                  </a:lnTo>
                  <a:lnTo>
                    <a:pt x="1937" y="2103"/>
                  </a:lnTo>
                  <a:lnTo>
                    <a:pt x="1947" y="2108"/>
                  </a:lnTo>
                  <a:lnTo>
                    <a:pt x="1967" y="2120"/>
                  </a:lnTo>
                  <a:lnTo>
                    <a:pt x="1990" y="2132"/>
                  </a:lnTo>
                  <a:lnTo>
                    <a:pt x="2008" y="2141"/>
                  </a:lnTo>
                  <a:lnTo>
                    <a:pt x="2024" y="2149"/>
                  </a:lnTo>
                  <a:lnTo>
                    <a:pt x="2041" y="2156"/>
                  </a:lnTo>
                  <a:lnTo>
                    <a:pt x="2057" y="2161"/>
                  </a:lnTo>
                  <a:lnTo>
                    <a:pt x="2074" y="2164"/>
                  </a:lnTo>
                  <a:lnTo>
                    <a:pt x="2090" y="2167"/>
                  </a:lnTo>
                  <a:lnTo>
                    <a:pt x="2109" y="2169"/>
                  </a:lnTo>
                  <a:lnTo>
                    <a:pt x="2129" y="2169"/>
                  </a:lnTo>
                  <a:lnTo>
                    <a:pt x="2144" y="2169"/>
                  </a:lnTo>
                  <a:lnTo>
                    <a:pt x="2156" y="2167"/>
                  </a:lnTo>
                  <a:lnTo>
                    <a:pt x="2169" y="2163"/>
                  </a:lnTo>
                  <a:lnTo>
                    <a:pt x="2181" y="2159"/>
                  </a:lnTo>
                  <a:lnTo>
                    <a:pt x="2192" y="2156"/>
                  </a:lnTo>
                  <a:lnTo>
                    <a:pt x="2205" y="2153"/>
                  </a:lnTo>
                  <a:lnTo>
                    <a:pt x="2218" y="2151"/>
                  </a:lnTo>
                  <a:lnTo>
                    <a:pt x="2232" y="2149"/>
                  </a:lnTo>
                  <a:lnTo>
                    <a:pt x="2277" y="2149"/>
                  </a:lnTo>
                  <a:lnTo>
                    <a:pt x="2280" y="2168"/>
                  </a:lnTo>
                  <a:lnTo>
                    <a:pt x="2284" y="2184"/>
                  </a:lnTo>
                  <a:lnTo>
                    <a:pt x="2288" y="2199"/>
                  </a:lnTo>
                  <a:lnTo>
                    <a:pt x="2291" y="2214"/>
                  </a:lnTo>
                  <a:lnTo>
                    <a:pt x="2295" y="2227"/>
                  </a:lnTo>
                  <a:lnTo>
                    <a:pt x="2299" y="2244"/>
                  </a:lnTo>
                  <a:lnTo>
                    <a:pt x="2303" y="2260"/>
                  </a:lnTo>
                  <a:lnTo>
                    <a:pt x="2305" y="2277"/>
                  </a:lnTo>
                  <a:lnTo>
                    <a:pt x="2305" y="2296"/>
                  </a:lnTo>
                  <a:lnTo>
                    <a:pt x="2304" y="2313"/>
                  </a:lnTo>
                  <a:lnTo>
                    <a:pt x="2304" y="2322"/>
                  </a:lnTo>
                  <a:lnTo>
                    <a:pt x="2305" y="2329"/>
                  </a:lnTo>
                  <a:lnTo>
                    <a:pt x="2306" y="2338"/>
                  </a:lnTo>
                  <a:lnTo>
                    <a:pt x="2311" y="2345"/>
                  </a:lnTo>
                  <a:lnTo>
                    <a:pt x="2318" y="2352"/>
                  </a:lnTo>
                  <a:lnTo>
                    <a:pt x="2324" y="2356"/>
                  </a:lnTo>
                  <a:lnTo>
                    <a:pt x="2331" y="2360"/>
                  </a:lnTo>
                  <a:lnTo>
                    <a:pt x="2339" y="2364"/>
                  </a:lnTo>
                  <a:lnTo>
                    <a:pt x="2346" y="2368"/>
                  </a:lnTo>
                  <a:lnTo>
                    <a:pt x="2351" y="2371"/>
                  </a:lnTo>
                  <a:lnTo>
                    <a:pt x="2354" y="2374"/>
                  </a:lnTo>
                  <a:lnTo>
                    <a:pt x="2356" y="2378"/>
                  </a:lnTo>
                  <a:lnTo>
                    <a:pt x="2356" y="2381"/>
                  </a:lnTo>
                  <a:lnTo>
                    <a:pt x="2357" y="2385"/>
                  </a:lnTo>
                  <a:lnTo>
                    <a:pt x="2357" y="2420"/>
                  </a:lnTo>
                  <a:lnTo>
                    <a:pt x="2344" y="2422"/>
                  </a:lnTo>
                  <a:lnTo>
                    <a:pt x="2331" y="2425"/>
                  </a:lnTo>
                  <a:lnTo>
                    <a:pt x="2326" y="2427"/>
                  </a:lnTo>
                  <a:lnTo>
                    <a:pt x="2321" y="2430"/>
                  </a:lnTo>
                  <a:lnTo>
                    <a:pt x="2318" y="2435"/>
                  </a:lnTo>
                  <a:lnTo>
                    <a:pt x="2314" y="2440"/>
                  </a:lnTo>
                  <a:lnTo>
                    <a:pt x="2310" y="2451"/>
                  </a:lnTo>
                  <a:lnTo>
                    <a:pt x="2308" y="2461"/>
                  </a:lnTo>
                  <a:lnTo>
                    <a:pt x="2308" y="2472"/>
                  </a:lnTo>
                  <a:lnTo>
                    <a:pt x="2308" y="2482"/>
                  </a:lnTo>
                  <a:lnTo>
                    <a:pt x="2308" y="2492"/>
                  </a:lnTo>
                  <a:lnTo>
                    <a:pt x="2308" y="2502"/>
                  </a:lnTo>
                  <a:lnTo>
                    <a:pt x="2308" y="2513"/>
                  </a:lnTo>
                  <a:lnTo>
                    <a:pt x="2305" y="2525"/>
                  </a:lnTo>
                  <a:lnTo>
                    <a:pt x="2329" y="2529"/>
                  </a:lnTo>
                  <a:lnTo>
                    <a:pt x="2351" y="2531"/>
                  </a:lnTo>
                  <a:lnTo>
                    <a:pt x="2361" y="2533"/>
                  </a:lnTo>
                  <a:lnTo>
                    <a:pt x="2370" y="2536"/>
                  </a:lnTo>
                  <a:lnTo>
                    <a:pt x="2375" y="2539"/>
                  </a:lnTo>
                  <a:lnTo>
                    <a:pt x="2378" y="2543"/>
                  </a:lnTo>
                  <a:lnTo>
                    <a:pt x="2382" y="2546"/>
                  </a:lnTo>
                  <a:lnTo>
                    <a:pt x="2386" y="2550"/>
                  </a:lnTo>
                  <a:lnTo>
                    <a:pt x="2388" y="2556"/>
                  </a:lnTo>
                  <a:lnTo>
                    <a:pt x="2390" y="2562"/>
                  </a:lnTo>
                  <a:lnTo>
                    <a:pt x="2390" y="2567"/>
                  </a:lnTo>
                  <a:lnTo>
                    <a:pt x="2388" y="2574"/>
                  </a:lnTo>
                  <a:lnTo>
                    <a:pt x="2386" y="2586"/>
                  </a:lnTo>
                  <a:lnTo>
                    <a:pt x="2386" y="2598"/>
                  </a:lnTo>
                  <a:lnTo>
                    <a:pt x="2387" y="2610"/>
                  </a:lnTo>
                  <a:lnTo>
                    <a:pt x="2390" y="2621"/>
                  </a:lnTo>
                  <a:lnTo>
                    <a:pt x="2393" y="2631"/>
                  </a:lnTo>
                  <a:lnTo>
                    <a:pt x="2397" y="2641"/>
                  </a:lnTo>
                  <a:lnTo>
                    <a:pt x="2402" y="2648"/>
                  </a:lnTo>
                  <a:lnTo>
                    <a:pt x="2408" y="2657"/>
                  </a:lnTo>
                  <a:lnTo>
                    <a:pt x="2416" y="2664"/>
                  </a:lnTo>
                  <a:lnTo>
                    <a:pt x="2426" y="2670"/>
                  </a:lnTo>
                  <a:lnTo>
                    <a:pt x="2434" y="2674"/>
                  </a:lnTo>
                  <a:lnTo>
                    <a:pt x="2442" y="2677"/>
                  </a:lnTo>
                  <a:lnTo>
                    <a:pt x="2450" y="2678"/>
                  </a:lnTo>
                  <a:lnTo>
                    <a:pt x="2459" y="2678"/>
                  </a:lnTo>
                  <a:lnTo>
                    <a:pt x="2477" y="2678"/>
                  </a:lnTo>
                  <a:lnTo>
                    <a:pt x="2496" y="2679"/>
                  </a:lnTo>
                  <a:lnTo>
                    <a:pt x="2514" y="2681"/>
                  </a:lnTo>
                  <a:lnTo>
                    <a:pt x="2530" y="2685"/>
                  </a:lnTo>
                  <a:lnTo>
                    <a:pt x="2545" y="2690"/>
                  </a:lnTo>
                  <a:lnTo>
                    <a:pt x="2558" y="2696"/>
                  </a:lnTo>
                  <a:lnTo>
                    <a:pt x="2573" y="2701"/>
                  </a:lnTo>
                  <a:lnTo>
                    <a:pt x="2588" y="2705"/>
                  </a:lnTo>
                  <a:lnTo>
                    <a:pt x="2603" y="2709"/>
                  </a:lnTo>
                  <a:lnTo>
                    <a:pt x="2622" y="2710"/>
                  </a:lnTo>
                  <a:lnTo>
                    <a:pt x="2631" y="2709"/>
                  </a:lnTo>
                  <a:lnTo>
                    <a:pt x="2638" y="2708"/>
                  </a:lnTo>
                  <a:lnTo>
                    <a:pt x="2644" y="2705"/>
                  </a:lnTo>
                  <a:lnTo>
                    <a:pt x="2650" y="2701"/>
                  </a:lnTo>
                  <a:lnTo>
                    <a:pt x="2655" y="2696"/>
                  </a:lnTo>
                  <a:lnTo>
                    <a:pt x="2660" y="2691"/>
                  </a:lnTo>
                  <a:lnTo>
                    <a:pt x="2665" y="2685"/>
                  </a:lnTo>
                  <a:lnTo>
                    <a:pt x="2669" y="2679"/>
                  </a:lnTo>
                  <a:lnTo>
                    <a:pt x="2678" y="2665"/>
                  </a:lnTo>
                  <a:lnTo>
                    <a:pt x="2688" y="2652"/>
                  </a:lnTo>
                  <a:lnTo>
                    <a:pt x="2693" y="2646"/>
                  </a:lnTo>
                  <a:lnTo>
                    <a:pt x="2698" y="2639"/>
                  </a:lnTo>
                  <a:lnTo>
                    <a:pt x="2704" y="2633"/>
                  </a:lnTo>
                  <a:lnTo>
                    <a:pt x="2710" y="2627"/>
                  </a:lnTo>
                  <a:lnTo>
                    <a:pt x="2726" y="2616"/>
                  </a:lnTo>
                  <a:lnTo>
                    <a:pt x="2741" y="2607"/>
                  </a:lnTo>
                  <a:lnTo>
                    <a:pt x="2756" y="2598"/>
                  </a:lnTo>
                  <a:lnTo>
                    <a:pt x="2771" y="2592"/>
                  </a:lnTo>
                  <a:lnTo>
                    <a:pt x="2787" y="2586"/>
                  </a:lnTo>
                  <a:lnTo>
                    <a:pt x="2803" y="2580"/>
                  </a:lnTo>
                  <a:lnTo>
                    <a:pt x="2821" y="2575"/>
                  </a:lnTo>
                  <a:lnTo>
                    <a:pt x="2840" y="2570"/>
                  </a:lnTo>
                  <a:lnTo>
                    <a:pt x="2857" y="2566"/>
                  </a:lnTo>
                  <a:lnTo>
                    <a:pt x="2869" y="2559"/>
                  </a:lnTo>
                  <a:lnTo>
                    <a:pt x="2881" y="2551"/>
                  </a:lnTo>
                  <a:lnTo>
                    <a:pt x="2891" y="2544"/>
                  </a:lnTo>
                  <a:lnTo>
                    <a:pt x="2903" y="2535"/>
                  </a:lnTo>
                  <a:lnTo>
                    <a:pt x="2914" y="2528"/>
                  </a:lnTo>
                  <a:lnTo>
                    <a:pt x="2926" y="2520"/>
                  </a:lnTo>
                  <a:lnTo>
                    <a:pt x="2941" y="2514"/>
                  </a:lnTo>
                  <a:lnTo>
                    <a:pt x="2960" y="2505"/>
                  </a:lnTo>
                  <a:lnTo>
                    <a:pt x="2976" y="2498"/>
                  </a:lnTo>
                  <a:lnTo>
                    <a:pt x="2992" y="2489"/>
                  </a:lnTo>
                  <a:lnTo>
                    <a:pt x="3006" y="2481"/>
                  </a:lnTo>
                  <a:lnTo>
                    <a:pt x="3034" y="2462"/>
                  </a:lnTo>
                  <a:lnTo>
                    <a:pt x="3069" y="2442"/>
                  </a:lnTo>
                  <a:lnTo>
                    <a:pt x="3069" y="2442"/>
                  </a:lnTo>
                  <a:lnTo>
                    <a:pt x="3085" y="2423"/>
                  </a:lnTo>
                  <a:lnTo>
                    <a:pt x="3099" y="2406"/>
                  </a:lnTo>
                  <a:lnTo>
                    <a:pt x="3106" y="2399"/>
                  </a:lnTo>
                  <a:lnTo>
                    <a:pt x="3115" y="2394"/>
                  </a:lnTo>
                  <a:lnTo>
                    <a:pt x="3120" y="2391"/>
                  </a:lnTo>
                  <a:lnTo>
                    <a:pt x="3125" y="2390"/>
                  </a:lnTo>
                  <a:lnTo>
                    <a:pt x="3131" y="2389"/>
                  </a:lnTo>
                  <a:lnTo>
                    <a:pt x="3137" y="2389"/>
                  </a:lnTo>
                  <a:lnTo>
                    <a:pt x="3150" y="2389"/>
                  </a:lnTo>
                  <a:lnTo>
                    <a:pt x="3161" y="2391"/>
                  </a:lnTo>
                  <a:lnTo>
                    <a:pt x="3171" y="2395"/>
                  </a:lnTo>
                  <a:lnTo>
                    <a:pt x="3182" y="2399"/>
                  </a:lnTo>
                  <a:lnTo>
                    <a:pt x="3192" y="2402"/>
                  </a:lnTo>
                  <a:lnTo>
                    <a:pt x="3202" y="2405"/>
                  </a:lnTo>
                  <a:lnTo>
                    <a:pt x="3213" y="2407"/>
                  </a:lnTo>
                  <a:lnTo>
                    <a:pt x="3225" y="2409"/>
                  </a:lnTo>
                  <a:lnTo>
                    <a:pt x="3295" y="2409"/>
                  </a:lnTo>
                  <a:lnTo>
                    <a:pt x="3311" y="2410"/>
                  </a:lnTo>
                  <a:lnTo>
                    <a:pt x="3324" y="2412"/>
                  </a:lnTo>
                  <a:lnTo>
                    <a:pt x="3336" y="2416"/>
                  </a:lnTo>
                  <a:lnTo>
                    <a:pt x="3347" y="2422"/>
                  </a:lnTo>
                  <a:lnTo>
                    <a:pt x="3370" y="2436"/>
                  </a:lnTo>
                  <a:lnTo>
                    <a:pt x="3396" y="2451"/>
                  </a:lnTo>
                  <a:lnTo>
                    <a:pt x="3396" y="2395"/>
                  </a:lnTo>
                  <a:lnTo>
                    <a:pt x="3396" y="2378"/>
                  </a:lnTo>
                  <a:lnTo>
                    <a:pt x="3397" y="2363"/>
                  </a:lnTo>
                  <a:lnTo>
                    <a:pt x="3398" y="2356"/>
                  </a:lnTo>
                  <a:lnTo>
                    <a:pt x="3401" y="2349"/>
                  </a:lnTo>
                  <a:lnTo>
                    <a:pt x="3403" y="2342"/>
                  </a:lnTo>
                  <a:lnTo>
                    <a:pt x="3407" y="2334"/>
                  </a:lnTo>
                  <a:lnTo>
                    <a:pt x="3412" y="2329"/>
                  </a:lnTo>
                  <a:lnTo>
                    <a:pt x="3415" y="2324"/>
                  </a:lnTo>
                  <a:lnTo>
                    <a:pt x="3420" y="2321"/>
                  </a:lnTo>
                  <a:lnTo>
                    <a:pt x="3427" y="2318"/>
                  </a:lnTo>
                  <a:lnTo>
                    <a:pt x="3438" y="2314"/>
                  </a:lnTo>
                  <a:lnTo>
                    <a:pt x="3450" y="2313"/>
                  </a:lnTo>
                  <a:lnTo>
                    <a:pt x="3476" y="2316"/>
                  </a:lnTo>
                  <a:lnTo>
                    <a:pt x="3506" y="2317"/>
                  </a:lnTo>
                  <a:lnTo>
                    <a:pt x="3524" y="2317"/>
                  </a:lnTo>
                  <a:lnTo>
                    <a:pt x="3538" y="2314"/>
                  </a:lnTo>
                  <a:lnTo>
                    <a:pt x="3546" y="2314"/>
                  </a:lnTo>
                  <a:lnTo>
                    <a:pt x="3553" y="2316"/>
                  </a:lnTo>
                  <a:lnTo>
                    <a:pt x="3562" y="2317"/>
                  </a:lnTo>
                  <a:lnTo>
                    <a:pt x="3569" y="2321"/>
                  </a:lnTo>
                  <a:lnTo>
                    <a:pt x="3581" y="2328"/>
                  </a:lnTo>
                  <a:lnTo>
                    <a:pt x="3591" y="2335"/>
                  </a:lnTo>
                  <a:lnTo>
                    <a:pt x="3598" y="2344"/>
                  </a:lnTo>
                  <a:lnTo>
                    <a:pt x="3605" y="2354"/>
                  </a:lnTo>
                  <a:lnTo>
                    <a:pt x="3612" y="2364"/>
                  </a:lnTo>
                  <a:lnTo>
                    <a:pt x="3619" y="2373"/>
                  </a:lnTo>
                  <a:lnTo>
                    <a:pt x="3628" y="2383"/>
                  </a:lnTo>
                  <a:lnTo>
                    <a:pt x="3638" y="2391"/>
                  </a:lnTo>
                  <a:lnTo>
                    <a:pt x="3655" y="2404"/>
                  </a:lnTo>
                  <a:lnTo>
                    <a:pt x="3671" y="2414"/>
                  </a:lnTo>
                  <a:lnTo>
                    <a:pt x="3687" y="2421"/>
                  </a:lnTo>
                  <a:lnTo>
                    <a:pt x="3704" y="2428"/>
                  </a:lnTo>
                  <a:lnTo>
                    <a:pt x="3720" y="2433"/>
                  </a:lnTo>
                  <a:lnTo>
                    <a:pt x="3737" y="2437"/>
                  </a:lnTo>
                  <a:lnTo>
                    <a:pt x="3757" y="2438"/>
                  </a:lnTo>
                  <a:lnTo>
                    <a:pt x="3777" y="2440"/>
                  </a:lnTo>
                  <a:lnTo>
                    <a:pt x="3788" y="2440"/>
                  </a:lnTo>
                  <a:lnTo>
                    <a:pt x="3797" y="2438"/>
                  </a:lnTo>
                  <a:lnTo>
                    <a:pt x="3805" y="2436"/>
                  </a:lnTo>
                  <a:lnTo>
                    <a:pt x="3814" y="2433"/>
                  </a:lnTo>
                  <a:lnTo>
                    <a:pt x="3830" y="2427"/>
                  </a:lnTo>
                  <a:lnTo>
                    <a:pt x="3846" y="2420"/>
                  </a:lnTo>
                  <a:lnTo>
                    <a:pt x="3861" y="2412"/>
                  </a:lnTo>
                  <a:lnTo>
                    <a:pt x="3877" y="2406"/>
                  </a:lnTo>
                  <a:lnTo>
                    <a:pt x="3886" y="2404"/>
                  </a:lnTo>
                  <a:lnTo>
                    <a:pt x="3895" y="2401"/>
                  </a:lnTo>
                  <a:lnTo>
                    <a:pt x="3905" y="2400"/>
                  </a:lnTo>
                  <a:lnTo>
                    <a:pt x="3915" y="2400"/>
                  </a:lnTo>
                  <a:lnTo>
                    <a:pt x="4028" y="2400"/>
                  </a:lnTo>
                  <a:lnTo>
                    <a:pt x="4048" y="2399"/>
                  </a:lnTo>
                  <a:lnTo>
                    <a:pt x="4066" y="2397"/>
                  </a:lnTo>
                  <a:lnTo>
                    <a:pt x="4085" y="2395"/>
                  </a:lnTo>
                  <a:lnTo>
                    <a:pt x="4106" y="2394"/>
                  </a:lnTo>
                  <a:lnTo>
                    <a:pt x="4121" y="2394"/>
                  </a:lnTo>
                  <a:lnTo>
                    <a:pt x="4135" y="2392"/>
                  </a:lnTo>
                  <a:lnTo>
                    <a:pt x="4147" y="2392"/>
                  </a:lnTo>
                  <a:lnTo>
                    <a:pt x="4162" y="2394"/>
                  </a:lnTo>
                  <a:lnTo>
                    <a:pt x="4167" y="2396"/>
                  </a:lnTo>
                  <a:lnTo>
                    <a:pt x="4172" y="2399"/>
                  </a:lnTo>
                  <a:lnTo>
                    <a:pt x="4177" y="2402"/>
                  </a:lnTo>
                  <a:lnTo>
                    <a:pt x="4181" y="2407"/>
                  </a:lnTo>
                  <a:lnTo>
                    <a:pt x="4184" y="2411"/>
                  </a:lnTo>
                  <a:lnTo>
                    <a:pt x="4189" y="2414"/>
                  </a:lnTo>
                  <a:lnTo>
                    <a:pt x="4194" y="2416"/>
                  </a:lnTo>
                  <a:lnTo>
                    <a:pt x="4199" y="2417"/>
                  </a:lnTo>
                  <a:lnTo>
                    <a:pt x="4287" y="2417"/>
                  </a:lnTo>
                  <a:lnTo>
                    <a:pt x="4292" y="2425"/>
                  </a:lnTo>
                  <a:lnTo>
                    <a:pt x="4295" y="2433"/>
                  </a:lnTo>
                  <a:lnTo>
                    <a:pt x="4299" y="2441"/>
                  </a:lnTo>
                  <a:lnTo>
                    <a:pt x="4301" y="2448"/>
                  </a:lnTo>
                  <a:lnTo>
                    <a:pt x="4304" y="2457"/>
                  </a:lnTo>
                  <a:lnTo>
                    <a:pt x="4307" y="2464"/>
                  </a:lnTo>
                  <a:lnTo>
                    <a:pt x="4312" y="2471"/>
                  </a:lnTo>
                  <a:lnTo>
                    <a:pt x="4318" y="2477"/>
                  </a:lnTo>
                  <a:lnTo>
                    <a:pt x="4335" y="2487"/>
                  </a:lnTo>
                  <a:lnTo>
                    <a:pt x="4349" y="2495"/>
                  </a:lnTo>
                  <a:lnTo>
                    <a:pt x="4366" y="2502"/>
                  </a:lnTo>
                  <a:lnTo>
                    <a:pt x="4381" y="2507"/>
                  </a:lnTo>
                  <a:lnTo>
                    <a:pt x="4413" y="2515"/>
                  </a:lnTo>
                  <a:lnTo>
                    <a:pt x="4449" y="2528"/>
                  </a:lnTo>
                  <a:lnTo>
                    <a:pt x="4449" y="2528"/>
                  </a:lnTo>
                  <a:lnTo>
                    <a:pt x="4450" y="2518"/>
                  </a:lnTo>
                  <a:lnTo>
                    <a:pt x="4453" y="2510"/>
                  </a:lnTo>
                  <a:lnTo>
                    <a:pt x="4456" y="2503"/>
                  </a:lnTo>
                  <a:lnTo>
                    <a:pt x="4461" y="2495"/>
                  </a:lnTo>
                  <a:lnTo>
                    <a:pt x="4470" y="2483"/>
                  </a:lnTo>
                  <a:lnTo>
                    <a:pt x="4480" y="2471"/>
                  </a:lnTo>
                  <a:lnTo>
                    <a:pt x="4490" y="2459"/>
                  </a:lnTo>
                  <a:lnTo>
                    <a:pt x="4498" y="2446"/>
                  </a:lnTo>
                  <a:lnTo>
                    <a:pt x="4501" y="2440"/>
                  </a:lnTo>
                  <a:lnTo>
                    <a:pt x="4503" y="2432"/>
                  </a:lnTo>
                  <a:lnTo>
                    <a:pt x="4506" y="2423"/>
                  </a:lnTo>
                  <a:lnTo>
                    <a:pt x="4506" y="2415"/>
                  </a:lnTo>
                  <a:lnTo>
                    <a:pt x="4506" y="2354"/>
                  </a:lnTo>
                  <a:lnTo>
                    <a:pt x="4507" y="2350"/>
                  </a:lnTo>
                  <a:lnTo>
                    <a:pt x="4507" y="2347"/>
                  </a:lnTo>
                  <a:lnTo>
                    <a:pt x="4510" y="2344"/>
                  </a:lnTo>
                  <a:lnTo>
                    <a:pt x="4511" y="2342"/>
                  </a:lnTo>
                  <a:lnTo>
                    <a:pt x="4517" y="2338"/>
                  </a:lnTo>
                  <a:lnTo>
                    <a:pt x="4523" y="2334"/>
                  </a:lnTo>
                  <a:lnTo>
                    <a:pt x="4530" y="2330"/>
                  </a:lnTo>
                  <a:lnTo>
                    <a:pt x="4535" y="2327"/>
                  </a:lnTo>
                  <a:lnTo>
                    <a:pt x="4537" y="2324"/>
                  </a:lnTo>
                  <a:lnTo>
                    <a:pt x="4539" y="2321"/>
                  </a:lnTo>
                  <a:lnTo>
                    <a:pt x="4539" y="2318"/>
                  </a:lnTo>
                  <a:lnTo>
                    <a:pt x="4541" y="2314"/>
                  </a:lnTo>
                  <a:lnTo>
                    <a:pt x="4539" y="2307"/>
                  </a:lnTo>
                  <a:lnTo>
                    <a:pt x="4537" y="2299"/>
                  </a:lnTo>
                  <a:lnTo>
                    <a:pt x="4535" y="2293"/>
                  </a:lnTo>
                  <a:lnTo>
                    <a:pt x="4531" y="2287"/>
                  </a:lnTo>
                  <a:lnTo>
                    <a:pt x="4522" y="2275"/>
                  </a:lnTo>
                  <a:lnTo>
                    <a:pt x="4515" y="2261"/>
                  </a:lnTo>
                  <a:lnTo>
                    <a:pt x="4511" y="2249"/>
                  </a:lnTo>
                  <a:lnTo>
                    <a:pt x="4508" y="2237"/>
                  </a:lnTo>
                  <a:lnTo>
                    <a:pt x="4507" y="2226"/>
                  </a:lnTo>
                  <a:lnTo>
                    <a:pt x="4506" y="2216"/>
                  </a:lnTo>
                  <a:lnTo>
                    <a:pt x="4506" y="2194"/>
                  </a:lnTo>
                  <a:lnTo>
                    <a:pt x="4506" y="2169"/>
                  </a:lnTo>
                  <a:lnTo>
                    <a:pt x="4507" y="2143"/>
                  </a:lnTo>
                  <a:lnTo>
                    <a:pt x="4511" y="2120"/>
                  </a:lnTo>
                  <a:lnTo>
                    <a:pt x="4513" y="2096"/>
                  </a:lnTo>
                  <a:lnTo>
                    <a:pt x="4515" y="2070"/>
                  </a:lnTo>
                  <a:lnTo>
                    <a:pt x="4515" y="2065"/>
                  </a:lnTo>
                  <a:lnTo>
                    <a:pt x="4512" y="2060"/>
                  </a:lnTo>
                  <a:lnTo>
                    <a:pt x="4510" y="2056"/>
                  </a:lnTo>
                  <a:lnTo>
                    <a:pt x="4506" y="2054"/>
                  </a:lnTo>
                  <a:lnTo>
                    <a:pt x="4501" y="2050"/>
                  </a:lnTo>
                  <a:lnTo>
                    <a:pt x="4496" y="2049"/>
                  </a:lnTo>
                  <a:lnTo>
                    <a:pt x="4491" y="2048"/>
                  </a:lnTo>
                  <a:lnTo>
                    <a:pt x="4486" y="2048"/>
                  </a:lnTo>
                  <a:lnTo>
                    <a:pt x="4426" y="2048"/>
                  </a:lnTo>
                  <a:lnTo>
                    <a:pt x="4423" y="2044"/>
                  </a:lnTo>
                  <a:lnTo>
                    <a:pt x="4418" y="2041"/>
                  </a:lnTo>
                  <a:lnTo>
                    <a:pt x="4415" y="2040"/>
                  </a:lnTo>
                  <a:lnTo>
                    <a:pt x="4414" y="2038"/>
                  </a:lnTo>
                  <a:lnTo>
                    <a:pt x="4413" y="2035"/>
                  </a:lnTo>
                  <a:lnTo>
                    <a:pt x="4413" y="2033"/>
                  </a:lnTo>
                  <a:lnTo>
                    <a:pt x="4413" y="2029"/>
                  </a:lnTo>
                  <a:lnTo>
                    <a:pt x="4414" y="2025"/>
                  </a:lnTo>
                  <a:lnTo>
                    <a:pt x="4415" y="2023"/>
                  </a:lnTo>
                  <a:lnTo>
                    <a:pt x="4418" y="2020"/>
                  </a:lnTo>
                  <a:lnTo>
                    <a:pt x="4423" y="2017"/>
                  </a:lnTo>
                  <a:lnTo>
                    <a:pt x="4430" y="2014"/>
                  </a:lnTo>
                  <a:lnTo>
                    <a:pt x="4449" y="2012"/>
                  </a:lnTo>
                  <a:lnTo>
                    <a:pt x="4466" y="2010"/>
                  </a:lnTo>
                  <a:lnTo>
                    <a:pt x="4482" y="2008"/>
                  </a:lnTo>
                  <a:lnTo>
                    <a:pt x="4495" y="2007"/>
                  </a:lnTo>
                  <a:lnTo>
                    <a:pt x="4508" y="2003"/>
                  </a:lnTo>
                  <a:lnTo>
                    <a:pt x="4523" y="1999"/>
                  </a:lnTo>
                  <a:lnTo>
                    <a:pt x="4548" y="1992"/>
                  </a:lnTo>
                  <a:lnTo>
                    <a:pt x="4571" y="1987"/>
                  </a:lnTo>
                  <a:lnTo>
                    <a:pt x="4593" y="1983"/>
                  </a:lnTo>
                  <a:lnTo>
                    <a:pt x="4618" y="1976"/>
                  </a:lnTo>
                  <a:lnTo>
                    <a:pt x="4628" y="1971"/>
                  </a:lnTo>
                  <a:lnTo>
                    <a:pt x="4636" y="1965"/>
                  </a:lnTo>
                  <a:lnTo>
                    <a:pt x="4641" y="1961"/>
                  </a:lnTo>
                  <a:lnTo>
                    <a:pt x="4646" y="1958"/>
                  </a:lnTo>
                  <a:lnTo>
                    <a:pt x="4651" y="1957"/>
                  </a:lnTo>
                  <a:lnTo>
                    <a:pt x="4657" y="1956"/>
                  </a:lnTo>
                  <a:lnTo>
                    <a:pt x="4664" y="1957"/>
                  </a:lnTo>
                  <a:lnTo>
                    <a:pt x="4670" y="1960"/>
                  </a:lnTo>
                  <a:lnTo>
                    <a:pt x="4676" y="1962"/>
                  </a:lnTo>
                  <a:lnTo>
                    <a:pt x="4681" y="1965"/>
                  </a:lnTo>
                  <a:lnTo>
                    <a:pt x="4686" y="1968"/>
                  </a:lnTo>
                  <a:lnTo>
                    <a:pt x="4692" y="1971"/>
                  </a:lnTo>
                  <a:lnTo>
                    <a:pt x="4698" y="1973"/>
                  </a:lnTo>
                  <a:lnTo>
                    <a:pt x="4706" y="1973"/>
                  </a:lnTo>
                  <a:lnTo>
                    <a:pt x="4711" y="1973"/>
                  </a:lnTo>
                  <a:lnTo>
                    <a:pt x="4715" y="1972"/>
                  </a:lnTo>
                  <a:lnTo>
                    <a:pt x="4718" y="1969"/>
                  </a:lnTo>
                  <a:lnTo>
                    <a:pt x="4722" y="1967"/>
                  </a:lnTo>
                  <a:lnTo>
                    <a:pt x="4730" y="1961"/>
                  </a:lnTo>
                  <a:lnTo>
                    <a:pt x="4736" y="1953"/>
                  </a:lnTo>
                  <a:lnTo>
                    <a:pt x="4742" y="1946"/>
                  </a:lnTo>
                  <a:lnTo>
                    <a:pt x="4748" y="1940"/>
                  </a:lnTo>
                  <a:lnTo>
                    <a:pt x="4752" y="1937"/>
                  </a:lnTo>
                  <a:lnTo>
                    <a:pt x="4756" y="1935"/>
                  </a:lnTo>
                  <a:lnTo>
                    <a:pt x="4761" y="1934"/>
                  </a:lnTo>
                  <a:lnTo>
                    <a:pt x="4766" y="1934"/>
                  </a:lnTo>
                  <a:lnTo>
                    <a:pt x="4768" y="1934"/>
                  </a:lnTo>
                  <a:lnTo>
                    <a:pt x="4772" y="1935"/>
                  </a:lnTo>
                  <a:lnTo>
                    <a:pt x="4773" y="1937"/>
                  </a:lnTo>
                  <a:lnTo>
                    <a:pt x="4775" y="1938"/>
                  </a:lnTo>
                  <a:lnTo>
                    <a:pt x="4780" y="1943"/>
                  </a:lnTo>
                  <a:lnTo>
                    <a:pt x="4785" y="1947"/>
                  </a:lnTo>
                  <a:lnTo>
                    <a:pt x="4808" y="1931"/>
                  </a:lnTo>
                  <a:lnTo>
                    <a:pt x="4808" y="1894"/>
                  </a:lnTo>
                  <a:lnTo>
                    <a:pt x="4793" y="1894"/>
                  </a:lnTo>
                  <a:lnTo>
                    <a:pt x="4778" y="1891"/>
                  </a:lnTo>
                  <a:lnTo>
                    <a:pt x="4772" y="1889"/>
                  </a:lnTo>
                  <a:lnTo>
                    <a:pt x="4767" y="1885"/>
                  </a:lnTo>
                  <a:lnTo>
                    <a:pt x="4766" y="1883"/>
                  </a:lnTo>
                  <a:lnTo>
                    <a:pt x="4763" y="1880"/>
                  </a:lnTo>
                  <a:lnTo>
                    <a:pt x="4763" y="1878"/>
                  </a:lnTo>
                  <a:lnTo>
                    <a:pt x="4762" y="1874"/>
                  </a:lnTo>
                  <a:lnTo>
                    <a:pt x="4763" y="1865"/>
                  </a:lnTo>
                  <a:lnTo>
                    <a:pt x="4764" y="1858"/>
                  </a:lnTo>
                  <a:lnTo>
                    <a:pt x="4767" y="1850"/>
                  </a:lnTo>
                  <a:lnTo>
                    <a:pt x="4769" y="1843"/>
                  </a:lnTo>
                  <a:lnTo>
                    <a:pt x="4777" y="1829"/>
                  </a:lnTo>
                  <a:lnTo>
                    <a:pt x="4783" y="1814"/>
                  </a:lnTo>
                  <a:lnTo>
                    <a:pt x="4789" y="1787"/>
                  </a:lnTo>
                  <a:lnTo>
                    <a:pt x="4794" y="1762"/>
                  </a:lnTo>
                  <a:lnTo>
                    <a:pt x="4797" y="1738"/>
                  </a:lnTo>
                  <a:lnTo>
                    <a:pt x="4797" y="1709"/>
                  </a:lnTo>
                  <a:lnTo>
                    <a:pt x="4847" y="1709"/>
                  </a:lnTo>
                  <a:lnTo>
                    <a:pt x="4856" y="1713"/>
                  </a:lnTo>
                  <a:lnTo>
                    <a:pt x="4865" y="1715"/>
                  </a:lnTo>
                  <a:lnTo>
                    <a:pt x="4876" y="1714"/>
                  </a:lnTo>
                  <a:lnTo>
                    <a:pt x="4886" y="1710"/>
                  </a:lnTo>
                  <a:lnTo>
                    <a:pt x="4896" y="1705"/>
                  </a:lnTo>
                  <a:lnTo>
                    <a:pt x="4905" y="1700"/>
                  </a:lnTo>
                  <a:lnTo>
                    <a:pt x="4913" y="1695"/>
                  </a:lnTo>
                  <a:lnTo>
                    <a:pt x="4923" y="1690"/>
                  </a:lnTo>
                  <a:lnTo>
                    <a:pt x="4933" y="1688"/>
                  </a:lnTo>
                  <a:lnTo>
                    <a:pt x="4944" y="1687"/>
                  </a:lnTo>
                  <a:lnTo>
                    <a:pt x="4951" y="1687"/>
                  </a:lnTo>
                  <a:lnTo>
                    <a:pt x="4957" y="1688"/>
                  </a:lnTo>
                  <a:lnTo>
                    <a:pt x="4963" y="1689"/>
                  </a:lnTo>
                  <a:lnTo>
                    <a:pt x="4968" y="1692"/>
                  </a:lnTo>
                  <a:lnTo>
                    <a:pt x="4977" y="1698"/>
                  </a:lnTo>
                  <a:lnTo>
                    <a:pt x="4987" y="1705"/>
                  </a:lnTo>
                  <a:lnTo>
                    <a:pt x="4995" y="1711"/>
                  </a:lnTo>
                  <a:lnTo>
                    <a:pt x="5005" y="1718"/>
                  </a:lnTo>
                  <a:lnTo>
                    <a:pt x="5010" y="1720"/>
                  </a:lnTo>
                  <a:lnTo>
                    <a:pt x="5015" y="1721"/>
                  </a:lnTo>
                  <a:lnTo>
                    <a:pt x="5021" y="1723"/>
                  </a:lnTo>
                  <a:lnTo>
                    <a:pt x="5028" y="1723"/>
                  </a:lnTo>
                  <a:lnTo>
                    <a:pt x="5040" y="1721"/>
                  </a:lnTo>
                  <a:lnTo>
                    <a:pt x="5052" y="1720"/>
                  </a:lnTo>
                  <a:lnTo>
                    <a:pt x="5052" y="1702"/>
                  </a:lnTo>
                  <a:lnTo>
                    <a:pt x="5052" y="1684"/>
                  </a:lnTo>
                  <a:lnTo>
                    <a:pt x="5052" y="1675"/>
                  </a:lnTo>
                  <a:lnTo>
                    <a:pt x="5055" y="1668"/>
                  </a:lnTo>
                  <a:lnTo>
                    <a:pt x="5059" y="1659"/>
                  </a:lnTo>
                  <a:lnTo>
                    <a:pt x="5064" y="1652"/>
                  </a:lnTo>
                  <a:lnTo>
                    <a:pt x="5069" y="1647"/>
                  </a:lnTo>
                  <a:lnTo>
                    <a:pt x="5075" y="1642"/>
                  </a:lnTo>
                  <a:lnTo>
                    <a:pt x="5080" y="1638"/>
                  </a:lnTo>
                  <a:lnTo>
                    <a:pt x="5086" y="1635"/>
                  </a:lnTo>
                  <a:lnTo>
                    <a:pt x="5098" y="1628"/>
                  </a:lnTo>
                  <a:lnTo>
                    <a:pt x="5111" y="1623"/>
                  </a:lnTo>
                  <a:lnTo>
                    <a:pt x="5121" y="1616"/>
                  </a:lnTo>
                  <a:lnTo>
                    <a:pt x="5129" y="1609"/>
                  </a:lnTo>
                  <a:lnTo>
                    <a:pt x="5133" y="1605"/>
                  </a:lnTo>
                  <a:lnTo>
                    <a:pt x="5136" y="1600"/>
                  </a:lnTo>
                  <a:lnTo>
                    <a:pt x="5138" y="1594"/>
                  </a:lnTo>
                  <a:lnTo>
                    <a:pt x="5138" y="1586"/>
                  </a:lnTo>
                  <a:lnTo>
                    <a:pt x="5138" y="1579"/>
                  </a:lnTo>
                  <a:lnTo>
                    <a:pt x="5137" y="1571"/>
                  </a:lnTo>
                  <a:lnTo>
                    <a:pt x="5134" y="1565"/>
                  </a:lnTo>
                  <a:lnTo>
                    <a:pt x="5132" y="1559"/>
                  </a:lnTo>
                  <a:lnTo>
                    <a:pt x="5126" y="1546"/>
                  </a:lnTo>
                  <a:lnTo>
                    <a:pt x="5118" y="1535"/>
                  </a:lnTo>
                  <a:lnTo>
                    <a:pt x="5111" y="1524"/>
                  </a:lnTo>
                  <a:lnTo>
                    <a:pt x="5105" y="1512"/>
                  </a:lnTo>
                  <a:lnTo>
                    <a:pt x="5102" y="1506"/>
                  </a:lnTo>
                  <a:lnTo>
                    <a:pt x="5100" y="1499"/>
                  </a:lnTo>
                  <a:lnTo>
                    <a:pt x="5098" y="1492"/>
                  </a:lnTo>
                  <a:lnTo>
                    <a:pt x="5098" y="1484"/>
                  </a:lnTo>
                  <a:lnTo>
                    <a:pt x="5098" y="1472"/>
                  </a:lnTo>
                  <a:lnTo>
                    <a:pt x="5100" y="1461"/>
                  </a:lnTo>
                  <a:lnTo>
                    <a:pt x="5102" y="1451"/>
                  </a:lnTo>
                  <a:lnTo>
                    <a:pt x="5103" y="1441"/>
                  </a:lnTo>
                  <a:lnTo>
                    <a:pt x="5108" y="1421"/>
                  </a:lnTo>
                  <a:lnTo>
                    <a:pt x="5112" y="1399"/>
                  </a:lnTo>
                  <a:lnTo>
                    <a:pt x="5113" y="1388"/>
                  </a:lnTo>
                  <a:lnTo>
                    <a:pt x="5112" y="1378"/>
                  </a:lnTo>
                  <a:lnTo>
                    <a:pt x="5112" y="1373"/>
                  </a:lnTo>
                  <a:lnTo>
                    <a:pt x="5113" y="1368"/>
                  </a:lnTo>
                  <a:lnTo>
                    <a:pt x="5116" y="1364"/>
                  </a:lnTo>
                  <a:lnTo>
                    <a:pt x="5118" y="1359"/>
                  </a:lnTo>
                  <a:lnTo>
                    <a:pt x="5123" y="1354"/>
                  </a:lnTo>
                  <a:lnTo>
                    <a:pt x="5129" y="1349"/>
                  </a:lnTo>
                  <a:lnTo>
                    <a:pt x="5134" y="1346"/>
                  </a:lnTo>
                  <a:lnTo>
                    <a:pt x="5141" y="1343"/>
                  </a:lnTo>
                  <a:lnTo>
                    <a:pt x="5153" y="1339"/>
                  </a:lnTo>
                  <a:lnTo>
                    <a:pt x="5165" y="1337"/>
                  </a:lnTo>
                  <a:lnTo>
                    <a:pt x="5179" y="1334"/>
                  </a:lnTo>
                  <a:lnTo>
                    <a:pt x="5192" y="1332"/>
                  </a:lnTo>
                  <a:lnTo>
                    <a:pt x="5199" y="1329"/>
                  </a:lnTo>
                  <a:lnTo>
                    <a:pt x="5205" y="1327"/>
                  </a:lnTo>
                  <a:lnTo>
                    <a:pt x="5211" y="1323"/>
                  </a:lnTo>
                  <a:lnTo>
                    <a:pt x="5218" y="1319"/>
                  </a:lnTo>
                  <a:lnTo>
                    <a:pt x="5226" y="1313"/>
                  </a:lnTo>
                  <a:lnTo>
                    <a:pt x="5234" y="1306"/>
                  </a:lnTo>
                  <a:lnTo>
                    <a:pt x="5240" y="1300"/>
                  </a:lnTo>
                  <a:lnTo>
                    <a:pt x="5245" y="1292"/>
                  </a:lnTo>
                  <a:lnTo>
                    <a:pt x="5250" y="1285"/>
                  </a:lnTo>
                  <a:lnTo>
                    <a:pt x="5255" y="1276"/>
                  </a:lnTo>
                  <a:lnTo>
                    <a:pt x="5259" y="1269"/>
                  </a:lnTo>
                  <a:lnTo>
                    <a:pt x="5262" y="1260"/>
                  </a:lnTo>
                  <a:lnTo>
                    <a:pt x="5267" y="1243"/>
                  </a:lnTo>
                  <a:lnTo>
                    <a:pt x="5271" y="1224"/>
                  </a:lnTo>
                  <a:lnTo>
                    <a:pt x="5274" y="1204"/>
                  </a:lnTo>
                  <a:lnTo>
                    <a:pt x="5275" y="1183"/>
                  </a:lnTo>
                  <a:lnTo>
                    <a:pt x="5329" y="1183"/>
                  </a:lnTo>
                  <a:lnTo>
                    <a:pt x="5343" y="1169"/>
                  </a:lnTo>
                  <a:lnTo>
                    <a:pt x="5355" y="1159"/>
                  </a:lnTo>
                  <a:lnTo>
                    <a:pt x="5368" y="1148"/>
                  </a:lnTo>
                  <a:lnTo>
                    <a:pt x="5383" y="1136"/>
                  </a:lnTo>
                  <a:lnTo>
                    <a:pt x="5383" y="1136"/>
                  </a:lnTo>
                  <a:lnTo>
                    <a:pt x="5377" y="1135"/>
                  </a:lnTo>
                  <a:lnTo>
                    <a:pt x="5373" y="1133"/>
                  </a:lnTo>
                  <a:lnTo>
                    <a:pt x="5368" y="1132"/>
                  </a:lnTo>
                  <a:lnTo>
                    <a:pt x="5364" y="1130"/>
                  </a:lnTo>
                  <a:lnTo>
                    <a:pt x="5358" y="1124"/>
                  </a:lnTo>
                  <a:lnTo>
                    <a:pt x="5352" y="1117"/>
                  </a:lnTo>
                  <a:lnTo>
                    <a:pt x="5346" y="1110"/>
                  </a:lnTo>
                  <a:lnTo>
                    <a:pt x="5339" y="1102"/>
                  </a:lnTo>
                  <a:lnTo>
                    <a:pt x="5332" y="1096"/>
                  </a:lnTo>
                  <a:lnTo>
                    <a:pt x="5323" y="1092"/>
                  </a:lnTo>
                  <a:lnTo>
                    <a:pt x="5305" y="1086"/>
                  </a:lnTo>
                  <a:lnTo>
                    <a:pt x="5286" y="1084"/>
                  </a:lnTo>
                  <a:lnTo>
                    <a:pt x="5269" y="1083"/>
                  </a:lnTo>
                  <a:lnTo>
                    <a:pt x="5249" y="1078"/>
                  </a:lnTo>
                  <a:lnTo>
                    <a:pt x="5245" y="1075"/>
                  </a:lnTo>
                  <a:lnTo>
                    <a:pt x="5240" y="1071"/>
                  </a:lnTo>
                  <a:lnTo>
                    <a:pt x="5237" y="1068"/>
                  </a:lnTo>
                  <a:lnTo>
                    <a:pt x="5234" y="1064"/>
                  </a:lnTo>
                  <a:lnTo>
                    <a:pt x="5231" y="1059"/>
                  </a:lnTo>
                  <a:lnTo>
                    <a:pt x="5228" y="1055"/>
                  </a:lnTo>
                  <a:lnTo>
                    <a:pt x="5223" y="1053"/>
                  </a:lnTo>
                  <a:lnTo>
                    <a:pt x="5218" y="1052"/>
                  </a:lnTo>
                  <a:lnTo>
                    <a:pt x="5213" y="1053"/>
                  </a:lnTo>
                  <a:lnTo>
                    <a:pt x="5209" y="1055"/>
                  </a:lnTo>
                  <a:lnTo>
                    <a:pt x="5205" y="1058"/>
                  </a:lnTo>
                  <a:lnTo>
                    <a:pt x="5203" y="1061"/>
                  </a:lnTo>
                  <a:lnTo>
                    <a:pt x="5199" y="1070"/>
                  </a:lnTo>
                  <a:lnTo>
                    <a:pt x="5195" y="1080"/>
                  </a:lnTo>
                  <a:lnTo>
                    <a:pt x="5184" y="1100"/>
                  </a:lnTo>
                  <a:lnTo>
                    <a:pt x="5173" y="1117"/>
                  </a:lnTo>
                  <a:lnTo>
                    <a:pt x="5168" y="1130"/>
                  </a:lnTo>
                  <a:lnTo>
                    <a:pt x="5167" y="1143"/>
                  </a:lnTo>
                  <a:lnTo>
                    <a:pt x="5165" y="1148"/>
                  </a:lnTo>
                  <a:lnTo>
                    <a:pt x="5164" y="1155"/>
                  </a:lnTo>
                  <a:lnTo>
                    <a:pt x="5162" y="1161"/>
                  </a:lnTo>
                  <a:lnTo>
                    <a:pt x="5158" y="1166"/>
                  </a:lnTo>
                  <a:lnTo>
                    <a:pt x="5154" y="1171"/>
                  </a:lnTo>
                  <a:lnTo>
                    <a:pt x="5149" y="1174"/>
                  </a:lnTo>
                  <a:lnTo>
                    <a:pt x="5144" y="1178"/>
                  </a:lnTo>
                  <a:lnTo>
                    <a:pt x="5139" y="1181"/>
                  </a:lnTo>
                  <a:lnTo>
                    <a:pt x="5129" y="1184"/>
                  </a:lnTo>
                  <a:lnTo>
                    <a:pt x="5118" y="1186"/>
                  </a:lnTo>
                  <a:lnTo>
                    <a:pt x="5096" y="1187"/>
                  </a:lnTo>
                  <a:lnTo>
                    <a:pt x="5070" y="1186"/>
                  </a:lnTo>
                  <a:lnTo>
                    <a:pt x="5059" y="1184"/>
                  </a:lnTo>
                  <a:lnTo>
                    <a:pt x="5049" y="1182"/>
                  </a:lnTo>
                  <a:lnTo>
                    <a:pt x="5039" y="1178"/>
                  </a:lnTo>
                  <a:lnTo>
                    <a:pt x="5031" y="1172"/>
                  </a:lnTo>
                  <a:lnTo>
                    <a:pt x="5025" y="1166"/>
                  </a:lnTo>
                  <a:lnTo>
                    <a:pt x="5019" y="1157"/>
                  </a:lnTo>
                  <a:lnTo>
                    <a:pt x="5014" y="1148"/>
                  </a:lnTo>
                  <a:lnTo>
                    <a:pt x="5009" y="1138"/>
                  </a:lnTo>
                  <a:lnTo>
                    <a:pt x="5000" y="1116"/>
                  </a:lnTo>
                  <a:lnTo>
                    <a:pt x="4992" y="1094"/>
                  </a:lnTo>
                  <a:lnTo>
                    <a:pt x="4982" y="1071"/>
                  </a:lnTo>
                  <a:lnTo>
                    <a:pt x="4970" y="1049"/>
                  </a:lnTo>
                  <a:lnTo>
                    <a:pt x="4964" y="1042"/>
                  </a:lnTo>
                  <a:lnTo>
                    <a:pt x="4958" y="1035"/>
                  </a:lnTo>
                  <a:lnTo>
                    <a:pt x="4951" y="1030"/>
                  </a:lnTo>
                  <a:lnTo>
                    <a:pt x="4943" y="1026"/>
                  </a:lnTo>
                  <a:lnTo>
                    <a:pt x="4936" y="1022"/>
                  </a:lnTo>
                  <a:lnTo>
                    <a:pt x="4929" y="1017"/>
                  </a:lnTo>
                  <a:lnTo>
                    <a:pt x="4922" y="1011"/>
                  </a:lnTo>
                  <a:lnTo>
                    <a:pt x="4916" y="1004"/>
                  </a:lnTo>
                  <a:lnTo>
                    <a:pt x="4906" y="990"/>
                  </a:lnTo>
                  <a:lnTo>
                    <a:pt x="4896" y="976"/>
                  </a:lnTo>
                  <a:lnTo>
                    <a:pt x="4886" y="963"/>
                  </a:lnTo>
                  <a:lnTo>
                    <a:pt x="4874" y="950"/>
                  </a:lnTo>
                  <a:lnTo>
                    <a:pt x="4846" y="924"/>
                  </a:lnTo>
                  <a:lnTo>
                    <a:pt x="4824" y="899"/>
                  </a:lnTo>
                  <a:lnTo>
                    <a:pt x="4818" y="894"/>
                  </a:lnTo>
                  <a:lnTo>
                    <a:pt x="4811" y="889"/>
                  </a:lnTo>
                  <a:lnTo>
                    <a:pt x="4805" y="884"/>
                  </a:lnTo>
                  <a:lnTo>
                    <a:pt x="4799" y="880"/>
                  </a:lnTo>
                  <a:lnTo>
                    <a:pt x="4792" y="878"/>
                  </a:lnTo>
                  <a:lnTo>
                    <a:pt x="4783" y="875"/>
                  </a:lnTo>
                  <a:lnTo>
                    <a:pt x="4774" y="874"/>
                  </a:lnTo>
                  <a:lnTo>
                    <a:pt x="4766" y="873"/>
                  </a:lnTo>
                  <a:lnTo>
                    <a:pt x="4751" y="874"/>
                  </a:lnTo>
                  <a:lnTo>
                    <a:pt x="4738" y="878"/>
                  </a:lnTo>
                  <a:lnTo>
                    <a:pt x="4727" y="883"/>
                  </a:lnTo>
                  <a:lnTo>
                    <a:pt x="4716" y="889"/>
                  </a:lnTo>
                  <a:lnTo>
                    <a:pt x="4705" y="894"/>
                  </a:lnTo>
                  <a:lnTo>
                    <a:pt x="4692" y="899"/>
                  </a:lnTo>
                  <a:lnTo>
                    <a:pt x="4680" y="903"/>
                  </a:lnTo>
                  <a:lnTo>
                    <a:pt x="4666" y="904"/>
                  </a:lnTo>
                  <a:lnTo>
                    <a:pt x="4640" y="905"/>
                  </a:lnTo>
                  <a:lnTo>
                    <a:pt x="4616" y="904"/>
                  </a:lnTo>
                  <a:lnTo>
                    <a:pt x="4607" y="901"/>
                  </a:lnTo>
                  <a:lnTo>
                    <a:pt x="4597" y="898"/>
                  </a:lnTo>
                  <a:lnTo>
                    <a:pt x="4592" y="894"/>
                  </a:lnTo>
                  <a:lnTo>
                    <a:pt x="4588" y="890"/>
                  </a:lnTo>
                  <a:lnTo>
                    <a:pt x="4584" y="887"/>
                  </a:lnTo>
                  <a:lnTo>
                    <a:pt x="4580" y="882"/>
                  </a:lnTo>
                  <a:lnTo>
                    <a:pt x="4574" y="864"/>
                  </a:lnTo>
                  <a:lnTo>
                    <a:pt x="4569" y="847"/>
                  </a:lnTo>
                  <a:lnTo>
                    <a:pt x="4562" y="841"/>
                  </a:lnTo>
                  <a:lnTo>
                    <a:pt x="4556" y="836"/>
                  </a:lnTo>
                  <a:lnTo>
                    <a:pt x="4548" y="832"/>
                  </a:lnTo>
                  <a:lnTo>
                    <a:pt x="4539" y="830"/>
                  </a:lnTo>
                  <a:lnTo>
                    <a:pt x="4522" y="828"/>
                  </a:lnTo>
                  <a:lnTo>
                    <a:pt x="4502" y="827"/>
                  </a:lnTo>
                  <a:lnTo>
                    <a:pt x="4495" y="828"/>
                  </a:lnTo>
                  <a:lnTo>
                    <a:pt x="4486" y="831"/>
                  </a:lnTo>
                  <a:lnTo>
                    <a:pt x="4489" y="847"/>
                  </a:lnTo>
                  <a:lnTo>
                    <a:pt x="4487" y="864"/>
                  </a:lnTo>
                  <a:lnTo>
                    <a:pt x="4477" y="866"/>
                  </a:lnTo>
                  <a:lnTo>
                    <a:pt x="4467" y="868"/>
                  </a:lnTo>
                  <a:lnTo>
                    <a:pt x="4459" y="872"/>
                  </a:lnTo>
                  <a:lnTo>
                    <a:pt x="4450" y="875"/>
                  </a:lnTo>
                  <a:lnTo>
                    <a:pt x="4441" y="880"/>
                  </a:lnTo>
                  <a:lnTo>
                    <a:pt x="4433" y="884"/>
                  </a:lnTo>
                  <a:lnTo>
                    <a:pt x="4423" y="887"/>
                  </a:lnTo>
                  <a:lnTo>
                    <a:pt x="4413" y="888"/>
                  </a:lnTo>
                  <a:lnTo>
                    <a:pt x="4408" y="887"/>
                  </a:lnTo>
                  <a:lnTo>
                    <a:pt x="4404" y="885"/>
                  </a:lnTo>
                  <a:lnTo>
                    <a:pt x="4400" y="884"/>
                  </a:lnTo>
                  <a:lnTo>
                    <a:pt x="4398" y="882"/>
                  </a:lnTo>
                  <a:lnTo>
                    <a:pt x="4393" y="877"/>
                  </a:lnTo>
                  <a:lnTo>
                    <a:pt x="4389" y="869"/>
                  </a:lnTo>
                  <a:lnTo>
                    <a:pt x="4383" y="852"/>
                  </a:lnTo>
                  <a:lnTo>
                    <a:pt x="4378" y="833"/>
                  </a:lnTo>
                  <a:lnTo>
                    <a:pt x="4369" y="806"/>
                  </a:lnTo>
                  <a:lnTo>
                    <a:pt x="4361" y="781"/>
                  </a:lnTo>
                  <a:lnTo>
                    <a:pt x="4351" y="758"/>
                  </a:lnTo>
                  <a:lnTo>
                    <a:pt x="4338" y="730"/>
                  </a:lnTo>
                  <a:lnTo>
                    <a:pt x="4325" y="705"/>
                  </a:lnTo>
                  <a:lnTo>
                    <a:pt x="4310" y="682"/>
                  </a:lnTo>
                  <a:lnTo>
                    <a:pt x="4295" y="662"/>
                  </a:lnTo>
                  <a:lnTo>
                    <a:pt x="4279" y="642"/>
                  </a:lnTo>
                  <a:lnTo>
                    <a:pt x="4264" y="624"/>
                  </a:lnTo>
                  <a:lnTo>
                    <a:pt x="4249" y="603"/>
                  </a:lnTo>
                  <a:lnTo>
                    <a:pt x="4234" y="580"/>
                  </a:lnTo>
                  <a:lnTo>
                    <a:pt x="4219" y="554"/>
                  </a:lnTo>
                  <a:lnTo>
                    <a:pt x="4193" y="507"/>
                  </a:lnTo>
                  <a:lnTo>
                    <a:pt x="4168" y="466"/>
                  </a:lnTo>
                  <a:lnTo>
                    <a:pt x="4156" y="446"/>
                  </a:lnTo>
                  <a:lnTo>
                    <a:pt x="4141" y="426"/>
                  </a:lnTo>
                  <a:lnTo>
                    <a:pt x="4126" y="407"/>
                  </a:lnTo>
                  <a:lnTo>
                    <a:pt x="4107" y="384"/>
                  </a:lnTo>
                  <a:lnTo>
                    <a:pt x="4085" y="357"/>
                  </a:lnTo>
                  <a:lnTo>
                    <a:pt x="4065" y="333"/>
                  </a:lnTo>
                  <a:lnTo>
                    <a:pt x="4054" y="322"/>
                  </a:lnTo>
                  <a:lnTo>
                    <a:pt x="4043" y="311"/>
                  </a:lnTo>
                  <a:lnTo>
                    <a:pt x="4029" y="301"/>
                  </a:lnTo>
                  <a:lnTo>
                    <a:pt x="4014" y="290"/>
                  </a:lnTo>
                  <a:lnTo>
                    <a:pt x="4000" y="283"/>
                  </a:lnTo>
                  <a:lnTo>
                    <a:pt x="3988" y="276"/>
                  </a:lnTo>
                  <a:lnTo>
                    <a:pt x="3982" y="273"/>
                  </a:lnTo>
                  <a:lnTo>
                    <a:pt x="3976" y="269"/>
                  </a:lnTo>
                  <a:lnTo>
                    <a:pt x="3971" y="265"/>
                  </a:lnTo>
                  <a:lnTo>
                    <a:pt x="3966" y="259"/>
                  </a:lnTo>
                  <a:lnTo>
                    <a:pt x="3958" y="256"/>
                  </a:lnTo>
                  <a:lnTo>
                    <a:pt x="3955" y="253"/>
                  </a:lnTo>
                  <a:lnTo>
                    <a:pt x="3955" y="248"/>
                  </a:lnTo>
                  <a:lnTo>
                    <a:pt x="3957" y="243"/>
                  </a:lnTo>
                  <a:lnTo>
                    <a:pt x="3959" y="238"/>
                  </a:lnTo>
                  <a:lnTo>
                    <a:pt x="3962" y="233"/>
                  </a:lnTo>
                  <a:lnTo>
                    <a:pt x="3966" y="229"/>
                  </a:lnTo>
                  <a:lnTo>
                    <a:pt x="3968" y="224"/>
                  </a:lnTo>
                  <a:lnTo>
                    <a:pt x="3971" y="219"/>
                  </a:lnTo>
                  <a:lnTo>
                    <a:pt x="3971" y="213"/>
                  </a:lnTo>
                  <a:lnTo>
                    <a:pt x="3969" y="199"/>
                  </a:lnTo>
                  <a:lnTo>
                    <a:pt x="3968" y="185"/>
                  </a:lnTo>
                  <a:lnTo>
                    <a:pt x="3951" y="182"/>
                  </a:lnTo>
                  <a:lnTo>
                    <a:pt x="3943" y="186"/>
                  </a:lnTo>
                  <a:lnTo>
                    <a:pt x="3936" y="191"/>
                  </a:lnTo>
                  <a:lnTo>
                    <a:pt x="3930" y="196"/>
                  </a:lnTo>
                  <a:lnTo>
                    <a:pt x="3925" y="201"/>
                  </a:lnTo>
                  <a:lnTo>
                    <a:pt x="3918" y="207"/>
                  </a:lnTo>
                  <a:lnTo>
                    <a:pt x="3912" y="212"/>
                  </a:lnTo>
                  <a:lnTo>
                    <a:pt x="3905" y="216"/>
                  </a:lnTo>
                  <a:lnTo>
                    <a:pt x="3897" y="219"/>
                  </a:lnTo>
                  <a:lnTo>
                    <a:pt x="3889" y="222"/>
                  </a:lnTo>
                  <a:lnTo>
                    <a:pt x="3879" y="222"/>
                  </a:lnTo>
                  <a:lnTo>
                    <a:pt x="3870" y="222"/>
                  </a:lnTo>
                  <a:lnTo>
                    <a:pt x="3861" y="222"/>
                  </a:lnTo>
                  <a:lnTo>
                    <a:pt x="3854" y="222"/>
                  </a:lnTo>
                  <a:lnTo>
                    <a:pt x="3846" y="223"/>
                  </a:lnTo>
                  <a:lnTo>
                    <a:pt x="3843" y="225"/>
                  </a:lnTo>
                  <a:lnTo>
                    <a:pt x="3840" y="227"/>
                  </a:lnTo>
                  <a:lnTo>
                    <a:pt x="3837" y="230"/>
                  </a:lnTo>
                  <a:lnTo>
                    <a:pt x="3834" y="233"/>
                  </a:lnTo>
                  <a:lnTo>
                    <a:pt x="3824" y="248"/>
                  </a:lnTo>
                  <a:lnTo>
                    <a:pt x="3814" y="261"/>
                  </a:lnTo>
                  <a:lnTo>
                    <a:pt x="3805" y="274"/>
                  </a:lnTo>
                  <a:lnTo>
                    <a:pt x="3796" y="285"/>
                  </a:lnTo>
                  <a:lnTo>
                    <a:pt x="3784" y="296"/>
                  </a:lnTo>
                  <a:lnTo>
                    <a:pt x="3772" y="306"/>
                  </a:lnTo>
                  <a:lnTo>
                    <a:pt x="3758" y="315"/>
                  </a:lnTo>
                  <a:lnTo>
                    <a:pt x="3743" y="325"/>
                  </a:lnTo>
                  <a:lnTo>
                    <a:pt x="3732" y="335"/>
                  </a:lnTo>
                  <a:lnTo>
                    <a:pt x="3721" y="345"/>
                  </a:lnTo>
                  <a:lnTo>
                    <a:pt x="3709" y="347"/>
                  </a:lnTo>
                  <a:lnTo>
                    <a:pt x="3697" y="348"/>
                  </a:lnTo>
                  <a:lnTo>
                    <a:pt x="3687" y="348"/>
                  </a:lnTo>
                  <a:lnTo>
                    <a:pt x="3678" y="348"/>
                  </a:lnTo>
                  <a:lnTo>
                    <a:pt x="3668" y="349"/>
                  </a:lnTo>
                  <a:lnTo>
                    <a:pt x="3656" y="349"/>
                  </a:lnTo>
                  <a:lnTo>
                    <a:pt x="3646" y="352"/>
                  </a:lnTo>
                  <a:lnTo>
                    <a:pt x="3635" y="356"/>
                  </a:lnTo>
                  <a:lnTo>
                    <a:pt x="3628" y="359"/>
                  </a:lnTo>
                  <a:lnTo>
                    <a:pt x="3623" y="364"/>
                  </a:lnTo>
                  <a:lnTo>
                    <a:pt x="3619" y="371"/>
                  </a:lnTo>
                  <a:lnTo>
                    <a:pt x="3614" y="377"/>
                  </a:lnTo>
                  <a:lnTo>
                    <a:pt x="3610" y="383"/>
                  </a:lnTo>
                  <a:lnTo>
                    <a:pt x="3605" y="388"/>
                  </a:lnTo>
                  <a:lnTo>
                    <a:pt x="3603" y="390"/>
                  </a:lnTo>
                  <a:lnTo>
                    <a:pt x="3599" y="392"/>
                  </a:lnTo>
                  <a:lnTo>
                    <a:pt x="3597" y="392"/>
                  </a:lnTo>
                  <a:lnTo>
                    <a:pt x="3592" y="393"/>
                  </a:lnTo>
                  <a:lnTo>
                    <a:pt x="3587" y="389"/>
                  </a:lnTo>
                  <a:lnTo>
                    <a:pt x="3581" y="387"/>
                  </a:lnTo>
                  <a:lnTo>
                    <a:pt x="3581" y="373"/>
                  </a:lnTo>
                  <a:lnTo>
                    <a:pt x="3591" y="352"/>
                  </a:lnTo>
                  <a:lnTo>
                    <a:pt x="3602" y="333"/>
                  </a:lnTo>
                  <a:lnTo>
                    <a:pt x="3605" y="325"/>
                  </a:lnTo>
                  <a:lnTo>
                    <a:pt x="3609" y="315"/>
                  </a:lnTo>
                  <a:lnTo>
                    <a:pt x="3612" y="305"/>
                  </a:lnTo>
                  <a:lnTo>
                    <a:pt x="3612" y="294"/>
                  </a:lnTo>
                  <a:lnTo>
                    <a:pt x="3610" y="284"/>
                  </a:lnTo>
                  <a:lnTo>
                    <a:pt x="3607" y="276"/>
                  </a:lnTo>
                  <a:lnTo>
                    <a:pt x="3591" y="278"/>
                  </a:lnTo>
                  <a:lnTo>
                    <a:pt x="3576" y="276"/>
                  </a:lnTo>
                  <a:lnTo>
                    <a:pt x="3562" y="275"/>
                  </a:lnTo>
                  <a:lnTo>
                    <a:pt x="3550" y="271"/>
                  </a:lnTo>
                  <a:lnTo>
                    <a:pt x="3536" y="268"/>
                  </a:lnTo>
                  <a:lnTo>
                    <a:pt x="3522" y="265"/>
                  </a:lnTo>
                  <a:lnTo>
                    <a:pt x="3507" y="263"/>
                  </a:lnTo>
                  <a:lnTo>
                    <a:pt x="3492" y="261"/>
                  </a:lnTo>
                  <a:lnTo>
                    <a:pt x="3478" y="263"/>
                  </a:lnTo>
                  <a:lnTo>
                    <a:pt x="3463" y="265"/>
                  </a:lnTo>
                  <a:lnTo>
                    <a:pt x="3463" y="281"/>
                  </a:lnTo>
                  <a:lnTo>
                    <a:pt x="3463" y="299"/>
                  </a:lnTo>
                  <a:lnTo>
                    <a:pt x="3439" y="299"/>
                  </a:lnTo>
                  <a:lnTo>
                    <a:pt x="3428" y="286"/>
                  </a:lnTo>
                  <a:lnTo>
                    <a:pt x="3419" y="271"/>
                  </a:lnTo>
                  <a:lnTo>
                    <a:pt x="3415" y="265"/>
                  </a:lnTo>
                  <a:lnTo>
                    <a:pt x="3411" y="260"/>
                  </a:lnTo>
                  <a:lnTo>
                    <a:pt x="3407" y="259"/>
                  </a:lnTo>
                  <a:lnTo>
                    <a:pt x="3404" y="258"/>
                  </a:lnTo>
                  <a:lnTo>
                    <a:pt x="3401" y="256"/>
                  </a:lnTo>
                  <a:lnTo>
                    <a:pt x="3396" y="256"/>
                  </a:lnTo>
                  <a:lnTo>
                    <a:pt x="3384" y="256"/>
                  </a:lnTo>
                  <a:lnTo>
                    <a:pt x="3373" y="259"/>
                  </a:lnTo>
                  <a:lnTo>
                    <a:pt x="3362" y="261"/>
                  </a:lnTo>
                  <a:lnTo>
                    <a:pt x="3351" y="261"/>
                  </a:lnTo>
                  <a:lnTo>
                    <a:pt x="3346" y="261"/>
                  </a:lnTo>
                  <a:lnTo>
                    <a:pt x="3341" y="260"/>
                  </a:lnTo>
                  <a:lnTo>
                    <a:pt x="3337" y="259"/>
                  </a:lnTo>
                  <a:lnTo>
                    <a:pt x="3334" y="255"/>
                  </a:lnTo>
                  <a:lnTo>
                    <a:pt x="3329" y="249"/>
                  </a:lnTo>
                  <a:lnTo>
                    <a:pt x="3325" y="240"/>
                  </a:lnTo>
                  <a:lnTo>
                    <a:pt x="3321" y="230"/>
                  </a:lnTo>
                  <a:lnTo>
                    <a:pt x="3320" y="220"/>
                  </a:lnTo>
                  <a:lnTo>
                    <a:pt x="3320" y="209"/>
                  </a:lnTo>
                  <a:lnTo>
                    <a:pt x="3319" y="198"/>
                  </a:lnTo>
                  <a:lnTo>
                    <a:pt x="3320" y="186"/>
                  </a:lnTo>
                  <a:lnTo>
                    <a:pt x="3321" y="175"/>
                  </a:lnTo>
                  <a:lnTo>
                    <a:pt x="3321" y="163"/>
                  </a:lnTo>
                  <a:lnTo>
                    <a:pt x="3322" y="150"/>
                  </a:lnTo>
                  <a:lnTo>
                    <a:pt x="3321" y="136"/>
                  </a:lnTo>
                  <a:lnTo>
                    <a:pt x="3319" y="124"/>
                  </a:lnTo>
                  <a:lnTo>
                    <a:pt x="3315" y="113"/>
                  </a:lnTo>
                  <a:lnTo>
                    <a:pt x="3310" y="101"/>
                  </a:lnTo>
                  <a:lnTo>
                    <a:pt x="3300" y="79"/>
                  </a:lnTo>
                  <a:lnTo>
                    <a:pt x="3290" y="54"/>
                  </a:lnTo>
                  <a:lnTo>
                    <a:pt x="3289" y="39"/>
                  </a:lnTo>
                  <a:lnTo>
                    <a:pt x="3288" y="23"/>
                  </a:lnTo>
                  <a:lnTo>
                    <a:pt x="3286" y="16"/>
                  </a:lnTo>
                  <a:lnTo>
                    <a:pt x="3284" y="11"/>
                  </a:lnTo>
                  <a:lnTo>
                    <a:pt x="3283" y="8"/>
                  </a:lnTo>
                  <a:lnTo>
                    <a:pt x="3280" y="7"/>
                  </a:lnTo>
                  <a:lnTo>
                    <a:pt x="3276" y="6"/>
                  </a:lnTo>
                  <a:lnTo>
                    <a:pt x="3274" y="6"/>
                  </a:lnTo>
                  <a:lnTo>
                    <a:pt x="3255" y="10"/>
                  </a:lnTo>
                  <a:lnTo>
                    <a:pt x="3238" y="15"/>
                  </a:lnTo>
                  <a:lnTo>
                    <a:pt x="3223" y="13"/>
                  </a:lnTo>
                  <a:lnTo>
                    <a:pt x="3211" y="12"/>
                  </a:lnTo>
                  <a:lnTo>
                    <a:pt x="3198" y="10"/>
                  </a:lnTo>
                  <a:lnTo>
                    <a:pt x="3186" y="7"/>
                  </a:lnTo>
                  <a:lnTo>
                    <a:pt x="3175" y="5"/>
                  </a:lnTo>
                  <a:lnTo>
                    <a:pt x="3162" y="2"/>
                  </a:lnTo>
                  <a:lnTo>
                    <a:pt x="3148" y="1"/>
                  </a:lnTo>
                  <a:lnTo>
                    <a:pt x="3134" y="0"/>
                  </a:lnTo>
                  <a:lnTo>
                    <a:pt x="3114" y="1"/>
                  </a:lnTo>
                  <a:lnTo>
                    <a:pt x="3095" y="5"/>
                  </a:lnTo>
                  <a:lnTo>
                    <a:pt x="3078" y="10"/>
                  </a:lnTo>
                  <a:lnTo>
                    <a:pt x="3062" y="16"/>
                  </a:lnTo>
                  <a:lnTo>
                    <a:pt x="3028" y="31"/>
                  </a:lnTo>
                  <a:lnTo>
                    <a:pt x="2992" y="48"/>
                  </a:lnTo>
                  <a:lnTo>
                    <a:pt x="2981" y="58"/>
                  </a:lnTo>
                  <a:lnTo>
                    <a:pt x="2968" y="65"/>
                  </a:lnTo>
                  <a:lnTo>
                    <a:pt x="2937" y="72"/>
                  </a:lnTo>
                  <a:lnTo>
                    <a:pt x="2907" y="77"/>
                  </a:lnTo>
                  <a:lnTo>
                    <a:pt x="2880" y="78"/>
                  </a:lnTo>
                  <a:lnTo>
                    <a:pt x="2853" y="78"/>
                  </a:lnTo>
                  <a:lnTo>
                    <a:pt x="2826" y="78"/>
                  </a:lnTo>
                  <a:lnTo>
                    <a:pt x="2798" y="78"/>
                  </a:lnTo>
                  <a:lnTo>
                    <a:pt x="2768" y="79"/>
                  </a:lnTo>
                  <a:lnTo>
                    <a:pt x="2736" y="83"/>
                  </a:lnTo>
                  <a:lnTo>
                    <a:pt x="2721" y="85"/>
                  </a:lnTo>
                  <a:lnTo>
                    <a:pt x="2709" y="90"/>
                  </a:lnTo>
                  <a:lnTo>
                    <a:pt x="2698" y="95"/>
                  </a:lnTo>
                  <a:lnTo>
                    <a:pt x="2686" y="101"/>
                  </a:lnTo>
                  <a:lnTo>
                    <a:pt x="2675" y="108"/>
                  </a:lnTo>
                  <a:lnTo>
                    <a:pt x="2664" y="113"/>
                  </a:lnTo>
                  <a:lnTo>
                    <a:pt x="2652" y="115"/>
                  </a:lnTo>
                  <a:lnTo>
                    <a:pt x="2637" y="116"/>
                  </a:lnTo>
                  <a:lnTo>
                    <a:pt x="2622" y="116"/>
                  </a:lnTo>
                  <a:lnTo>
                    <a:pt x="2607" y="114"/>
                  </a:lnTo>
                  <a:lnTo>
                    <a:pt x="2593" y="113"/>
                  </a:lnTo>
                  <a:lnTo>
                    <a:pt x="2577" y="111"/>
                  </a:lnTo>
                  <a:lnTo>
                    <a:pt x="2563" y="111"/>
                  </a:lnTo>
                  <a:lnTo>
                    <a:pt x="2550" y="114"/>
                  </a:lnTo>
                  <a:lnTo>
                    <a:pt x="2537" y="116"/>
                  </a:lnTo>
                  <a:lnTo>
                    <a:pt x="2525" y="119"/>
                  </a:lnTo>
                  <a:lnTo>
                    <a:pt x="2501" y="125"/>
                  </a:lnTo>
                  <a:lnTo>
                    <a:pt x="2474" y="131"/>
                  </a:lnTo>
                  <a:lnTo>
                    <a:pt x="2455" y="132"/>
                  </a:lnTo>
                  <a:lnTo>
                    <a:pt x="2439" y="134"/>
                  </a:lnTo>
                  <a:lnTo>
                    <a:pt x="2423" y="135"/>
                  </a:lnTo>
                  <a:lnTo>
                    <a:pt x="2406" y="140"/>
                  </a:lnTo>
                  <a:lnTo>
                    <a:pt x="2398" y="142"/>
                  </a:lnTo>
                  <a:lnTo>
                    <a:pt x="2391" y="147"/>
                  </a:lnTo>
                  <a:lnTo>
                    <a:pt x="2386" y="152"/>
                  </a:lnTo>
                  <a:lnTo>
                    <a:pt x="2380" y="158"/>
                  </a:lnTo>
                  <a:lnTo>
                    <a:pt x="2375" y="162"/>
                  </a:lnTo>
                  <a:lnTo>
                    <a:pt x="2368" y="167"/>
                  </a:lnTo>
                  <a:lnTo>
                    <a:pt x="2362" y="170"/>
                  </a:lnTo>
                  <a:lnTo>
                    <a:pt x="2354" y="171"/>
                  </a:lnTo>
                  <a:lnTo>
                    <a:pt x="2346" y="170"/>
                  </a:lnTo>
                  <a:lnTo>
                    <a:pt x="2339" y="168"/>
                  </a:lnTo>
                  <a:lnTo>
                    <a:pt x="2332" y="166"/>
                  </a:lnTo>
                  <a:lnTo>
                    <a:pt x="2325" y="162"/>
                  </a:lnTo>
                  <a:lnTo>
                    <a:pt x="2319" y="160"/>
                  </a:lnTo>
                  <a:lnTo>
                    <a:pt x="2313" y="156"/>
                  </a:lnTo>
                  <a:lnTo>
                    <a:pt x="2305" y="155"/>
                  </a:lnTo>
                  <a:lnTo>
                    <a:pt x="2298" y="153"/>
                  </a:lnTo>
                  <a:lnTo>
                    <a:pt x="2286" y="155"/>
                  </a:lnTo>
                  <a:lnTo>
                    <a:pt x="2278" y="156"/>
                  </a:lnTo>
                  <a:lnTo>
                    <a:pt x="2269" y="158"/>
                  </a:lnTo>
                  <a:lnTo>
                    <a:pt x="2260" y="161"/>
                  </a:lnTo>
                  <a:lnTo>
                    <a:pt x="2252" y="163"/>
                  </a:lnTo>
                  <a:lnTo>
                    <a:pt x="2243" y="166"/>
                  </a:lnTo>
                  <a:lnTo>
                    <a:pt x="2233" y="167"/>
                  </a:lnTo>
                  <a:lnTo>
                    <a:pt x="2223" y="168"/>
                  </a:lnTo>
                  <a:lnTo>
                    <a:pt x="2208" y="167"/>
                  </a:lnTo>
                  <a:lnTo>
                    <a:pt x="2195" y="165"/>
                  </a:lnTo>
                  <a:lnTo>
                    <a:pt x="2181" y="163"/>
                  </a:lnTo>
                  <a:lnTo>
                    <a:pt x="2166" y="162"/>
                  </a:lnTo>
                  <a:lnTo>
                    <a:pt x="2160" y="162"/>
                  </a:lnTo>
                  <a:lnTo>
                    <a:pt x="2154" y="163"/>
                  </a:lnTo>
                  <a:lnTo>
                    <a:pt x="2147" y="166"/>
                  </a:lnTo>
                  <a:lnTo>
                    <a:pt x="2141" y="168"/>
                  </a:lnTo>
                  <a:lnTo>
                    <a:pt x="2136" y="172"/>
                  </a:lnTo>
                  <a:lnTo>
                    <a:pt x="2132" y="176"/>
                  </a:lnTo>
                  <a:lnTo>
                    <a:pt x="2128" y="181"/>
                  </a:lnTo>
                  <a:lnTo>
                    <a:pt x="2124" y="186"/>
                  </a:lnTo>
                  <a:lnTo>
                    <a:pt x="2118" y="197"/>
                  </a:lnTo>
                  <a:lnTo>
                    <a:pt x="2113" y="211"/>
                  </a:lnTo>
                  <a:lnTo>
                    <a:pt x="2109" y="223"/>
                  </a:lnTo>
                  <a:lnTo>
                    <a:pt x="2106" y="238"/>
                  </a:lnTo>
                  <a:lnTo>
                    <a:pt x="2116" y="235"/>
                  </a:lnTo>
                  <a:lnTo>
                    <a:pt x="2125" y="234"/>
                  </a:lnTo>
                  <a:lnTo>
                    <a:pt x="2134" y="235"/>
                  </a:lnTo>
                  <a:lnTo>
                    <a:pt x="2144" y="238"/>
                  </a:lnTo>
                  <a:lnTo>
                    <a:pt x="2142" y="248"/>
                  </a:lnTo>
                  <a:lnTo>
                    <a:pt x="2141" y="258"/>
                  </a:lnTo>
                  <a:lnTo>
                    <a:pt x="2140" y="266"/>
                  </a:lnTo>
                  <a:lnTo>
                    <a:pt x="2137" y="276"/>
                  </a:lnTo>
                  <a:lnTo>
                    <a:pt x="2132" y="283"/>
                  </a:lnTo>
                  <a:lnTo>
                    <a:pt x="2126" y="289"/>
                  </a:lnTo>
                  <a:lnTo>
                    <a:pt x="2123" y="291"/>
                  </a:lnTo>
                  <a:lnTo>
                    <a:pt x="2120" y="294"/>
                  </a:lnTo>
                  <a:lnTo>
                    <a:pt x="2119" y="297"/>
                  </a:lnTo>
                  <a:lnTo>
                    <a:pt x="2118" y="301"/>
                  </a:lnTo>
                  <a:lnTo>
                    <a:pt x="2119" y="309"/>
                  </a:lnTo>
                  <a:lnTo>
                    <a:pt x="2120" y="315"/>
                  </a:lnTo>
                  <a:lnTo>
                    <a:pt x="2123" y="320"/>
                  </a:lnTo>
                  <a:lnTo>
                    <a:pt x="2126" y="323"/>
                  </a:lnTo>
                  <a:lnTo>
                    <a:pt x="2131" y="327"/>
                  </a:lnTo>
                  <a:lnTo>
                    <a:pt x="2136" y="331"/>
                  </a:lnTo>
                  <a:lnTo>
                    <a:pt x="2142" y="333"/>
                  </a:lnTo>
                  <a:lnTo>
                    <a:pt x="2149" y="336"/>
                  </a:lnTo>
                  <a:lnTo>
                    <a:pt x="2177" y="343"/>
                  </a:lnTo>
                  <a:lnTo>
                    <a:pt x="2206" y="353"/>
                  </a:lnTo>
                  <a:lnTo>
                    <a:pt x="2196" y="359"/>
                  </a:lnTo>
                  <a:lnTo>
                    <a:pt x="2186" y="366"/>
                  </a:lnTo>
                  <a:lnTo>
                    <a:pt x="2176" y="368"/>
                  </a:lnTo>
                  <a:lnTo>
                    <a:pt x="2164" y="369"/>
                  </a:lnTo>
                  <a:lnTo>
                    <a:pt x="2145" y="367"/>
                  </a:lnTo>
                  <a:lnTo>
                    <a:pt x="2126" y="364"/>
                  </a:lnTo>
                  <a:lnTo>
                    <a:pt x="2116" y="366"/>
                  </a:lnTo>
                  <a:lnTo>
                    <a:pt x="2108" y="368"/>
                  </a:lnTo>
                  <a:lnTo>
                    <a:pt x="2099" y="373"/>
                  </a:lnTo>
                  <a:lnTo>
                    <a:pt x="2093" y="378"/>
                  </a:lnTo>
                  <a:lnTo>
                    <a:pt x="2079" y="392"/>
                  </a:lnTo>
                  <a:lnTo>
                    <a:pt x="2064" y="407"/>
                  </a:lnTo>
                  <a:lnTo>
                    <a:pt x="2044" y="421"/>
                  </a:lnTo>
                  <a:lnTo>
                    <a:pt x="2027" y="435"/>
                  </a:lnTo>
                  <a:lnTo>
                    <a:pt x="2021" y="443"/>
                  </a:lnTo>
                  <a:lnTo>
                    <a:pt x="2014" y="451"/>
                  </a:lnTo>
                  <a:lnTo>
                    <a:pt x="2012" y="456"/>
                  </a:lnTo>
                  <a:lnTo>
                    <a:pt x="2011" y="461"/>
                  </a:lnTo>
                  <a:lnTo>
                    <a:pt x="2010" y="466"/>
                  </a:lnTo>
                  <a:lnTo>
                    <a:pt x="2010" y="472"/>
                  </a:lnTo>
                  <a:lnTo>
                    <a:pt x="2010" y="478"/>
                  </a:lnTo>
                  <a:lnTo>
                    <a:pt x="2011" y="485"/>
                  </a:lnTo>
                  <a:lnTo>
                    <a:pt x="2013" y="490"/>
                  </a:lnTo>
                  <a:lnTo>
                    <a:pt x="2014" y="496"/>
                  </a:lnTo>
                  <a:lnTo>
                    <a:pt x="2021" y="506"/>
                  </a:lnTo>
                  <a:lnTo>
                    <a:pt x="2027" y="514"/>
                  </a:lnTo>
                  <a:lnTo>
                    <a:pt x="2033" y="524"/>
                  </a:lnTo>
                  <a:lnTo>
                    <a:pt x="2038" y="534"/>
                  </a:lnTo>
                  <a:lnTo>
                    <a:pt x="2041" y="539"/>
                  </a:lnTo>
                  <a:lnTo>
                    <a:pt x="2042" y="545"/>
                  </a:lnTo>
                  <a:lnTo>
                    <a:pt x="2043" y="550"/>
                  </a:lnTo>
                  <a:lnTo>
                    <a:pt x="2044" y="558"/>
                  </a:lnTo>
                  <a:lnTo>
                    <a:pt x="2043" y="565"/>
                  </a:lnTo>
                  <a:lnTo>
                    <a:pt x="2039" y="573"/>
                  </a:lnTo>
                  <a:lnTo>
                    <a:pt x="2036" y="579"/>
                  </a:lnTo>
                  <a:lnTo>
                    <a:pt x="2029" y="584"/>
                  </a:lnTo>
                  <a:lnTo>
                    <a:pt x="2016" y="593"/>
                  </a:lnTo>
                  <a:lnTo>
                    <a:pt x="2000" y="600"/>
                  </a:lnTo>
                  <a:lnTo>
                    <a:pt x="1983" y="607"/>
                  </a:lnTo>
                  <a:lnTo>
                    <a:pt x="1970" y="616"/>
                  </a:lnTo>
                  <a:lnTo>
                    <a:pt x="1964" y="621"/>
                  </a:lnTo>
                  <a:lnTo>
                    <a:pt x="1960" y="627"/>
                  </a:lnTo>
                  <a:lnTo>
                    <a:pt x="1956" y="635"/>
                  </a:lnTo>
                  <a:lnTo>
                    <a:pt x="1955" y="642"/>
                  </a:lnTo>
                  <a:lnTo>
                    <a:pt x="1956" y="648"/>
                  </a:lnTo>
                  <a:lnTo>
                    <a:pt x="1957" y="653"/>
                  </a:lnTo>
                  <a:lnTo>
                    <a:pt x="1960" y="658"/>
                  </a:lnTo>
                  <a:lnTo>
                    <a:pt x="1964" y="662"/>
                  </a:lnTo>
                  <a:lnTo>
                    <a:pt x="1971" y="667"/>
                  </a:lnTo>
                  <a:lnTo>
                    <a:pt x="1982" y="671"/>
                  </a:lnTo>
                  <a:lnTo>
                    <a:pt x="1993" y="674"/>
                  </a:lnTo>
                  <a:lnTo>
                    <a:pt x="2006" y="677"/>
                  </a:lnTo>
                  <a:lnTo>
                    <a:pt x="2018" y="682"/>
                  </a:lnTo>
                  <a:lnTo>
                    <a:pt x="2029" y="688"/>
                  </a:lnTo>
                  <a:lnTo>
                    <a:pt x="2054" y="709"/>
                  </a:lnTo>
                  <a:lnTo>
                    <a:pt x="2075" y="730"/>
                  </a:lnTo>
                  <a:lnTo>
                    <a:pt x="2087" y="740"/>
                  </a:lnTo>
                  <a:lnTo>
                    <a:pt x="2099" y="748"/>
                  </a:lnTo>
                  <a:lnTo>
                    <a:pt x="2106" y="750"/>
                  </a:lnTo>
                  <a:lnTo>
                    <a:pt x="2113" y="751"/>
                  </a:lnTo>
                  <a:lnTo>
                    <a:pt x="2121" y="753"/>
                  </a:lnTo>
                  <a:lnTo>
                    <a:pt x="2129" y="754"/>
                  </a:lnTo>
                  <a:lnTo>
                    <a:pt x="2129" y="776"/>
                  </a:lnTo>
                  <a:lnTo>
                    <a:pt x="2129" y="781"/>
                  </a:lnTo>
                  <a:lnTo>
                    <a:pt x="2128" y="785"/>
                  </a:lnTo>
                  <a:lnTo>
                    <a:pt x="2125" y="789"/>
                  </a:lnTo>
                  <a:lnTo>
                    <a:pt x="2123" y="792"/>
                  </a:lnTo>
                  <a:lnTo>
                    <a:pt x="2115" y="797"/>
                  </a:lnTo>
                  <a:lnTo>
                    <a:pt x="2105" y="801"/>
                  </a:lnTo>
                  <a:lnTo>
                    <a:pt x="2084" y="805"/>
                  </a:lnTo>
                  <a:lnTo>
                    <a:pt x="2060" y="807"/>
                  </a:lnTo>
                  <a:lnTo>
                    <a:pt x="2049" y="811"/>
                  </a:lnTo>
                  <a:lnTo>
                    <a:pt x="2039" y="815"/>
                  </a:lnTo>
                  <a:lnTo>
                    <a:pt x="2029" y="817"/>
                  </a:lnTo>
                  <a:lnTo>
                    <a:pt x="2018" y="820"/>
                  </a:lnTo>
                  <a:lnTo>
                    <a:pt x="2010" y="818"/>
                  </a:lnTo>
                  <a:lnTo>
                    <a:pt x="2001" y="817"/>
                  </a:lnTo>
                  <a:lnTo>
                    <a:pt x="1993" y="815"/>
                  </a:lnTo>
                  <a:lnTo>
                    <a:pt x="1986" y="811"/>
                  </a:lnTo>
                  <a:lnTo>
                    <a:pt x="1971" y="803"/>
                  </a:lnTo>
                  <a:lnTo>
                    <a:pt x="1955" y="796"/>
                  </a:lnTo>
                  <a:lnTo>
                    <a:pt x="1949" y="785"/>
                  </a:lnTo>
                  <a:lnTo>
                    <a:pt x="1940" y="775"/>
                  </a:lnTo>
                  <a:lnTo>
                    <a:pt x="1936" y="771"/>
                  </a:lnTo>
                  <a:lnTo>
                    <a:pt x="1930" y="768"/>
                  </a:lnTo>
                  <a:lnTo>
                    <a:pt x="1925" y="766"/>
                  </a:lnTo>
                  <a:lnTo>
                    <a:pt x="1919" y="765"/>
                  </a:lnTo>
                  <a:lnTo>
                    <a:pt x="1905" y="766"/>
                  </a:lnTo>
                  <a:lnTo>
                    <a:pt x="1894" y="770"/>
                  </a:lnTo>
                  <a:lnTo>
                    <a:pt x="1884" y="775"/>
                  </a:lnTo>
                  <a:lnTo>
                    <a:pt x="1874" y="781"/>
                  </a:lnTo>
                  <a:lnTo>
                    <a:pt x="1867" y="790"/>
                  </a:lnTo>
                  <a:lnTo>
                    <a:pt x="1858" y="800"/>
                  </a:lnTo>
                  <a:lnTo>
                    <a:pt x="1852" y="811"/>
                  </a:lnTo>
                  <a:lnTo>
                    <a:pt x="1844" y="822"/>
                  </a:lnTo>
                  <a:lnTo>
                    <a:pt x="1834" y="817"/>
                  </a:lnTo>
                  <a:lnTo>
                    <a:pt x="1826" y="812"/>
                  </a:lnTo>
                  <a:lnTo>
                    <a:pt x="1818" y="807"/>
                  </a:lnTo>
                  <a:lnTo>
                    <a:pt x="1811" y="801"/>
                  </a:lnTo>
                  <a:lnTo>
                    <a:pt x="1805" y="794"/>
                  </a:lnTo>
                  <a:lnTo>
                    <a:pt x="1797" y="787"/>
                  </a:lnTo>
                  <a:lnTo>
                    <a:pt x="1788" y="782"/>
                  </a:lnTo>
                  <a:lnTo>
                    <a:pt x="1779" y="776"/>
                  </a:lnTo>
                  <a:lnTo>
                    <a:pt x="1766" y="770"/>
                  </a:lnTo>
                  <a:lnTo>
                    <a:pt x="1754" y="765"/>
                  </a:lnTo>
                  <a:lnTo>
                    <a:pt x="1749" y="761"/>
                  </a:lnTo>
                  <a:lnTo>
                    <a:pt x="1745" y="756"/>
                  </a:lnTo>
                  <a:lnTo>
                    <a:pt x="1741" y="751"/>
                  </a:lnTo>
                  <a:lnTo>
                    <a:pt x="1739" y="745"/>
                  </a:lnTo>
                  <a:lnTo>
                    <a:pt x="1734" y="718"/>
                  </a:lnTo>
                  <a:lnTo>
                    <a:pt x="1731" y="693"/>
                  </a:lnTo>
                  <a:lnTo>
                    <a:pt x="1729" y="681"/>
                  </a:lnTo>
                  <a:lnTo>
                    <a:pt x="1725" y="670"/>
                  </a:lnTo>
                  <a:lnTo>
                    <a:pt x="1723" y="665"/>
                  </a:lnTo>
                  <a:lnTo>
                    <a:pt x="1719" y="660"/>
                  </a:lnTo>
                  <a:lnTo>
                    <a:pt x="1715" y="653"/>
                  </a:lnTo>
                  <a:lnTo>
                    <a:pt x="1710" y="648"/>
                  </a:lnTo>
                  <a:lnTo>
                    <a:pt x="1703" y="641"/>
                  </a:lnTo>
                  <a:lnTo>
                    <a:pt x="1695" y="636"/>
                  </a:lnTo>
                  <a:lnTo>
                    <a:pt x="1687" y="632"/>
                  </a:lnTo>
                  <a:lnTo>
                    <a:pt x="1679" y="629"/>
                  </a:lnTo>
                  <a:lnTo>
                    <a:pt x="1662" y="622"/>
                  </a:lnTo>
                  <a:lnTo>
                    <a:pt x="1642" y="615"/>
                  </a:lnTo>
                  <a:lnTo>
                    <a:pt x="1631" y="606"/>
                  </a:lnTo>
                  <a:lnTo>
                    <a:pt x="1622" y="596"/>
                  </a:lnTo>
                  <a:lnTo>
                    <a:pt x="1617" y="593"/>
                  </a:lnTo>
                  <a:lnTo>
                    <a:pt x="1612" y="589"/>
                  </a:lnTo>
                  <a:lnTo>
                    <a:pt x="1606" y="586"/>
                  </a:lnTo>
                  <a:lnTo>
                    <a:pt x="1600" y="586"/>
                  </a:lnTo>
                  <a:lnTo>
                    <a:pt x="1593" y="586"/>
                  </a:lnTo>
                  <a:lnTo>
                    <a:pt x="1590" y="589"/>
                  </a:lnTo>
                  <a:lnTo>
                    <a:pt x="1585" y="593"/>
                  </a:lnTo>
                  <a:lnTo>
                    <a:pt x="1581" y="596"/>
                  </a:lnTo>
                  <a:lnTo>
                    <a:pt x="1577" y="600"/>
                  </a:lnTo>
                  <a:lnTo>
                    <a:pt x="1572" y="603"/>
                  </a:lnTo>
                  <a:lnTo>
                    <a:pt x="1567" y="605"/>
                  </a:lnTo>
                  <a:lnTo>
                    <a:pt x="1562" y="606"/>
                  </a:lnTo>
                  <a:lnTo>
                    <a:pt x="1524" y="606"/>
                  </a:lnTo>
                  <a:lnTo>
                    <a:pt x="1492" y="605"/>
                  </a:lnTo>
                  <a:lnTo>
                    <a:pt x="1458" y="605"/>
                  </a:lnTo>
                  <a:lnTo>
                    <a:pt x="1421" y="605"/>
                  </a:lnTo>
                  <a:lnTo>
                    <a:pt x="1416" y="600"/>
                  </a:lnTo>
                  <a:lnTo>
                    <a:pt x="1410" y="595"/>
                  </a:lnTo>
                  <a:lnTo>
                    <a:pt x="1405" y="591"/>
                  </a:lnTo>
                  <a:lnTo>
                    <a:pt x="1400" y="588"/>
                  </a:lnTo>
                  <a:lnTo>
                    <a:pt x="1389" y="583"/>
                  </a:lnTo>
                  <a:lnTo>
                    <a:pt x="1376" y="580"/>
                  </a:lnTo>
                  <a:lnTo>
                    <a:pt x="1365" y="576"/>
                  </a:lnTo>
                  <a:lnTo>
                    <a:pt x="1353" y="574"/>
                  </a:lnTo>
                  <a:lnTo>
                    <a:pt x="1339" y="569"/>
                  </a:lnTo>
                  <a:lnTo>
                    <a:pt x="1326" y="563"/>
                  </a:lnTo>
                  <a:lnTo>
                    <a:pt x="1312" y="553"/>
                  </a:lnTo>
                  <a:lnTo>
                    <a:pt x="1299" y="542"/>
                  </a:lnTo>
                  <a:lnTo>
                    <a:pt x="1293" y="537"/>
                  </a:lnTo>
                  <a:lnTo>
                    <a:pt x="1285" y="533"/>
                  </a:lnTo>
                  <a:lnTo>
                    <a:pt x="1278" y="531"/>
                  </a:lnTo>
                  <a:lnTo>
                    <a:pt x="1269" y="529"/>
                  </a:lnTo>
                  <a:lnTo>
                    <a:pt x="1263" y="531"/>
                  </a:lnTo>
                  <a:lnTo>
                    <a:pt x="1258" y="533"/>
                  </a:lnTo>
                  <a:lnTo>
                    <a:pt x="1254" y="538"/>
                  </a:lnTo>
                  <a:lnTo>
                    <a:pt x="1251" y="543"/>
                  </a:lnTo>
                  <a:lnTo>
                    <a:pt x="1246" y="557"/>
                  </a:lnTo>
                  <a:lnTo>
                    <a:pt x="1238" y="569"/>
                  </a:lnTo>
                  <a:lnTo>
                    <a:pt x="1233" y="564"/>
                  </a:lnTo>
                  <a:lnTo>
                    <a:pt x="1230" y="559"/>
                  </a:lnTo>
                  <a:lnTo>
                    <a:pt x="1227" y="554"/>
                  </a:lnTo>
                  <a:lnTo>
                    <a:pt x="1225" y="548"/>
                  </a:lnTo>
                  <a:lnTo>
                    <a:pt x="1220" y="537"/>
                  </a:lnTo>
                  <a:lnTo>
                    <a:pt x="1212" y="526"/>
                  </a:lnTo>
                  <a:lnTo>
                    <a:pt x="1195" y="514"/>
                  </a:lnTo>
                  <a:lnTo>
                    <a:pt x="1179" y="503"/>
                  </a:lnTo>
                  <a:lnTo>
                    <a:pt x="1174" y="495"/>
                  </a:lnTo>
                  <a:lnTo>
                    <a:pt x="1170" y="486"/>
                  </a:lnTo>
                  <a:lnTo>
                    <a:pt x="1167" y="477"/>
                  </a:lnTo>
                  <a:lnTo>
                    <a:pt x="1165" y="469"/>
                  </a:lnTo>
                  <a:lnTo>
                    <a:pt x="1161" y="460"/>
                  </a:lnTo>
                  <a:lnTo>
                    <a:pt x="1158" y="454"/>
                  </a:lnTo>
                  <a:lnTo>
                    <a:pt x="1155" y="450"/>
                  </a:lnTo>
                  <a:lnTo>
                    <a:pt x="1153" y="447"/>
                  </a:lnTo>
                  <a:lnTo>
                    <a:pt x="1149" y="445"/>
                  </a:lnTo>
                  <a:lnTo>
                    <a:pt x="1144" y="444"/>
                  </a:lnTo>
                  <a:lnTo>
                    <a:pt x="1135" y="441"/>
                  </a:lnTo>
                  <a:lnTo>
                    <a:pt x="1126" y="441"/>
                  </a:lnTo>
                  <a:lnTo>
                    <a:pt x="1117" y="441"/>
                  </a:lnTo>
                  <a:lnTo>
                    <a:pt x="1107" y="441"/>
                  </a:lnTo>
                  <a:lnTo>
                    <a:pt x="1093" y="441"/>
                  </a:lnTo>
                  <a:lnTo>
                    <a:pt x="1081" y="443"/>
                  </a:lnTo>
                  <a:lnTo>
                    <a:pt x="1074" y="443"/>
                  </a:lnTo>
                  <a:lnTo>
                    <a:pt x="1069" y="443"/>
                  </a:lnTo>
                  <a:lnTo>
                    <a:pt x="1063" y="440"/>
                  </a:lnTo>
                  <a:lnTo>
                    <a:pt x="1058" y="435"/>
                  </a:lnTo>
                  <a:lnTo>
                    <a:pt x="1038" y="407"/>
                  </a:lnTo>
                  <a:lnTo>
                    <a:pt x="1020" y="379"/>
                  </a:lnTo>
                  <a:lnTo>
                    <a:pt x="1015" y="373"/>
                  </a:lnTo>
                  <a:lnTo>
                    <a:pt x="1008" y="367"/>
                  </a:lnTo>
                  <a:lnTo>
                    <a:pt x="1004" y="362"/>
                  </a:lnTo>
                  <a:lnTo>
                    <a:pt x="997" y="358"/>
                  </a:lnTo>
                  <a:lnTo>
                    <a:pt x="990" y="354"/>
                  </a:lnTo>
                  <a:lnTo>
                    <a:pt x="984" y="352"/>
                  </a:lnTo>
                  <a:lnTo>
                    <a:pt x="975" y="351"/>
                  </a:lnTo>
                  <a:lnTo>
                    <a:pt x="966" y="349"/>
                  </a:lnTo>
                  <a:lnTo>
                    <a:pt x="955" y="351"/>
                  </a:lnTo>
                  <a:lnTo>
                    <a:pt x="944" y="353"/>
                  </a:lnTo>
                  <a:lnTo>
                    <a:pt x="934" y="356"/>
                  </a:lnTo>
                  <a:lnTo>
                    <a:pt x="924" y="358"/>
                  </a:lnTo>
                  <a:lnTo>
                    <a:pt x="915" y="362"/>
                  </a:lnTo>
                  <a:lnTo>
                    <a:pt x="905" y="364"/>
                  </a:lnTo>
                  <a:lnTo>
                    <a:pt x="894" y="367"/>
                  </a:lnTo>
                  <a:lnTo>
                    <a:pt x="883" y="367"/>
                  </a:lnTo>
                  <a:lnTo>
                    <a:pt x="874" y="366"/>
                  </a:lnTo>
                  <a:lnTo>
                    <a:pt x="866" y="364"/>
                  </a:lnTo>
                  <a:lnTo>
                    <a:pt x="868" y="354"/>
                  </a:lnTo>
                  <a:lnTo>
                    <a:pt x="872" y="346"/>
                  </a:lnTo>
                  <a:lnTo>
                    <a:pt x="876" y="337"/>
                  </a:lnTo>
                  <a:lnTo>
                    <a:pt x="877" y="327"/>
                  </a:lnTo>
                  <a:lnTo>
                    <a:pt x="876" y="322"/>
                  </a:lnTo>
                  <a:lnTo>
                    <a:pt x="873" y="320"/>
                  </a:lnTo>
                  <a:lnTo>
                    <a:pt x="869" y="317"/>
                  </a:lnTo>
                  <a:lnTo>
                    <a:pt x="864" y="316"/>
                  </a:lnTo>
                  <a:lnTo>
                    <a:pt x="853" y="316"/>
                  </a:lnTo>
                  <a:lnTo>
                    <a:pt x="842" y="316"/>
                  </a:lnTo>
                  <a:lnTo>
                    <a:pt x="828" y="317"/>
                  </a:lnTo>
                  <a:lnTo>
                    <a:pt x="816" y="320"/>
                  </a:lnTo>
                  <a:lnTo>
                    <a:pt x="805" y="323"/>
                  </a:lnTo>
                  <a:lnTo>
                    <a:pt x="794" y="327"/>
                  </a:lnTo>
                  <a:lnTo>
                    <a:pt x="772" y="338"/>
                  </a:lnTo>
                  <a:lnTo>
                    <a:pt x="749" y="349"/>
                  </a:lnTo>
                  <a:lnTo>
                    <a:pt x="736" y="354"/>
                  </a:lnTo>
                  <a:lnTo>
                    <a:pt x="724" y="358"/>
                  </a:lnTo>
                  <a:lnTo>
                    <a:pt x="713" y="361"/>
                  </a:lnTo>
                  <a:lnTo>
                    <a:pt x="702" y="362"/>
                  </a:lnTo>
                  <a:lnTo>
                    <a:pt x="679" y="364"/>
                  </a:lnTo>
                  <a:lnTo>
                    <a:pt x="655" y="367"/>
                  </a:lnTo>
                  <a:lnTo>
                    <a:pt x="641" y="369"/>
                  </a:lnTo>
                  <a:lnTo>
                    <a:pt x="630" y="373"/>
                  </a:lnTo>
                  <a:lnTo>
                    <a:pt x="618" y="378"/>
                  </a:lnTo>
                  <a:lnTo>
                    <a:pt x="609" y="382"/>
                  </a:lnTo>
                  <a:lnTo>
                    <a:pt x="587" y="393"/>
                  </a:lnTo>
                  <a:lnTo>
                    <a:pt x="564" y="404"/>
                  </a:lnTo>
                  <a:lnTo>
                    <a:pt x="551" y="407"/>
                  </a:lnTo>
                  <a:lnTo>
                    <a:pt x="539" y="408"/>
                  </a:lnTo>
                  <a:lnTo>
                    <a:pt x="534" y="409"/>
                  </a:lnTo>
                  <a:lnTo>
                    <a:pt x="528" y="410"/>
                  </a:lnTo>
                  <a:lnTo>
                    <a:pt x="523" y="412"/>
                  </a:lnTo>
                  <a:lnTo>
                    <a:pt x="518" y="415"/>
                  </a:lnTo>
                  <a:lnTo>
                    <a:pt x="514" y="420"/>
                  </a:lnTo>
                  <a:lnTo>
                    <a:pt x="512" y="425"/>
                  </a:lnTo>
                  <a:lnTo>
                    <a:pt x="510" y="430"/>
                  </a:lnTo>
                  <a:lnTo>
                    <a:pt x="509" y="436"/>
                  </a:lnTo>
                  <a:lnTo>
                    <a:pt x="509" y="449"/>
                  </a:lnTo>
                  <a:lnTo>
                    <a:pt x="507" y="461"/>
                  </a:lnTo>
                  <a:lnTo>
                    <a:pt x="503" y="466"/>
                  </a:lnTo>
                  <a:lnTo>
                    <a:pt x="498" y="471"/>
                  </a:lnTo>
                  <a:lnTo>
                    <a:pt x="496" y="475"/>
                  </a:lnTo>
                  <a:lnTo>
                    <a:pt x="494" y="477"/>
                  </a:lnTo>
                  <a:lnTo>
                    <a:pt x="493" y="480"/>
                  </a:lnTo>
                  <a:lnTo>
                    <a:pt x="492" y="483"/>
                  </a:lnTo>
                  <a:lnTo>
                    <a:pt x="493" y="495"/>
                  </a:lnTo>
                  <a:lnTo>
                    <a:pt x="497" y="505"/>
                  </a:lnTo>
                  <a:lnTo>
                    <a:pt x="499" y="514"/>
                  </a:lnTo>
                  <a:lnTo>
                    <a:pt x="500" y="526"/>
                  </a:lnTo>
                  <a:lnTo>
                    <a:pt x="499" y="536"/>
                  </a:lnTo>
                  <a:lnTo>
                    <a:pt x="497" y="544"/>
                  </a:lnTo>
                  <a:lnTo>
                    <a:pt x="492" y="552"/>
                  </a:lnTo>
                  <a:lnTo>
                    <a:pt x="487" y="559"/>
                  </a:lnTo>
                  <a:lnTo>
                    <a:pt x="481" y="565"/>
                  </a:lnTo>
                  <a:lnTo>
                    <a:pt x="474" y="573"/>
                  </a:lnTo>
                  <a:lnTo>
                    <a:pt x="468" y="580"/>
                  </a:lnTo>
                  <a:lnTo>
                    <a:pt x="463" y="589"/>
                  </a:lnTo>
                  <a:lnTo>
                    <a:pt x="452" y="575"/>
                  </a:lnTo>
                  <a:lnTo>
                    <a:pt x="443" y="562"/>
                  </a:lnTo>
                  <a:lnTo>
                    <a:pt x="436" y="549"/>
                  </a:lnTo>
                  <a:lnTo>
                    <a:pt x="428" y="536"/>
                  </a:lnTo>
                  <a:lnTo>
                    <a:pt x="416" y="508"/>
                  </a:lnTo>
                  <a:lnTo>
                    <a:pt x="401" y="478"/>
                  </a:lnTo>
                  <a:lnTo>
                    <a:pt x="394" y="462"/>
                  </a:lnTo>
                  <a:lnTo>
                    <a:pt x="387" y="447"/>
                  </a:lnTo>
                  <a:lnTo>
                    <a:pt x="383" y="441"/>
                  </a:lnTo>
                  <a:lnTo>
                    <a:pt x="378" y="436"/>
                  </a:lnTo>
                  <a:lnTo>
                    <a:pt x="371" y="434"/>
                  </a:lnTo>
                  <a:lnTo>
                    <a:pt x="364" y="433"/>
                  </a:lnTo>
                  <a:lnTo>
                    <a:pt x="359" y="433"/>
                  </a:lnTo>
                  <a:lnTo>
                    <a:pt x="354" y="435"/>
                  </a:lnTo>
                  <a:lnTo>
                    <a:pt x="350" y="438"/>
                  </a:lnTo>
                  <a:lnTo>
                    <a:pt x="346" y="440"/>
                  </a:lnTo>
                  <a:lnTo>
                    <a:pt x="339" y="447"/>
                  </a:lnTo>
                  <a:lnTo>
                    <a:pt x="330" y="455"/>
                  </a:lnTo>
                  <a:lnTo>
                    <a:pt x="318" y="462"/>
                  </a:lnTo>
                  <a:lnTo>
                    <a:pt x="306" y="469"/>
                  </a:lnTo>
                  <a:lnTo>
                    <a:pt x="293" y="475"/>
                  </a:lnTo>
                  <a:lnTo>
                    <a:pt x="282" y="483"/>
                  </a:lnTo>
                  <a:lnTo>
                    <a:pt x="276" y="488"/>
                  </a:lnTo>
                  <a:lnTo>
                    <a:pt x="272" y="495"/>
                  </a:lnTo>
                  <a:lnTo>
                    <a:pt x="269" y="501"/>
                  </a:lnTo>
                  <a:lnTo>
                    <a:pt x="267" y="507"/>
                  </a:lnTo>
                  <a:lnTo>
                    <a:pt x="265" y="514"/>
                  </a:lnTo>
                  <a:lnTo>
                    <a:pt x="261" y="519"/>
                  </a:lnTo>
                  <a:lnTo>
                    <a:pt x="256" y="524"/>
                  </a:lnTo>
                  <a:lnTo>
                    <a:pt x="251" y="529"/>
                  </a:lnTo>
                  <a:lnTo>
                    <a:pt x="241" y="533"/>
                  </a:lnTo>
                  <a:lnTo>
                    <a:pt x="232" y="536"/>
                  </a:lnTo>
                  <a:lnTo>
                    <a:pt x="224" y="538"/>
                  </a:lnTo>
                  <a:lnTo>
                    <a:pt x="216" y="539"/>
                  </a:lnTo>
                  <a:lnTo>
                    <a:pt x="199" y="542"/>
                  </a:lnTo>
                  <a:lnTo>
                    <a:pt x="179" y="547"/>
                  </a:lnTo>
                  <a:lnTo>
                    <a:pt x="184" y="558"/>
                  </a:lnTo>
                  <a:lnTo>
                    <a:pt x="186" y="570"/>
                  </a:lnTo>
                  <a:lnTo>
                    <a:pt x="188" y="581"/>
                  </a:lnTo>
                  <a:lnTo>
                    <a:pt x="188" y="594"/>
                  </a:lnTo>
                  <a:lnTo>
                    <a:pt x="188" y="603"/>
                  </a:lnTo>
                  <a:lnTo>
                    <a:pt x="186" y="609"/>
                  </a:lnTo>
                  <a:lnTo>
                    <a:pt x="185" y="616"/>
                  </a:lnTo>
                  <a:lnTo>
                    <a:pt x="183" y="622"/>
                  </a:lnTo>
                  <a:lnTo>
                    <a:pt x="180" y="629"/>
                  </a:lnTo>
                  <a:lnTo>
                    <a:pt x="176" y="634"/>
                  </a:lnTo>
                  <a:lnTo>
                    <a:pt x="171" y="639"/>
                  </a:lnTo>
                  <a:lnTo>
                    <a:pt x="165" y="642"/>
                  </a:lnTo>
                  <a:lnTo>
                    <a:pt x="143" y="653"/>
                  </a:lnTo>
                  <a:lnTo>
                    <a:pt x="123" y="661"/>
                  </a:lnTo>
                  <a:lnTo>
                    <a:pt x="103" y="667"/>
                  </a:lnTo>
                  <a:lnTo>
                    <a:pt x="84" y="672"/>
                  </a:lnTo>
                  <a:lnTo>
                    <a:pt x="46" y="679"/>
                  </a:lnTo>
                  <a:lnTo>
                    <a:pt x="0" y="686"/>
                  </a:lnTo>
                  <a:lnTo>
                    <a:pt x="0" y="710"/>
                  </a:lnTo>
                  <a:lnTo>
                    <a:pt x="0" y="723"/>
                  </a:lnTo>
                  <a:lnTo>
                    <a:pt x="2" y="734"/>
                  </a:lnTo>
                  <a:lnTo>
                    <a:pt x="5" y="744"/>
                  </a:lnTo>
                  <a:lnTo>
                    <a:pt x="9" y="754"/>
                  </a:lnTo>
                  <a:lnTo>
                    <a:pt x="19" y="772"/>
                  </a:lnTo>
                  <a:lnTo>
                    <a:pt x="30" y="790"/>
                  </a:lnTo>
                  <a:lnTo>
                    <a:pt x="41" y="808"/>
                  </a:lnTo>
                  <a:lnTo>
                    <a:pt x="50" y="827"/>
                  </a:lnTo>
                  <a:lnTo>
                    <a:pt x="55" y="837"/>
                  </a:lnTo>
                  <a:lnTo>
                    <a:pt x="57" y="847"/>
                  </a:lnTo>
                  <a:lnTo>
                    <a:pt x="58" y="858"/>
                  </a:lnTo>
                  <a:lnTo>
                    <a:pt x="60" y="870"/>
                  </a:lnTo>
                  <a:lnTo>
                    <a:pt x="57" y="885"/>
                  </a:lnTo>
                  <a:lnTo>
                    <a:pt x="53" y="899"/>
                  </a:lnTo>
                  <a:lnTo>
                    <a:pt x="56" y="905"/>
                  </a:lnTo>
                  <a:lnTo>
                    <a:pt x="57" y="910"/>
                  </a:lnTo>
                  <a:lnTo>
                    <a:pt x="115" y="910"/>
                  </a:lnTo>
                  <a:lnTo>
                    <a:pt x="122" y="910"/>
                  </a:lnTo>
                  <a:lnTo>
                    <a:pt x="128" y="911"/>
                  </a:lnTo>
                  <a:lnTo>
                    <a:pt x="133" y="913"/>
                  </a:lnTo>
                  <a:lnTo>
                    <a:pt x="138" y="915"/>
                  </a:lnTo>
                  <a:lnTo>
                    <a:pt x="147" y="921"/>
                  </a:lnTo>
                  <a:lnTo>
                    <a:pt x="154" y="930"/>
                  </a:lnTo>
                  <a:lnTo>
                    <a:pt x="160" y="940"/>
                  </a:lnTo>
                  <a:lnTo>
                    <a:pt x="166" y="950"/>
                  </a:lnTo>
                  <a:lnTo>
                    <a:pt x="171" y="961"/>
                  </a:lnTo>
                  <a:lnTo>
                    <a:pt x="176" y="972"/>
                  </a:lnTo>
                  <a:lnTo>
                    <a:pt x="186" y="997"/>
                  </a:lnTo>
                  <a:lnTo>
                    <a:pt x="195" y="1021"/>
                  </a:lnTo>
                  <a:lnTo>
                    <a:pt x="197" y="1032"/>
                  </a:lnTo>
                  <a:lnTo>
                    <a:pt x="200" y="1044"/>
                  </a:lnTo>
                  <a:lnTo>
                    <a:pt x="201" y="1057"/>
                  </a:lnTo>
                  <a:lnTo>
                    <a:pt x="202" y="1070"/>
                  </a:lnTo>
                  <a:lnTo>
                    <a:pt x="201" y="1076"/>
                  </a:lnTo>
                  <a:lnTo>
                    <a:pt x="199" y="1083"/>
                  </a:lnTo>
                  <a:lnTo>
                    <a:pt x="195" y="1086"/>
                  </a:lnTo>
                  <a:lnTo>
                    <a:pt x="192" y="1091"/>
                  </a:lnTo>
                  <a:lnTo>
                    <a:pt x="189" y="1096"/>
                  </a:lnTo>
                  <a:lnTo>
                    <a:pt x="185" y="1100"/>
                  </a:lnTo>
                  <a:lnTo>
                    <a:pt x="183" y="1106"/>
                  </a:lnTo>
                  <a:lnTo>
                    <a:pt x="183" y="1112"/>
                  </a:lnTo>
                  <a:lnTo>
                    <a:pt x="188" y="1124"/>
                  </a:lnTo>
                  <a:lnTo>
                    <a:pt x="196" y="1135"/>
                  </a:lnTo>
                  <a:lnTo>
                    <a:pt x="199" y="1143"/>
                  </a:lnTo>
                  <a:lnTo>
                    <a:pt x="200" y="1151"/>
                  </a:lnTo>
                  <a:lnTo>
                    <a:pt x="201" y="1158"/>
                  </a:lnTo>
                  <a:lnTo>
                    <a:pt x="201" y="1166"/>
                  </a:lnTo>
                  <a:lnTo>
                    <a:pt x="200" y="1181"/>
                  </a:lnTo>
                  <a:lnTo>
                    <a:pt x="200" y="1198"/>
                  </a:lnTo>
                  <a:lnTo>
                    <a:pt x="200" y="1198"/>
                  </a:lnTo>
                  <a:close/>
                </a:path>
              </a:pathLst>
            </a:custGeom>
            <a:noFill/>
            <a:ln w="317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4" name="Freeform 181">
              <a:extLst>
                <a:ext uri="{FF2B5EF4-FFF2-40B4-BE49-F238E27FC236}">
                  <a16:creationId xmlns:a16="http://schemas.microsoft.com/office/drawing/2014/main" id="{9576A17B-30B1-44F0-9690-B877F0B5485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5414" y="2621326"/>
              <a:ext cx="2335080" cy="1627695"/>
            </a:xfrm>
            <a:custGeom>
              <a:avLst/>
              <a:gdLst>
                <a:gd name="T0" fmla="*/ 614 w 2602"/>
                <a:gd name="T1" fmla="*/ 86 h 1757"/>
                <a:gd name="T2" fmla="*/ 609 w 2602"/>
                <a:gd name="T3" fmla="*/ 155 h 1757"/>
                <a:gd name="T4" fmla="*/ 693 w 2602"/>
                <a:gd name="T5" fmla="*/ 41 h 1757"/>
                <a:gd name="T6" fmla="*/ 727 w 2602"/>
                <a:gd name="T7" fmla="*/ 141 h 1757"/>
                <a:gd name="T8" fmla="*/ 688 w 2602"/>
                <a:gd name="T9" fmla="*/ 217 h 1757"/>
                <a:gd name="T10" fmla="*/ 764 w 2602"/>
                <a:gd name="T11" fmla="*/ 240 h 1757"/>
                <a:gd name="T12" fmla="*/ 827 w 2602"/>
                <a:gd name="T13" fmla="*/ 142 h 1757"/>
                <a:gd name="T14" fmla="*/ 917 w 2602"/>
                <a:gd name="T15" fmla="*/ 267 h 1757"/>
                <a:gd name="T16" fmla="*/ 991 w 2602"/>
                <a:gd name="T17" fmla="*/ 428 h 1757"/>
                <a:gd name="T18" fmla="*/ 1083 w 2602"/>
                <a:gd name="T19" fmla="*/ 439 h 1757"/>
                <a:gd name="T20" fmla="*/ 1253 w 2602"/>
                <a:gd name="T21" fmla="*/ 485 h 1757"/>
                <a:gd name="T22" fmla="*/ 1421 w 2602"/>
                <a:gd name="T23" fmla="*/ 492 h 1757"/>
                <a:gd name="T24" fmla="*/ 1532 w 2602"/>
                <a:gd name="T25" fmla="*/ 596 h 1757"/>
                <a:gd name="T26" fmla="*/ 1568 w 2602"/>
                <a:gd name="T27" fmla="*/ 700 h 1757"/>
                <a:gd name="T28" fmla="*/ 1550 w 2602"/>
                <a:gd name="T29" fmla="*/ 766 h 1757"/>
                <a:gd name="T30" fmla="*/ 1558 w 2602"/>
                <a:gd name="T31" fmla="*/ 865 h 1757"/>
                <a:gd name="T32" fmla="*/ 1617 w 2602"/>
                <a:gd name="T33" fmla="*/ 910 h 1757"/>
                <a:gd name="T34" fmla="*/ 1663 w 2602"/>
                <a:gd name="T35" fmla="*/ 1010 h 1757"/>
                <a:gd name="T36" fmla="*/ 1817 w 2602"/>
                <a:gd name="T37" fmla="*/ 1041 h 1757"/>
                <a:gd name="T38" fmla="*/ 1907 w 2602"/>
                <a:gd name="T39" fmla="*/ 1001 h 1757"/>
                <a:gd name="T40" fmla="*/ 2032 w 2602"/>
                <a:gd name="T41" fmla="*/ 916 h 1757"/>
                <a:gd name="T42" fmla="*/ 2189 w 2602"/>
                <a:gd name="T43" fmla="*/ 841 h 1757"/>
                <a:gd name="T44" fmla="*/ 2312 w 2602"/>
                <a:gd name="T45" fmla="*/ 828 h 1757"/>
                <a:gd name="T46" fmla="*/ 2228 w 2602"/>
                <a:gd name="T47" fmla="*/ 908 h 1757"/>
                <a:gd name="T48" fmla="*/ 2247 w 2602"/>
                <a:gd name="T49" fmla="*/ 972 h 1757"/>
                <a:gd name="T50" fmla="*/ 2295 w 2602"/>
                <a:gd name="T51" fmla="*/ 977 h 1757"/>
                <a:gd name="T52" fmla="*/ 2404 w 2602"/>
                <a:gd name="T53" fmla="*/ 1011 h 1757"/>
                <a:gd name="T54" fmla="*/ 2477 w 2602"/>
                <a:gd name="T55" fmla="*/ 1089 h 1757"/>
                <a:gd name="T56" fmla="*/ 2594 w 2602"/>
                <a:gd name="T57" fmla="*/ 1089 h 1757"/>
                <a:gd name="T58" fmla="*/ 2559 w 2602"/>
                <a:gd name="T59" fmla="*/ 1139 h 1757"/>
                <a:gd name="T60" fmla="*/ 2479 w 2602"/>
                <a:gd name="T61" fmla="*/ 1217 h 1757"/>
                <a:gd name="T62" fmla="*/ 2411 w 2602"/>
                <a:gd name="T63" fmla="*/ 1197 h 1757"/>
                <a:gd name="T64" fmla="*/ 2334 w 2602"/>
                <a:gd name="T65" fmla="*/ 1225 h 1757"/>
                <a:gd name="T66" fmla="*/ 2257 w 2602"/>
                <a:gd name="T67" fmla="*/ 1235 h 1757"/>
                <a:gd name="T68" fmla="*/ 2186 w 2602"/>
                <a:gd name="T69" fmla="*/ 1258 h 1757"/>
                <a:gd name="T70" fmla="*/ 2180 w 2602"/>
                <a:gd name="T71" fmla="*/ 1140 h 1757"/>
                <a:gd name="T72" fmla="*/ 2140 w 2602"/>
                <a:gd name="T73" fmla="*/ 1032 h 1757"/>
                <a:gd name="T74" fmla="*/ 2042 w 2602"/>
                <a:gd name="T75" fmla="*/ 1081 h 1757"/>
                <a:gd name="T76" fmla="*/ 1948 w 2602"/>
                <a:gd name="T77" fmla="*/ 1155 h 1757"/>
                <a:gd name="T78" fmla="*/ 1846 w 2602"/>
                <a:gd name="T79" fmla="*/ 1223 h 1757"/>
                <a:gd name="T80" fmla="*/ 1758 w 2602"/>
                <a:gd name="T81" fmla="*/ 1288 h 1757"/>
                <a:gd name="T82" fmla="*/ 1671 w 2602"/>
                <a:gd name="T83" fmla="*/ 1304 h 1757"/>
                <a:gd name="T84" fmla="*/ 1691 w 2602"/>
                <a:gd name="T85" fmla="*/ 1432 h 1757"/>
                <a:gd name="T86" fmla="*/ 1738 w 2602"/>
                <a:gd name="T87" fmla="*/ 1491 h 1757"/>
                <a:gd name="T88" fmla="*/ 1756 w 2602"/>
                <a:gd name="T89" fmla="*/ 1574 h 1757"/>
                <a:gd name="T90" fmla="*/ 1668 w 2602"/>
                <a:gd name="T91" fmla="*/ 1717 h 1757"/>
                <a:gd name="T92" fmla="*/ 1553 w 2602"/>
                <a:gd name="T93" fmla="*/ 1694 h 1757"/>
                <a:gd name="T94" fmla="*/ 1542 w 2602"/>
                <a:gd name="T95" fmla="*/ 1603 h 1757"/>
                <a:gd name="T96" fmla="*/ 1270 w 2602"/>
                <a:gd name="T97" fmla="*/ 1424 h 1757"/>
                <a:gd name="T98" fmla="*/ 1082 w 2602"/>
                <a:gd name="T99" fmla="*/ 1285 h 1757"/>
                <a:gd name="T100" fmla="*/ 981 w 2602"/>
                <a:gd name="T101" fmla="*/ 1112 h 1757"/>
                <a:gd name="T102" fmla="*/ 919 w 2602"/>
                <a:gd name="T103" fmla="*/ 926 h 1757"/>
                <a:gd name="T104" fmla="*/ 791 w 2602"/>
                <a:gd name="T105" fmla="*/ 824 h 1757"/>
                <a:gd name="T106" fmla="*/ 696 w 2602"/>
                <a:gd name="T107" fmla="*/ 762 h 1757"/>
                <a:gd name="T108" fmla="*/ 677 w 2602"/>
                <a:gd name="T109" fmla="*/ 622 h 1757"/>
                <a:gd name="T110" fmla="*/ 550 w 2602"/>
                <a:gd name="T111" fmla="*/ 539 h 1757"/>
                <a:gd name="T112" fmla="*/ 436 w 2602"/>
                <a:gd name="T113" fmla="*/ 585 h 1757"/>
                <a:gd name="T114" fmla="*/ 287 w 2602"/>
                <a:gd name="T115" fmla="*/ 613 h 1757"/>
                <a:gd name="T116" fmla="*/ 229 w 2602"/>
                <a:gd name="T117" fmla="*/ 680 h 1757"/>
                <a:gd name="T118" fmla="*/ 159 w 2602"/>
                <a:gd name="T119" fmla="*/ 745 h 1757"/>
                <a:gd name="T120" fmla="*/ 38 w 2602"/>
                <a:gd name="T121" fmla="*/ 706 h 1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02" h="1757">
                  <a:moveTo>
                    <a:pt x="667" y="0"/>
                  </a:moveTo>
                  <a:lnTo>
                    <a:pt x="663" y="8"/>
                  </a:lnTo>
                  <a:lnTo>
                    <a:pt x="661" y="15"/>
                  </a:lnTo>
                  <a:lnTo>
                    <a:pt x="656" y="23"/>
                  </a:lnTo>
                  <a:lnTo>
                    <a:pt x="651" y="29"/>
                  </a:lnTo>
                  <a:lnTo>
                    <a:pt x="639" y="43"/>
                  </a:lnTo>
                  <a:lnTo>
                    <a:pt x="629" y="55"/>
                  </a:lnTo>
                  <a:lnTo>
                    <a:pt x="625" y="62"/>
                  </a:lnTo>
                  <a:lnTo>
                    <a:pt x="621" y="70"/>
                  </a:lnTo>
                  <a:lnTo>
                    <a:pt x="618" y="77"/>
                  </a:lnTo>
                  <a:lnTo>
                    <a:pt x="614" y="86"/>
                  </a:lnTo>
                  <a:lnTo>
                    <a:pt x="604" y="118"/>
                  </a:lnTo>
                  <a:lnTo>
                    <a:pt x="595" y="145"/>
                  </a:lnTo>
                  <a:lnTo>
                    <a:pt x="588" y="174"/>
                  </a:lnTo>
                  <a:lnTo>
                    <a:pt x="579" y="205"/>
                  </a:lnTo>
                  <a:lnTo>
                    <a:pt x="585" y="203"/>
                  </a:lnTo>
                  <a:lnTo>
                    <a:pt x="590" y="199"/>
                  </a:lnTo>
                  <a:lnTo>
                    <a:pt x="594" y="194"/>
                  </a:lnTo>
                  <a:lnTo>
                    <a:pt x="596" y="189"/>
                  </a:lnTo>
                  <a:lnTo>
                    <a:pt x="601" y="178"/>
                  </a:lnTo>
                  <a:lnTo>
                    <a:pt x="605" y="164"/>
                  </a:lnTo>
                  <a:lnTo>
                    <a:pt x="609" y="155"/>
                  </a:lnTo>
                  <a:lnTo>
                    <a:pt x="613" y="147"/>
                  </a:lnTo>
                  <a:lnTo>
                    <a:pt x="616" y="139"/>
                  </a:lnTo>
                  <a:lnTo>
                    <a:pt x="621" y="132"/>
                  </a:lnTo>
                  <a:lnTo>
                    <a:pt x="632" y="118"/>
                  </a:lnTo>
                  <a:lnTo>
                    <a:pt x="645" y="103"/>
                  </a:lnTo>
                  <a:lnTo>
                    <a:pt x="652" y="93"/>
                  </a:lnTo>
                  <a:lnTo>
                    <a:pt x="657" y="83"/>
                  </a:lnTo>
                  <a:lnTo>
                    <a:pt x="663" y="75"/>
                  </a:lnTo>
                  <a:lnTo>
                    <a:pt x="671" y="65"/>
                  </a:lnTo>
                  <a:lnTo>
                    <a:pt x="683" y="54"/>
                  </a:lnTo>
                  <a:lnTo>
                    <a:pt x="693" y="41"/>
                  </a:lnTo>
                  <a:lnTo>
                    <a:pt x="701" y="29"/>
                  </a:lnTo>
                  <a:lnTo>
                    <a:pt x="706" y="19"/>
                  </a:lnTo>
                  <a:lnTo>
                    <a:pt x="713" y="9"/>
                  </a:lnTo>
                  <a:lnTo>
                    <a:pt x="723" y="0"/>
                  </a:lnTo>
                  <a:lnTo>
                    <a:pt x="726" y="13"/>
                  </a:lnTo>
                  <a:lnTo>
                    <a:pt x="726" y="65"/>
                  </a:lnTo>
                  <a:lnTo>
                    <a:pt x="731" y="80"/>
                  </a:lnTo>
                  <a:lnTo>
                    <a:pt x="736" y="95"/>
                  </a:lnTo>
                  <a:lnTo>
                    <a:pt x="732" y="112"/>
                  </a:lnTo>
                  <a:lnTo>
                    <a:pt x="728" y="131"/>
                  </a:lnTo>
                  <a:lnTo>
                    <a:pt x="727" y="141"/>
                  </a:lnTo>
                  <a:lnTo>
                    <a:pt x="727" y="149"/>
                  </a:lnTo>
                  <a:lnTo>
                    <a:pt x="726" y="153"/>
                  </a:lnTo>
                  <a:lnTo>
                    <a:pt x="724" y="158"/>
                  </a:lnTo>
                  <a:lnTo>
                    <a:pt x="723" y="162"/>
                  </a:lnTo>
                  <a:lnTo>
                    <a:pt x="721" y="165"/>
                  </a:lnTo>
                  <a:lnTo>
                    <a:pt x="709" y="179"/>
                  </a:lnTo>
                  <a:lnTo>
                    <a:pt x="698" y="190"/>
                  </a:lnTo>
                  <a:lnTo>
                    <a:pt x="695" y="196"/>
                  </a:lnTo>
                  <a:lnTo>
                    <a:pt x="691" y="203"/>
                  </a:lnTo>
                  <a:lnTo>
                    <a:pt x="688" y="210"/>
                  </a:lnTo>
                  <a:lnTo>
                    <a:pt x="688" y="217"/>
                  </a:lnTo>
                  <a:lnTo>
                    <a:pt x="688" y="230"/>
                  </a:lnTo>
                  <a:lnTo>
                    <a:pt x="704" y="230"/>
                  </a:lnTo>
                  <a:lnTo>
                    <a:pt x="716" y="227"/>
                  </a:lnTo>
                  <a:lnTo>
                    <a:pt x="722" y="234"/>
                  </a:lnTo>
                  <a:lnTo>
                    <a:pt x="727" y="238"/>
                  </a:lnTo>
                  <a:lnTo>
                    <a:pt x="731" y="241"/>
                  </a:lnTo>
                  <a:lnTo>
                    <a:pt x="734" y="242"/>
                  </a:lnTo>
                  <a:lnTo>
                    <a:pt x="738" y="243"/>
                  </a:lnTo>
                  <a:lnTo>
                    <a:pt x="742" y="243"/>
                  </a:lnTo>
                  <a:lnTo>
                    <a:pt x="753" y="242"/>
                  </a:lnTo>
                  <a:lnTo>
                    <a:pt x="764" y="240"/>
                  </a:lnTo>
                  <a:lnTo>
                    <a:pt x="773" y="235"/>
                  </a:lnTo>
                  <a:lnTo>
                    <a:pt x="781" y="227"/>
                  </a:lnTo>
                  <a:lnTo>
                    <a:pt x="788" y="220"/>
                  </a:lnTo>
                  <a:lnTo>
                    <a:pt x="794" y="210"/>
                  </a:lnTo>
                  <a:lnTo>
                    <a:pt x="800" y="200"/>
                  </a:lnTo>
                  <a:lnTo>
                    <a:pt x="804" y="189"/>
                  </a:lnTo>
                  <a:lnTo>
                    <a:pt x="810" y="175"/>
                  </a:lnTo>
                  <a:lnTo>
                    <a:pt x="816" y="164"/>
                  </a:lnTo>
                  <a:lnTo>
                    <a:pt x="822" y="153"/>
                  </a:lnTo>
                  <a:lnTo>
                    <a:pt x="827" y="142"/>
                  </a:lnTo>
                  <a:lnTo>
                    <a:pt x="827" y="142"/>
                  </a:lnTo>
                  <a:lnTo>
                    <a:pt x="835" y="154"/>
                  </a:lnTo>
                  <a:lnTo>
                    <a:pt x="842" y="164"/>
                  </a:lnTo>
                  <a:lnTo>
                    <a:pt x="850" y="173"/>
                  </a:lnTo>
                  <a:lnTo>
                    <a:pt x="858" y="181"/>
                  </a:lnTo>
                  <a:lnTo>
                    <a:pt x="876" y="196"/>
                  </a:lnTo>
                  <a:lnTo>
                    <a:pt x="894" y="215"/>
                  </a:lnTo>
                  <a:lnTo>
                    <a:pt x="902" y="226"/>
                  </a:lnTo>
                  <a:lnTo>
                    <a:pt x="907" y="236"/>
                  </a:lnTo>
                  <a:lnTo>
                    <a:pt x="911" y="246"/>
                  </a:lnTo>
                  <a:lnTo>
                    <a:pt x="913" y="257"/>
                  </a:lnTo>
                  <a:lnTo>
                    <a:pt x="917" y="267"/>
                  </a:lnTo>
                  <a:lnTo>
                    <a:pt x="919" y="278"/>
                  </a:lnTo>
                  <a:lnTo>
                    <a:pt x="923" y="289"/>
                  </a:lnTo>
                  <a:lnTo>
                    <a:pt x="928" y="301"/>
                  </a:lnTo>
                  <a:lnTo>
                    <a:pt x="940" y="322"/>
                  </a:lnTo>
                  <a:lnTo>
                    <a:pt x="952" y="340"/>
                  </a:lnTo>
                  <a:lnTo>
                    <a:pt x="963" y="359"/>
                  </a:lnTo>
                  <a:lnTo>
                    <a:pt x="974" y="380"/>
                  </a:lnTo>
                  <a:lnTo>
                    <a:pt x="979" y="392"/>
                  </a:lnTo>
                  <a:lnTo>
                    <a:pt x="984" y="403"/>
                  </a:lnTo>
                  <a:lnTo>
                    <a:pt x="989" y="416"/>
                  </a:lnTo>
                  <a:lnTo>
                    <a:pt x="991" y="428"/>
                  </a:lnTo>
                  <a:lnTo>
                    <a:pt x="993" y="438"/>
                  </a:lnTo>
                  <a:lnTo>
                    <a:pt x="994" y="447"/>
                  </a:lnTo>
                  <a:lnTo>
                    <a:pt x="995" y="452"/>
                  </a:lnTo>
                  <a:lnTo>
                    <a:pt x="998" y="454"/>
                  </a:lnTo>
                  <a:lnTo>
                    <a:pt x="1001" y="457"/>
                  </a:lnTo>
                  <a:lnTo>
                    <a:pt x="1005" y="457"/>
                  </a:lnTo>
                  <a:lnTo>
                    <a:pt x="1022" y="456"/>
                  </a:lnTo>
                  <a:lnTo>
                    <a:pt x="1039" y="453"/>
                  </a:lnTo>
                  <a:lnTo>
                    <a:pt x="1055" y="449"/>
                  </a:lnTo>
                  <a:lnTo>
                    <a:pt x="1068" y="444"/>
                  </a:lnTo>
                  <a:lnTo>
                    <a:pt x="1083" y="439"/>
                  </a:lnTo>
                  <a:lnTo>
                    <a:pt x="1098" y="436"/>
                  </a:lnTo>
                  <a:lnTo>
                    <a:pt x="1114" y="433"/>
                  </a:lnTo>
                  <a:lnTo>
                    <a:pt x="1132" y="432"/>
                  </a:lnTo>
                  <a:lnTo>
                    <a:pt x="1144" y="432"/>
                  </a:lnTo>
                  <a:lnTo>
                    <a:pt x="1157" y="436"/>
                  </a:lnTo>
                  <a:lnTo>
                    <a:pt x="1166" y="439"/>
                  </a:lnTo>
                  <a:lnTo>
                    <a:pt x="1176" y="444"/>
                  </a:lnTo>
                  <a:lnTo>
                    <a:pt x="1196" y="456"/>
                  </a:lnTo>
                  <a:lnTo>
                    <a:pt x="1219" y="468"/>
                  </a:lnTo>
                  <a:lnTo>
                    <a:pt x="1237" y="477"/>
                  </a:lnTo>
                  <a:lnTo>
                    <a:pt x="1253" y="485"/>
                  </a:lnTo>
                  <a:lnTo>
                    <a:pt x="1270" y="492"/>
                  </a:lnTo>
                  <a:lnTo>
                    <a:pt x="1286" y="497"/>
                  </a:lnTo>
                  <a:lnTo>
                    <a:pt x="1303" y="500"/>
                  </a:lnTo>
                  <a:lnTo>
                    <a:pt x="1319" y="503"/>
                  </a:lnTo>
                  <a:lnTo>
                    <a:pt x="1338" y="505"/>
                  </a:lnTo>
                  <a:lnTo>
                    <a:pt x="1358" y="505"/>
                  </a:lnTo>
                  <a:lnTo>
                    <a:pt x="1373" y="505"/>
                  </a:lnTo>
                  <a:lnTo>
                    <a:pt x="1385" y="503"/>
                  </a:lnTo>
                  <a:lnTo>
                    <a:pt x="1398" y="499"/>
                  </a:lnTo>
                  <a:lnTo>
                    <a:pt x="1410" y="495"/>
                  </a:lnTo>
                  <a:lnTo>
                    <a:pt x="1421" y="492"/>
                  </a:lnTo>
                  <a:lnTo>
                    <a:pt x="1434" y="489"/>
                  </a:lnTo>
                  <a:lnTo>
                    <a:pt x="1447" y="487"/>
                  </a:lnTo>
                  <a:lnTo>
                    <a:pt x="1461" y="485"/>
                  </a:lnTo>
                  <a:lnTo>
                    <a:pt x="1506" y="485"/>
                  </a:lnTo>
                  <a:lnTo>
                    <a:pt x="1509" y="504"/>
                  </a:lnTo>
                  <a:lnTo>
                    <a:pt x="1513" y="520"/>
                  </a:lnTo>
                  <a:lnTo>
                    <a:pt x="1517" y="535"/>
                  </a:lnTo>
                  <a:lnTo>
                    <a:pt x="1520" y="550"/>
                  </a:lnTo>
                  <a:lnTo>
                    <a:pt x="1524" y="563"/>
                  </a:lnTo>
                  <a:lnTo>
                    <a:pt x="1528" y="580"/>
                  </a:lnTo>
                  <a:lnTo>
                    <a:pt x="1532" y="596"/>
                  </a:lnTo>
                  <a:lnTo>
                    <a:pt x="1534" y="613"/>
                  </a:lnTo>
                  <a:lnTo>
                    <a:pt x="1534" y="632"/>
                  </a:lnTo>
                  <a:lnTo>
                    <a:pt x="1533" y="649"/>
                  </a:lnTo>
                  <a:lnTo>
                    <a:pt x="1533" y="658"/>
                  </a:lnTo>
                  <a:lnTo>
                    <a:pt x="1534" y="665"/>
                  </a:lnTo>
                  <a:lnTo>
                    <a:pt x="1535" y="674"/>
                  </a:lnTo>
                  <a:lnTo>
                    <a:pt x="1540" y="681"/>
                  </a:lnTo>
                  <a:lnTo>
                    <a:pt x="1547" y="688"/>
                  </a:lnTo>
                  <a:lnTo>
                    <a:pt x="1553" y="692"/>
                  </a:lnTo>
                  <a:lnTo>
                    <a:pt x="1560" y="696"/>
                  </a:lnTo>
                  <a:lnTo>
                    <a:pt x="1568" y="700"/>
                  </a:lnTo>
                  <a:lnTo>
                    <a:pt x="1575" y="704"/>
                  </a:lnTo>
                  <a:lnTo>
                    <a:pt x="1580" y="707"/>
                  </a:lnTo>
                  <a:lnTo>
                    <a:pt x="1583" y="710"/>
                  </a:lnTo>
                  <a:lnTo>
                    <a:pt x="1585" y="714"/>
                  </a:lnTo>
                  <a:lnTo>
                    <a:pt x="1585" y="717"/>
                  </a:lnTo>
                  <a:lnTo>
                    <a:pt x="1586" y="721"/>
                  </a:lnTo>
                  <a:lnTo>
                    <a:pt x="1586" y="756"/>
                  </a:lnTo>
                  <a:lnTo>
                    <a:pt x="1573" y="758"/>
                  </a:lnTo>
                  <a:lnTo>
                    <a:pt x="1560" y="761"/>
                  </a:lnTo>
                  <a:lnTo>
                    <a:pt x="1555" y="763"/>
                  </a:lnTo>
                  <a:lnTo>
                    <a:pt x="1550" y="766"/>
                  </a:lnTo>
                  <a:lnTo>
                    <a:pt x="1547" y="771"/>
                  </a:lnTo>
                  <a:lnTo>
                    <a:pt x="1543" y="776"/>
                  </a:lnTo>
                  <a:lnTo>
                    <a:pt x="1539" y="787"/>
                  </a:lnTo>
                  <a:lnTo>
                    <a:pt x="1537" y="797"/>
                  </a:lnTo>
                  <a:lnTo>
                    <a:pt x="1537" y="808"/>
                  </a:lnTo>
                  <a:lnTo>
                    <a:pt x="1537" y="818"/>
                  </a:lnTo>
                  <a:lnTo>
                    <a:pt x="1537" y="828"/>
                  </a:lnTo>
                  <a:lnTo>
                    <a:pt x="1537" y="838"/>
                  </a:lnTo>
                  <a:lnTo>
                    <a:pt x="1537" y="849"/>
                  </a:lnTo>
                  <a:lnTo>
                    <a:pt x="1534" y="861"/>
                  </a:lnTo>
                  <a:lnTo>
                    <a:pt x="1558" y="865"/>
                  </a:lnTo>
                  <a:lnTo>
                    <a:pt x="1580" y="867"/>
                  </a:lnTo>
                  <a:lnTo>
                    <a:pt x="1590" y="869"/>
                  </a:lnTo>
                  <a:lnTo>
                    <a:pt x="1599" y="872"/>
                  </a:lnTo>
                  <a:lnTo>
                    <a:pt x="1604" y="875"/>
                  </a:lnTo>
                  <a:lnTo>
                    <a:pt x="1607" y="879"/>
                  </a:lnTo>
                  <a:lnTo>
                    <a:pt x="1611" y="882"/>
                  </a:lnTo>
                  <a:lnTo>
                    <a:pt x="1615" y="886"/>
                  </a:lnTo>
                  <a:lnTo>
                    <a:pt x="1617" y="892"/>
                  </a:lnTo>
                  <a:lnTo>
                    <a:pt x="1619" y="898"/>
                  </a:lnTo>
                  <a:lnTo>
                    <a:pt x="1619" y="903"/>
                  </a:lnTo>
                  <a:lnTo>
                    <a:pt x="1617" y="910"/>
                  </a:lnTo>
                  <a:lnTo>
                    <a:pt x="1615" y="922"/>
                  </a:lnTo>
                  <a:lnTo>
                    <a:pt x="1615" y="934"/>
                  </a:lnTo>
                  <a:lnTo>
                    <a:pt x="1616" y="946"/>
                  </a:lnTo>
                  <a:lnTo>
                    <a:pt x="1619" y="957"/>
                  </a:lnTo>
                  <a:lnTo>
                    <a:pt x="1622" y="967"/>
                  </a:lnTo>
                  <a:lnTo>
                    <a:pt x="1626" y="977"/>
                  </a:lnTo>
                  <a:lnTo>
                    <a:pt x="1631" y="984"/>
                  </a:lnTo>
                  <a:lnTo>
                    <a:pt x="1637" y="993"/>
                  </a:lnTo>
                  <a:lnTo>
                    <a:pt x="1645" y="1000"/>
                  </a:lnTo>
                  <a:lnTo>
                    <a:pt x="1655" y="1006"/>
                  </a:lnTo>
                  <a:lnTo>
                    <a:pt x="1663" y="1010"/>
                  </a:lnTo>
                  <a:lnTo>
                    <a:pt x="1671" y="1013"/>
                  </a:lnTo>
                  <a:lnTo>
                    <a:pt x="1679" y="1014"/>
                  </a:lnTo>
                  <a:lnTo>
                    <a:pt x="1688" y="1014"/>
                  </a:lnTo>
                  <a:lnTo>
                    <a:pt x="1706" y="1014"/>
                  </a:lnTo>
                  <a:lnTo>
                    <a:pt x="1725" y="1015"/>
                  </a:lnTo>
                  <a:lnTo>
                    <a:pt x="1743" y="1017"/>
                  </a:lnTo>
                  <a:lnTo>
                    <a:pt x="1759" y="1021"/>
                  </a:lnTo>
                  <a:lnTo>
                    <a:pt x="1774" y="1026"/>
                  </a:lnTo>
                  <a:lnTo>
                    <a:pt x="1787" y="1032"/>
                  </a:lnTo>
                  <a:lnTo>
                    <a:pt x="1802" y="1037"/>
                  </a:lnTo>
                  <a:lnTo>
                    <a:pt x="1817" y="1041"/>
                  </a:lnTo>
                  <a:lnTo>
                    <a:pt x="1832" y="1045"/>
                  </a:lnTo>
                  <a:lnTo>
                    <a:pt x="1851" y="1046"/>
                  </a:lnTo>
                  <a:lnTo>
                    <a:pt x="1860" y="1045"/>
                  </a:lnTo>
                  <a:lnTo>
                    <a:pt x="1867" y="1044"/>
                  </a:lnTo>
                  <a:lnTo>
                    <a:pt x="1873" y="1041"/>
                  </a:lnTo>
                  <a:lnTo>
                    <a:pt x="1879" y="1037"/>
                  </a:lnTo>
                  <a:lnTo>
                    <a:pt x="1884" y="1032"/>
                  </a:lnTo>
                  <a:lnTo>
                    <a:pt x="1889" y="1027"/>
                  </a:lnTo>
                  <a:lnTo>
                    <a:pt x="1894" y="1021"/>
                  </a:lnTo>
                  <a:lnTo>
                    <a:pt x="1898" y="1015"/>
                  </a:lnTo>
                  <a:lnTo>
                    <a:pt x="1907" y="1001"/>
                  </a:lnTo>
                  <a:lnTo>
                    <a:pt x="1917" y="988"/>
                  </a:lnTo>
                  <a:lnTo>
                    <a:pt x="1922" y="982"/>
                  </a:lnTo>
                  <a:lnTo>
                    <a:pt x="1927" y="975"/>
                  </a:lnTo>
                  <a:lnTo>
                    <a:pt x="1933" y="969"/>
                  </a:lnTo>
                  <a:lnTo>
                    <a:pt x="1939" y="963"/>
                  </a:lnTo>
                  <a:lnTo>
                    <a:pt x="1955" y="952"/>
                  </a:lnTo>
                  <a:lnTo>
                    <a:pt x="1970" y="943"/>
                  </a:lnTo>
                  <a:lnTo>
                    <a:pt x="1985" y="934"/>
                  </a:lnTo>
                  <a:lnTo>
                    <a:pt x="2000" y="928"/>
                  </a:lnTo>
                  <a:lnTo>
                    <a:pt x="2016" y="922"/>
                  </a:lnTo>
                  <a:lnTo>
                    <a:pt x="2032" y="916"/>
                  </a:lnTo>
                  <a:lnTo>
                    <a:pt x="2050" y="911"/>
                  </a:lnTo>
                  <a:lnTo>
                    <a:pt x="2069" y="906"/>
                  </a:lnTo>
                  <a:lnTo>
                    <a:pt x="2086" y="902"/>
                  </a:lnTo>
                  <a:lnTo>
                    <a:pt x="2098" y="895"/>
                  </a:lnTo>
                  <a:lnTo>
                    <a:pt x="2110" y="887"/>
                  </a:lnTo>
                  <a:lnTo>
                    <a:pt x="2120" y="880"/>
                  </a:lnTo>
                  <a:lnTo>
                    <a:pt x="2132" y="871"/>
                  </a:lnTo>
                  <a:lnTo>
                    <a:pt x="2143" y="864"/>
                  </a:lnTo>
                  <a:lnTo>
                    <a:pt x="2155" y="856"/>
                  </a:lnTo>
                  <a:lnTo>
                    <a:pt x="2170" y="850"/>
                  </a:lnTo>
                  <a:lnTo>
                    <a:pt x="2189" y="841"/>
                  </a:lnTo>
                  <a:lnTo>
                    <a:pt x="2205" y="834"/>
                  </a:lnTo>
                  <a:lnTo>
                    <a:pt x="2221" y="825"/>
                  </a:lnTo>
                  <a:lnTo>
                    <a:pt x="2235" y="817"/>
                  </a:lnTo>
                  <a:lnTo>
                    <a:pt x="2263" y="798"/>
                  </a:lnTo>
                  <a:lnTo>
                    <a:pt x="2298" y="778"/>
                  </a:lnTo>
                  <a:lnTo>
                    <a:pt x="2298" y="778"/>
                  </a:lnTo>
                  <a:lnTo>
                    <a:pt x="2302" y="794"/>
                  </a:lnTo>
                  <a:lnTo>
                    <a:pt x="2305" y="807"/>
                  </a:lnTo>
                  <a:lnTo>
                    <a:pt x="2308" y="814"/>
                  </a:lnTo>
                  <a:lnTo>
                    <a:pt x="2310" y="820"/>
                  </a:lnTo>
                  <a:lnTo>
                    <a:pt x="2312" y="828"/>
                  </a:lnTo>
                  <a:lnTo>
                    <a:pt x="2312" y="836"/>
                  </a:lnTo>
                  <a:lnTo>
                    <a:pt x="2312" y="840"/>
                  </a:lnTo>
                  <a:lnTo>
                    <a:pt x="2310" y="844"/>
                  </a:lnTo>
                  <a:lnTo>
                    <a:pt x="2308" y="848"/>
                  </a:lnTo>
                  <a:lnTo>
                    <a:pt x="2305" y="850"/>
                  </a:lnTo>
                  <a:lnTo>
                    <a:pt x="2299" y="854"/>
                  </a:lnTo>
                  <a:lnTo>
                    <a:pt x="2292" y="857"/>
                  </a:lnTo>
                  <a:lnTo>
                    <a:pt x="2277" y="875"/>
                  </a:lnTo>
                  <a:lnTo>
                    <a:pt x="2261" y="890"/>
                  </a:lnTo>
                  <a:lnTo>
                    <a:pt x="2243" y="898"/>
                  </a:lnTo>
                  <a:lnTo>
                    <a:pt x="2228" y="908"/>
                  </a:lnTo>
                  <a:lnTo>
                    <a:pt x="2221" y="915"/>
                  </a:lnTo>
                  <a:lnTo>
                    <a:pt x="2216" y="921"/>
                  </a:lnTo>
                  <a:lnTo>
                    <a:pt x="2213" y="928"/>
                  </a:lnTo>
                  <a:lnTo>
                    <a:pt x="2212" y="938"/>
                  </a:lnTo>
                  <a:lnTo>
                    <a:pt x="2213" y="942"/>
                  </a:lnTo>
                  <a:lnTo>
                    <a:pt x="2215" y="946"/>
                  </a:lnTo>
                  <a:lnTo>
                    <a:pt x="2217" y="948"/>
                  </a:lnTo>
                  <a:lnTo>
                    <a:pt x="2221" y="950"/>
                  </a:lnTo>
                  <a:lnTo>
                    <a:pt x="2230" y="955"/>
                  </a:lnTo>
                  <a:lnTo>
                    <a:pt x="2238" y="960"/>
                  </a:lnTo>
                  <a:lnTo>
                    <a:pt x="2247" y="972"/>
                  </a:lnTo>
                  <a:lnTo>
                    <a:pt x="2254" y="982"/>
                  </a:lnTo>
                  <a:lnTo>
                    <a:pt x="2258" y="985"/>
                  </a:lnTo>
                  <a:lnTo>
                    <a:pt x="2263" y="989"/>
                  </a:lnTo>
                  <a:lnTo>
                    <a:pt x="2268" y="991"/>
                  </a:lnTo>
                  <a:lnTo>
                    <a:pt x="2274" y="991"/>
                  </a:lnTo>
                  <a:lnTo>
                    <a:pt x="2279" y="991"/>
                  </a:lnTo>
                  <a:lnTo>
                    <a:pt x="2283" y="989"/>
                  </a:lnTo>
                  <a:lnTo>
                    <a:pt x="2287" y="986"/>
                  </a:lnTo>
                  <a:lnTo>
                    <a:pt x="2289" y="983"/>
                  </a:lnTo>
                  <a:lnTo>
                    <a:pt x="2292" y="979"/>
                  </a:lnTo>
                  <a:lnTo>
                    <a:pt x="2295" y="977"/>
                  </a:lnTo>
                  <a:lnTo>
                    <a:pt x="2299" y="974"/>
                  </a:lnTo>
                  <a:lnTo>
                    <a:pt x="2303" y="972"/>
                  </a:lnTo>
                  <a:lnTo>
                    <a:pt x="2325" y="967"/>
                  </a:lnTo>
                  <a:lnTo>
                    <a:pt x="2344" y="964"/>
                  </a:lnTo>
                  <a:lnTo>
                    <a:pt x="2364" y="963"/>
                  </a:lnTo>
                  <a:lnTo>
                    <a:pt x="2386" y="963"/>
                  </a:lnTo>
                  <a:lnTo>
                    <a:pt x="2401" y="963"/>
                  </a:lnTo>
                  <a:lnTo>
                    <a:pt x="2402" y="982"/>
                  </a:lnTo>
                  <a:lnTo>
                    <a:pt x="2401" y="1000"/>
                  </a:lnTo>
                  <a:lnTo>
                    <a:pt x="2402" y="1006"/>
                  </a:lnTo>
                  <a:lnTo>
                    <a:pt x="2404" y="1011"/>
                  </a:lnTo>
                  <a:lnTo>
                    <a:pt x="2406" y="1015"/>
                  </a:lnTo>
                  <a:lnTo>
                    <a:pt x="2408" y="1020"/>
                  </a:lnTo>
                  <a:lnTo>
                    <a:pt x="2416" y="1026"/>
                  </a:lnTo>
                  <a:lnTo>
                    <a:pt x="2425" y="1032"/>
                  </a:lnTo>
                  <a:lnTo>
                    <a:pt x="2433" y="1037"/>
                  </a:lnTo>
                  <a:lnTo>
                    <a:pt x="2443" y="1044"/>
                  </a:lnTo>
                  <a:lnTo>
                    <a:pt x="2452" y="1051"/>
                  </a:lnTo>
                  <a:lnTo>
                    <a:pt x="2459" y="1060"/>
                  </a:lnTo>
                  <a:lnTo>
                    <a:pt x="2467" y="1072"/>
                  </a:lnTo>
                  <a:lnTo>
                    <a:pt x="2473" y="1084"/>
                  </a:lnTo>
                  <a:lnTo>
                    <a:pt x="2477" y="1089"/>
                  </a:lnTo>
                  <a:lnTo>
                    <a:pt x="2482" y="1093"/>
                  </a:lnTo>
                  <a:lnTo>
                    <a:pt x="2488" y="1096"/>
                  </a:lnTo>
                  <a:lnTo>
                    <a:pt x="2494" y="1097"/>
                  </a:lnTo>
                  <a:lnTo>
                    <a:pt x="2510" y="1096"/>
                  </a:lnTo>
                  <a:lnTo>
                    <a:pt x="2524" y="1093"/>
                  </a:lnTo>
                  <a:lnTo>
                    <a:pt x="2539" y="1089"/>
                  </a:lnTo>
                  <a:lnTo>
                    <a:pt x="2555" y="1088"/>
                  </a:lnTo>
                  <a:lnTo>
                    <a:pt x="2565" y="1088"/>
                  </a:lnTo>
                  <a:lnTo>
                    <a:pt x="2574" y="1089"/>
                  </a:lnTo>
                  <a:lnTo>
                    <a:pt x="2584" y="1089"/>
                  </a:lnTo>
                  <a:lnTo>
                    <a:pt x="2594" y="1089"/>
                  </a:lnTo>
                  <a:lnTo>
                    <a:pt x="2599" y="1096"/>
                  </a:lnTo>
                  <a:lnTo>
                    <a:pt x="2602" y="1103"/>
                  </a:lnTo>
                  <a:lnTo>
                    <a:pt x="2601" y="1109"/>
                  </a:lnTo>
                  <a:lnTo>
                    <a:pt x="2600" y="1115"/>
                  </a:lnTo>
                  <a:lnTo>
                    <a:pt x="2597" y="1120"/>
                  </a:lnTo>
                  <a:lnTo>
                    <a:pt x="2594" y="1124"/>
                  </a:lnTo>
                  <a:lnTo>
                    <a:pt x="2589" y="1128"/>
                  </a:lnTo>
                  <a:lnTo>
                    <a:pt x="2584" y="1130"/>
                  </a:lnTo>
                  <a:lnTo>
                    <a:pt x="2579" y="1133"/>
                  </a:lnTo>
                  <a:lnTo>
                    <a:pt x="2572" y="1135"/>
                  </a:lnTo>
                  <a:lnTo>
                    <a:pt x="2559" y="1139"/>
                  </a:lnTo>
                  <a:lnTo>
                    <a:pt x="2545" y="1144"/>
                  </a:lnTo>
                  <a:lnTo>
                    <a:pt x="2531" y="1149"/>
                  </a:lnTo>
                  <a:lnTo>
                    <a:pt x="2519" y="1156"/>
                  </a:lnTo>
                  <a:lnTo>
                    <a:pt x="2514" y="1161"/>
                  </a:lnTo>
                  <a:lnTo>
                    <a:pt x="2510" y="1165"/>
                  </a:lnTo>
                  <a:lnTo>
                    <a:pt x="2507" y="1171"/>
                  </a:lnTo>
                  <a:lnTo>
                    <a:pt x="2503" y="1176"/>
                  </a:lnTo>
                  <a:lnTo>
                    <a:pt x="2497" y="1187"/>
                  </a:lnTo>
                  <a:lnTo>
                    <a:pt x="2492" y="1199"/>
                  </a:lnTo>
                  <a:lnTo>
                    <a:pt x="2485" y="1209"/>
                  </a:lnTo>
                  <a:lnTo>
                    <a:pt x="2479" y="1217"/>
                  </a:lnTo>
                  <a:lnTo>
                    <a:pt x="2474" y="1221"/>
                  </a:lnTo>
                  <a:lnTo>
                    <a:pt x="2471" y="1222"/>
                  </a:lnTo>
                  <a:lnTo>
                    <a:pt x="2464" y="1225"/>
                  </a:lnTo>
                  <a:lnTo>
                    <a:pt x="2458" y="1225"/>
                  </a:lnTo>
                  <a:lnTo>
                    <a:pt x="2452" y="1225"/>
                  </a:lnTo>
                  <a:lnTo>
                    <a:pt x="2447" y="1223"/>
                  </a:lnTo>
                  <a:lnTo>
                    <a:pt x="2442" y="1221"/>
                  </a:lnTo>
                  <a:lnTo>
                    <a:pt x="2437" y="1218"/>
                  </a:lnTo>
                  <a:lnTo>
                    <a:pt x="2427" y="1212"/>
                  </a:lnTo>
                  <a:lnTo>
                    <a:pt x="2420" y="1205"/>
                  </a:lnTo>
                  <a:lnTo>
                    <a:pt x="2411" y="1197"/>
                  </a:lnTo>
                  <a:lnTo>
                    <a:pt x="2402" y="1191"/>
                  </a:lnTo>
                  <a:lnTo>
                    <a:pt x="2397" y="1189"/>
                  </a:lnTo>
                  <a:lnTo>
                    <a:pt x="2392" y="1186"/>
                  </a:lnTo>
                  <a:lnTo>
                    <a:pt x="2386" y="1185"/>
                  </a:lnTo>
                  <a:lnTo>
                    <a:pt x="2380" y="1185"/>
                  </a:lnTo>
                  <a:lnTo>
                    <a:pt x="2372" y="1186"/>
                  </a:lnTo>
                  <a:lnTo>
                    <a:pt x="2365" y="1189"/>
                  </a:lnTo>
                  <a:lnTo>
                    <a:pt x="2359" y="1192"/>
                  </a:lnTo>
                  <a:lnTo>
                    <a:pt x="2353" y="1197"/>
                  </a:lnTo>
                  <a:lnTo>
                    <a:pt x="2343" y="1210"/>
                  </a:lnTo>
                  <a:lnTo>
                    <a:pt x="2334" y="1225"/>
                  </a:lnTo>
                  <a:lnTo>
                    <a:pt x="2327" y="1240"/>
                  </a:lnTo>
                  <a:lnTo>
                    <a:pt x="2317" y="1252"/>
                  </a:lnTo>
                  <a:lnTo>
                    <a:pt x="2310" y="1257"/>
                  </a:lnTo>
                  <a:lnTo>
                    <a:pt x="2304" y="1261"/>
                  </a:lnTo>
                  <a:lnTo>
                    <a:pt x="2297" y="1264"/>
                  </a:lnTo>
                  <a:lnTo>
                    <a:pt x="2289" y="1264"/>
                  </a:lnTo>
                  <a:lnTo>
                    <a:pt x="2281" y="1263"/>
                  </a:lnTo>
                  <a:lnTo>
                    <a:pt x="2274" y="1261"/>
                  </a:lnTo>
                  <a:lnTo>
                    <a:pt x="2269" y="1256"/>
                  </a:lnTo>
                  <a:lnTo>
                    <a:pt x="2266" y="1249"/>
                  </a:lnTo>
                  <a:lnTo>
                    <a:pt x="2257" y="1235"/>
                  </a:lnTo>
                  <a:lnTo>
                    <a:pt x="2250" y="1220"/>
                  </a:lnTo>
                  <a:lnTo>
                    <a:pt x="2238" y="1213"/>
                  </a:lnTo>
                  <a:lnTo>
                    <a:pt x="2237" y="1222"/>
                  </a:lnTo>
                  <a:lnTo>
                    <a:pt x="2235" y="1231"/>
                  </a:lnTo>
                  <a:lnTo>
                    <a:pt x="2230" y="1238"/>
                  </a:lnTo>
                  <a:lnTo>
                    <a:pt x="2225" y="1246"/>
                  </a:lnTo>
                  <a:lnTo>
                    <a:pt x="2217" y="1251"/>
                  </a:lnTo>
                  <a:lnTo>
                    <a:pt x="2210" y="1256"/>
                  </a:lnTo>
                  <a:lnTo>
                    <a:pt x="2201" y="1258"/>
                  </a:lnTo>
                  <a:lnTo>
                    <a:pt x="2192" y="1259"/>
                  </a:lnTo>
                  <a:lnTo>
                    <a:pt x="2186" y="1258"/>
                  </a:lnTo>
                  <a:lnTo>
                    <a:pt x="2181" y="1257"/>
                  </a:lnTo>
                  <a:lnTo>
                    <a:pt x="2176" y="1256"/>
                  </a:lnTo>
                  <a:lnTo>
                    <a:pt x="2171" y="1253"/>
                  </a:lnTo>
                  <a:lnTo>
                    <a:pt x="2164" y="1247"/>
                  </a:lnTo>
                  <a:lnTo>
                    <a:pt x="2156" y="1238"/>
                  </a:lnTo>
                  <a:lnTo>
                    <a:pt x="2144" y="1218"/>
                  </a:lnTo>
                  <a:lnTo>
                    <a:pt x="2129" y="1200"/>
                  </a:lnTo>
                  <a:lnTo>
                    <a:pt x="2129" y="1200"/>
                  </a:lnTo>
                  <a:lnTo>
                    <a:pt x="2150" y="1173"/>
                  </a:lnTo>
                  <a:lnTo>
                    <a:pt x="2171" y="1151"/>
                  </a:lnTo>
                  <a:lnTo>
                    <a:pt x="2180" y="1140"/>
                  </a:lnTo>
                  <a:lnTo>
                    <a:pt x="2186" y="1128"/>
                  </a:lnTo>
                  <a:lnTo>
                    <a:pt x="2189" y="1120"/>
                  </a:lnTo>
                  <a:lnTo>
                    <a:pt x="2191" y="1113"/>
                  </a:lnTo>
                  <a:lnTo>
                    <a:pt x="2192" y="1106"/>
                  </a:lnTo>
                  <a:lnTo>
                    <a:pt x="2192" y="1097"/>
                  </a:lnTo>
                  <a:lnTo>
                    <a:pt x="2191" y="1077"/>
                  </a:lnTo>
                  <a:lnTo>
                    <a:pt x="2187" y="1060"/>
                  </a:lnTo>
                  <a:lnTo>
                    <a:pt x="2185" y="1042"/>
                  </a:lnTo>
                  <a:lnTo>
                    <a:pt x="2184" y="1022"/>
                  </a:lnTo>
                  <a:lnTo>
                    <a:pt x="2150" y="1020"/>
                  </a:lnTo>
                  <a:lnTo>
                    <a:pt x="2140" y="1032"/>
                  </a:lnTo>
                  <a:lnTo>
                    <a:pt x="2130" y="1045"/>
                  </a:lnTo>
                  <a:lnTo>
                    <a:pt x="2120" y="1055"/>
                  </a:lnTo>
                  <a:lnTo>
                    <a:pt x="2109" y="1065"/>
                  </a:lnTo>
                  <a:lnTo>
                    <a:pt x="2098" y="1072"/>
                  </a:lnTo>
                  <a:lnTo>
                    <a:pt x="2086" y="1078"/>
                  </a:lnTo>
                  <a:lnTo>
                    <a:pt x="2078" y="1079"/>
                  </a:lnTo>
                  <a:lnTo>
                    <a:pt x="2071" y="1082"/>
                  </a:lnTo>
                  <a:lnTo>
                    <a:pt x="2063" y="1082"/>
                  </a:lnTo>
                  <a:lnTo>
                    <a:pt x="2056" y="1083"/>
                  </a:lnTo>
                  <a:lnTo>
                    <a:pt x="2048" y="1082"/>
                  </a:lnTo>
                  <a:lnTo>
                    <a:pt x="2042" y="1081"/>
                  </a:lnTo>
                  <a:lnTo>
                    <a:pt x="2036" y="1078"/>
                  </a:lnTo>
                  <a:lnTo>
                    <a:pt x="2030" y="1076"/>
                  </a:lnTo>
                  <a:lnTo>
                    <a:pt x="2023" y="1073"/>
                  </a:lnTo>
                  <a:lnTo>
                    <a:pt x="2017" y="1071"/>
                  </a:lnTo>
                  <a:lnTo>
                    <a:pt x="2011" y="1070"/>
                  </a:lnTo>
                  <a:lnTo>
                    <a:pt x="2004" y="1068"/>
                  </a:lnTo>
                  <a:lnTo>
                    <a:pt x="1959" y="1068"/>
                  </a:lnTo>
                  <a:lnTo>
                    <a:pt x="1956" y="1101"/>
                  </a:lnTo>
                  <a:lnTo>
                    <a:pt x="1954" y="1129"/>
                  </a:lnTo>
                  <a:lnTo>
                    <a:pt x="1953" y="1143"/>
                  </a:lnTo>
                  <a:lnTo>
                    <a:pt x="1948" y="1155"/>
                  </a:lnTo>
                  <a:lnTo>
                    <a:pt x="1945" y="1161"/>
                  </a:lnTo>
                  <a:lnTo>
                    <a:pt x="1940" y="1168"/>
                  </a:lnTo>
                  <a:lnTo>
                    <a:pt x="1937" y="1174"/>
                  </a:lnTo>
                  <a:lnTo>
                    <a:pt x="1930" y="1179"/>
                  </a:lnTo>
                  <a:lnTo>
                    <a:pt x="1914" y="1187"/>
                  </a:lnTo>
                  <a:lnTo>
                    <a:pt x="1897" y="1194"/>
                  </a:lnTo>
                  <a:lnTo>
                    <a:pt x="1879" y="1201"/>
                  </a:lnTo>
                  <a:lnTo>
                    <a:pt x="1866" y="1209"/>
                  </a:lnTo>
                  <a:lnTo>
                    <a:pt x="1858" y="1213"/>
                  </a:lnTo>
                  <a:lnTo>
                    <a:pt x="1852" y="1217"/>
                  </a:lnTo>
                  <a:lnTo>
                    <a:pt x="1846" y="1223"/>
                  </a:lnTo>
                  <a:lnTo>
                    <a:pt x="1840" y="1231"/>
                  </a:lnTo>
                  <a:lnTo>
                    <a:pt x="1826" y="1251"/>
                  </a:lnTo>
                  <a:lnTo>
                    <a:pt x="1814" y="1271"/>
                  </a:lnTo>
                  <a:lnTo>
                    <a:pt x="1807" y="1278"/>
                  </a:lnTo>
                  <a:lnTo>
                    <a:pt x="1799" y="1284"/>
                  </a:lnTo>
                  <a:lnTo>
                    <a:pt x="1795" y="1287"/>
                  </a:lnTo>
                  <a:lnTo>
                    <a:pt x="1790" y="1289"/>
                  </a:lnTo>
                  <a:lnTo>
                    <a:pt x="1784" y="1290"/>
                  </a:lnTo>
                  <a:lnTo>
                    <a:pt x="1778" y="1290"/>
                  </a:lnTo>
                  <a:lnTo>
                    <a:pt x="1768" y="1289"/>
                  </a:lnTo>
                  <a:lnTo>
                    <a:pt x="1758" y="1288"/>
                  </a:lnTo>
                  <a:lnTo>
                    <a:pt x="1748" y="1287"/>
                  </a:lnTo>
                  <a:lnTo>
                    <a:pt x="1739" y="1284"/>
                  </a:lnTo>
                  <a:lnTo>
                    <a:pt x="1730" y="1283"/>
                  </a:lnTo>
                  <a:lnTo>
                    <a:pt x="1722" y="1280"/>
                  </a:lnTo>
                  <a:lnTo>
                    <a:pt x="1712" y="1279"/>
                  </a:lnTo>
                  <a:lnTo>
                    <a:pt x="1701" y="1279"/>
                  </a:lnTo>
                  <a:lnTo>
                    <a:pt x="1694" y="1279"/>
                  </a:lnTo>
                  <a:lnTo>
                    <a:pt x="1688" y="1283"/>
                  </a:lnTo>
                  <a:lnTo>
                    <a:pt x="1682" y="1287"/>
                  </a:lnTo>
                  <a:lnTo>
                    <a:pt x="1678" y="1292"/>
                  </a:lnTo>
                  <a:lnTo>
                    <a:pt x="1671" y="1304"/>
                  </a:lnTo>
                  <a:lnTo>
                    <a:pt x="1663" y="1319"/>
                  </a:lnTo>
                  <a:lnTo>
                    <a:pt x="1651" y="1338"/>
                  </a:lnTo>
                  <a:lnTo>
                    <a:pt x="1641" y="1354"/>
                  </a:lnTo>
                  <a:lnTo>
                    <a:pt x="1636" y="1361"/>
                  </a:lnTo>
                  <a:lnTo>
                    <a:pt x="1631" y="1370"/>
                  </a:lnTo>
                  <a:lnTo>
                    <a:pt x="1627" y="1380"/>
                  </a:lnTo>
                  <a:lnTo>
                    <a:pt x="1622" y="1390"/>
                  </a:lnTo>
                  <a:lnTo>
                    <a:pt x="1641" y="1401"/>
                  </a:lnTo>
                  <a:lnTo>
                    <a:pt x="1657" y="1412"/>
                  </a:lnTo>
                  <a:lnTo>
                    <a:pt x="1672" y="1423"/>
                  </a:lnTo>
                  <a:lnTo>
                    <a:pt x="1691" y="1432"/>
                  </a:lnTo>
                  <a:lnTo>
                    <a:pt x="1701" y="1436"/>
                  </a:lnTo>
                  <a:lnTo>
                    <a:pt x="1710" y="1437"/>
                  </a:lnTo>
                  <a:lnTo>
                    <a:pt x="1714" y="1437"/>
                  </a:lnTo>
                  <a:lnTo>
                    <a:pt x="1718" y="1438"/>
                  </a:lnTo>
                  <a:lnTo>
                    <a:pt x="1722" y="1440"/>
                  </a:lnTo>
                  <a:lnTo>
                    <a:pt x="1725" y="1444"/>
                  </a:lnTo>
                  <a:lnTo>
                    <a:pt x="1730" y="1450"/>
                  </a:lnTo>
                  <a:lnTo>
                    <a:pt x="1734" y="1458"/>
                  </a:lnTo>
                  <a:lnTo>
                    <a:pt x="1737" y="1467"/>
                  </a:lnTo>
                  <a:lnTo>
                    <a:pt x="1738" y="1474"/>
                  </a:lnTo>
                  <a:lnTo>
                    <a:pt x="1738" y="1491"/>
                  </a:lnTo>
                  <a:lnTo>
                    <a:pt x="1738" y="1507"/>
                  </a:lnTo>
                  <a:lnTo>
                    <a:pt x="1738" y="1515"/>
                  </a:lnTo>
                  <a:lnTo>
                    <a:pt x="1739" y="1524"/>
                  </a:lnTo>
                  <a:lnTo>
                    <a:pt x="1740" y="1531"/>
                  </a:lnTo>
                  <a:lnTo>
                    <a:pt x="1742" y="1538"/>
                  </a:lnTo>
                  <a:lnTo>
                    <a:pt x="1745" y="1545"/>
                  </a:lnTo>
                  <a:lnTo>
                    <a:pt x="1749" y="1551"/>
                  </a:lnTo>
                  <a:lnTo>
                    <a:pt x="1755" y="1556"/>
                  </a:lnTo>
                  <a:lnTo>
                    <a:pt x="1763" y="1561"/>
                  </a:lnTo>
                  <a:lnTo>
                    <a:pt x="1760" y="1568"/>
                  </a:lnTo>
                  <a:lnTo>
                    <a:pt x="1756" y="1574"/>
                  </a:lnTo>
                  <a:lnTo>
                    <a:pt x="1751" y="1579"/>
                  </a:lnTo>
                  <a:lnTo>
                    <a:pt x="1747" y="1586"/>
                  </a:lnTo>
                  <a:lnTo>
                    <a:pt x="1742" y="1591"/>
                  </a:lnTo>
                  <a:lnTo>
                    <a:pt x="1737" y="1596"/>
                  </a:lnTo>
                  <a:lnTo>
                    <a:pt x="1732" y="1602"/>
                  </a:lnTo>
                  <a:lnTo>
                    <a:pt x="1728" y="1609"/>
                  </a:lnTo>
                  <a:lnTo>
                    <a:pt x="1718" y="1630"/>
                  </a:lnTo>
                  <a:lnTo>
                    <a:pt x="1708" y="1649"/>
                  </a:lnTo>
                  <a:lnTo>
                    <a:pt x="1698" y="1666"/>
                  </a:lnTo>
                  <a:lnTo>
                    <a:pt x="1688" y="1684"/>
                  </a:lnTo>
                  <a:lnTo>
                    <a:pt x="1668" y="1717"/>
                  </a:lnTo>
                  <a:lnTo>
                    <a:pt x="1646" y="1757"/>
                  </a:lnTo>
                  <a:lnTo>
                    <a:pt x="1646" y="1757"/>
                  </a:lnTo>
                  <a:lnTo>
                    <a:pt x="1617" y="1753"/>
                  </a:lnTo>
                  <a:lnTo>
                    <a:pt x="1592" y="1748"/>
                  </a:lnTo>
                  <a:lnTo>
                    <a:pt x="1568" y="1742"/>
                  </a:lnTo>
                  <a:lnTo>
                    <a:pt x="1540" y="1734"/>
                  </a:lnTo>
                  <a:lnTo>
                    <a:pt x="1540" y="1734"/>
                  </a:lnTo>
                  <a:lnTo>
                    <a:pt x="1543" y="1723"/>
                  </a:lnTo>
                  <a:lnTo>
                    <a:pt x="1545" y="1712"/>
                  </a:lnTo>
                  <a:lnTo>
                    <a:pt x="1549" y="1702"/>
                  </a:lnTo>
                  <a:lnTo>
                    <a:pt x="1553" y="1694"/>
                  </a:lnTo>
                  <a:lnTo>
                    <a:pt x="1556" y="1684"/>
                  </a:lnTo>
                  <a:lnTo>
                    <a:pt x="1560" y="1674"/>
                  </a:lnTo>
                  <a:lnTo>
                    <a:pt x="1563" y="1664"/>
                  </a:lnTo>
                  <a:lnTo>
                    <a:pt x="1563" y="1651"/>
                  </a:lnTo>
                  <a:lnTo>
                    <a:pt x="1563" y="1643"/>
                  </a:lnTo>
                  <a:lnTo>
                    <a:pt x="1561" y="1635"/>
                  </a:lnTo>
                  <a:lnTo>
                    <a:pt x="1559" y="1628"/>
                  </a:lnTo>
                  <a:lnTo>
                    <a:pt x="1555" y="1620"/>
                  </a:lnTo>
                  <a:lnTo>
                    <a:pt x="1552" y="1614"/>
                  </a:lnTo>
                  <a:lnTo>
                    <a:pt x="1547" y="1609"/>
                  </a:lnTo>
                  <a:lnTo>
                    <a:pt x="1542" y="1603"/>
                  </a:lnTo>
                  <a:lnTo>
                    <a:pt x="1535" y="1598"/>
                  </a:lnTo>
                  <a:lnTo>
                    <a:pt x="1509" y="1579"/>
                  </a:lnTo>
                  <a:lnTo>
                    <a:pt x="1481" y="1561"/>
                  </a:lnTo>
                  <a:lnTo>
                    <a:pt x="1457" y="1543"/>
                  </a:lnTo>
                  <a:lnTo>
                    <a:pt x="1435" y="1529"/>
                  </a:lnTo>
                  <a:lnTo>
                    <a:pt x="1414" y="1516"/>
                  </a:lnTo>
                  <a:lnTo>
                    <a:pt x="1394" y="1504"/>
                  </a:lnTo>
                  <a:lnTo>
                    <a:pt x="1352" y="1479"/>
                  </a:lnTo>
                  <a:lnTo>
                    <a:pt x="1304" y="1449"/>
                  </a:lnTo>
                  <a:lnTo>
                    <a:pt x="1286" y="1437"/>
                  </a:lnTo>
                  <a:lnTo>
                    <a:pt x="1270" y="1424"/>
                  </a:lnTo>
                  <a:lnTo>
                    <a:pt x="1256" y="1411"/>
                  </a:lnTo>
                  <a:lnTo>
                    <a:pt x="1241" y="1398"/>
                  </a:lnTo>
                  <a:lnTo>
                    <a:pt x="1227" y="1387"/>
                  </a:lnTo>
                  <a:lnTo>
                    <a:pt x="1212" y="1375"/>
                  </a:lnTo>
                  <a:lnTo>
                    <a:pt x="1195" y="1364"/>
                  </a:lnTo>
                  <a:lnTo>
                    <a:pt x="1176" y="1352"/>
                  </a:lnTo>
                  <a:lnTo>
                    <a:pt x="1153" y="1341"/>
                  </a:lnTo>
                  <a:lnTo>
                    <a:pt x="1133" y="1329"/>
                  </a:lnTo>
                  <a:lnTo>
                    <a:pt x="1114" y="1315"/>
                  </a:lnTo>
                  <a:lnTo>
                    <a:pt x="1097" y="1302"/>
                  </a:lnTo>
                  <a:lnTo>
                    <a:pt x="1082" y="1285"/>
                  </a:lnTo>
                  <a:lnTo>
                    <a:pt x="1067" y="1268"/>
                  </a:lnTo>
                  <a:lnTo>
                    <a:pt x="1053" y="1249"/>
                  </a:lnTo>
                  <a:lnTo>
                    <a:pt x="1040" y="1227"/>
                  </a:lnTo>
                  <a:lnTo>
                    <a:pt x="1024" y="1207"/>
                  </a:lnTo>
                  <a:lnTo>
                    <a:pt x="1008" y="1190"/>
                  </a:lnTo>
                  <a:lnTo>
                    <a:pt x="1001" y="1181"/>
                  </a:lnTo>
                  <a:lnTo>
                    <a:pt x="994" y="1171"/>
                  </a:lnTo>
                  <a:lnTo>
                    <a:pt x="989" y="1161"/>
                  </a:lnTo>
                  <a:lnTo>
                    <a:pt x="985" y="1148"/>
                  </a:lnTo>
                  <a:lnTo>
                    <a:pt x="983" y="1129"/>
                  </a:lnTo>
                  <a:lnTo>
                    <a:pt x="981" y="1112"/>
                  </a:lnTo>
                  <a:lnTo>
                    <a:pt x="981" y="1103"/>
                  </a:lnTo>
                  <a:lnTo>
                    <a:pt x="980" y="1094"/>
                  </a:lnTo>
                  <a:lnTo>
                    <a:pt x="978" y="1086"/>
                  </a:lnTo>
                  <a:lnTo>
                    <a:pt x="974" y="1077"/>
                  </a:lnTo>
                  <a:lnTo>
                    <a:pt x="958" y="1041"/>
                  </a:lnTo>
                  <a:lnTo>
                    <a:pt x="944" y="1009"/>
                  </a:lnTo>
                  <a:lnTo>
                    <a:pt x="938" y="993"/>
                  </a:lnTo>
                  <a:lnTo>
                    <a:pt x="933" y="975"/>
                  </a:lnTo>
                  <a:lnTo>
                    <a:pt x="928" y="958"/>
                  </a:lnTo>
                  <a:lnTo>
                    <a:pt x="923" y="938"/>
                  </a:lnTo>
                  <a:lnTo>
                    <a:pt x="919" y="926"/>
                  </a:lnTo>
                  <a:lnTo>
                    <a:pt x="914" y="915"/>
                  </a:lnTo>
                  <a:lnTo>
                    <a:pt x="909" y="905"/>
                  </a:lnTo>
                  <a:lnTo>
                    <a:pt x="904" y="895"/>
                  </a:lnTo>
                  <a:lnTo>
                    <a:pt x="898" y="886"/>
                  </a:lnTo>
                  <a:lnTo>
                    <a:pt x="891" y="879"/>
                  </a:lnTo>
                  <a:lnTo>
                    <a:pt x="883" y="871"/>
                  </a:lnTo>
                  <a:lnTo>
                    <a:pt x="875" y="864"/>
                  </a:lnTo>
                  <a:lnTo>
                    <a:pt x="857" y="851"/>
                  </a:lnTo>
                  <a:lnTo>
                    <a:pt x="837" y="841"/>
                  </a:lnTo>
                  <a:lnTo>
                    <a:pt x="815" y="833"/>
                  </a:lnTo>
                  <a:lnTo>
                    <a:pt x="791" y="824"/>
                  </a:lnTo>
                  <a:lnTo>
                    <a:pt x="775" y="819"/>
                  </a:lnTo>
                  <a:lnTo>
                    <a:pt x="758" y="814"/>
                  </a:lnTo>
                  <a:lnTo>
                    <a:pt x="742" y="808"/>
                  </a:lnTo>
                  <a:lnTo>
                    <a:pt x="727" y="800"/>
                  </a:lnTo>
                  <a:lnTo>
                    <a:pt x="719" y="797"/>
                  </a:lnTo>
                  <a:lnTo>
                    <a:pt x="714" y="793"/>
                  </a:lnTo>
                  <a:lnTo>
                    <a:pt x="708" y="788"/>
                  </a:lnTo>
                  <a:lnTo>
                    <a:pt x="703" y="782"/>
                  </a:lnTo>
                  <a:lnTo>
                    <a:pt x="700" y="777"/>
                  </a:lnTo>
                  <a:lnTo>
                    <a:pt x="697" y="769"/>
                  </a:lnTo>
                  <a:lnTo>
                    <a:pt x="696" y="762"/>
                  </a:lnTo>
                  <a:lnTo>
                    <a:pt x="695" y="753"/>
                  </a:lnTo>
                  <a:lnTo>
                    <a:pt x="695" y="692"/>
                  </a:lnTo>
                  <a:lnTo>
                    <a:pt x="698" y="678"/>
                  </a:lnTo>
                  <a:lnTo>
                    <a:pt x="701" y="663"/>
                  </a:lnTo>
                  <a:lnTo>
                    <a:pt x="700" y="655"/>
                  </a:lnTo>
                  <a:lnTo>
                    <a:pt x="698" y="648"/>
                  </a:lnTo>
                  <a:lnTo>
                    <a:pt x="696" y="642"/>
                  </a:lnTo>
                  <a:lnTo>
                    <a:pt x="692" y="637"/>
                  </a:lnTo>
                  <a:lnTo>
                    <a:pt x="688" y="632"/>
                  </a:lnTo>
                  <a:lnTo>
                    <a:pt x="683" y="627"/>
                  </a:lnTo>
                  <a:lnTo>
                    <a:pt x="677" y="622"/>
                  </a:lnTo>
                  <a:lnTo>
                    <a:pt x="671" y="618"/>
                  </a:lnTo>
                  <a:lnTo>
                    <a:pt x="642" y="604"/>
                  </a:lnTo>
                  <a:lnTo>
                    <a:pt x="613" y="591"/>
                  </a:lnTo>
                  <a:lnTo>
                    <a:pt x="601" y="583"/>
                  </a:lnTo>
                  <a:lnTo>
                    <a:pt x="593" y="576"/>
                  </a:lnTo>
                  <a:lnTo>
                    <a:pt x="585" y="566"/>
                  </a:lnTo>
                  <a:lnTo>
                    <a:pt x="577" y="557"/>
                  </a:lnTo>
                  <a:lnTo>
                    <a:pt x="569" y="550"/>
                  </a:lnTo>
                  <a:lnTo>
                    <a:pt x="560" y="542"/>
                  </a:lnTo>
                  <a:lnTo>
                    <a:pt x="555" y="540"/>
                  </a:lnTo>
                  <a:lnTo>
                    <a:pt x="550" y="539"/>
                  </a:lnTo>
                  <a:lnTo>
                    <a:pt x="544" y="537"/>
                  </a:lnTo>
                  <a:lnTo>
                    <a:pt x="538" y="536"/>
                  </a:lnTo>
                  <a:lnTo>
                    <a:pt x="523" y="537"/>
                  </a:lnTo>
                  <a:lnTo>
                    <a:pt x="509" y="540"/>
                  </a:lnTo>
                  <a:lnTo>
                    <a:pt x="497" y="542"/>
                  </a:lnTo>
                  <a:lnTo>
                    <a:pt x="485" y="547"/>
                  </a:lnTo>
                  <a:lnTo>
                    <a:pt x="473" y="555"/>
                  </a:lnTo>
                  <a:lnTo>
                    <a:pt x="464" y="562"/>
                  </a:lnTo>
                  <a:lnTo>
                    <a:pt x="455" y="573"/>
                  </a:lnTo>
                  <a:lnTo>
                    <a:pt x="447" y="585"/>
                  </a:lnTo>
                  <a:lnTo>
                    <a:pt x="436" y="585"/>
                  </a:lnTo>
                  <a:lnTo>
                    <a:pt x="426" y="583"/>
                  </a:lnTo>
                  <a:lnTo>
                    <a:pt x="416" y="582"/>
                  </a:lnTo>
                  <a:lnTo>
                    <a:pt x="405" y="582"/>
                  </a:lnTo>
                  <a:lnTo>
                    <a:pt x="389" y="583"/>
                  </a:lnTo>
                  <a:lnTo>
                    <a:pt x="374" y="587"/>
                  </a:lnTo>
                  <a:lnTo>
                    <a:pt x="359" y="592"/>
                  </a:lnTo>
                  <a:lnTo>
                    <a:pt x="347" y="598"/>
                  </a:lnTo>
                  <a:lnTo>
                    <a:pt x="333" y="603"/>
                  </a:lnTo>
                  <a:lnTo>
                    <a:pt x="319" y="608"/>
                  </a:lnTo>
                  <a:lnTo>
                    <a:pt x="305" y="612"/>
                  </a:lnTo>
                  <a:lnTo>
                    <a:pt x="287" y="613"/>
                  </a:lnTo>
                  <a:lnTo>
                    <a:pt x="280" y="611"/>
                  </a:lnTo>
                  <a:lnTo>
                    <a:pt x="271" y="608"/>
                  </a:lnTo>
                  <a:lnTo>
                    <a:pt x="266" y="608"/>
                  </a:lnTo>
                  <a:lnTo>
                    <a:pt x="262" y="609"/>
                  </a:lnTo>
                  <a:lnTo>
                    <a:pt x="259" y="611"/>
                  </a:lnTo>
                  <a:lnTo>
                    <a:pt x="255" y="613"/>
                  </a:lnTo>
                  <a:lnTo>
                    <a:pt x="249" y="619"/>
                  </a:lnTo>
                  <a:lnTo>
                    <a:pt x="245" y="627"/>
                  </a:lnTo>
                  <a:lnTo>
                    <a:pt x="239" y="645"/>
                  </a:lnTo>
                  <a:lnTo>
                    <a:pt x="234" y="665"/>
                  </a:lnTo>
                  <a:lnTo>
                    <a:pt x="229" y="680"/>
                  </a:lnTo>
                  <a:lnTo>
                    <a:pt x="224" y="694"/>
                  </a:lnTo>
                  <a:lnTo>
                    <a:pt x="216" y="707"/>
                  </a:lnTo>
                  <a:lnTo>
                    <a:pt x="208" y="720"/>
                  </a:lnTo>
                  <a:lnTo>
                    <a:pt x="204" y="725"/>
                  </a:lnTo>
                  <a:lnTo>
                    <a:pt x="199" y="730"/>
                  </a:lnTo>
                  <a:lnTo>
                    <a:pt x="193" y="733"/>
                  </a:lnTo>
                  <a:lnTo>
                    <a:pt x="188" y="737"/>
                  </a:lnTo>
                  <a:lnTo>
                    <a:pt x="182" y="741"/>
                  </a:lnTo>
                  <a:lnTo>
                    <a:pt x="174" y="742"/>
                  </a:lnTo>
                  <a:lnTo>
                    <a:pt x="167" y="743"/>
                  </a:lnTo>
                  <a:lnTo>
                    <a:pt x="159" y="745"/>
                  </a:lnTo>
                  <a:lnTo>
                    <a:pt x="151" y="743"/>
                  </a:lnTo>
                  <a:lnTo>
                    <a:pt x="142" y="742"/>
                  </a:lnTo>
                  <a:lnTo>
                    <a:pt x="134" y="740"/>
                  </a:lnTo>
                  <a:lnTo>
                    <a:pt x="127" y="736"/>
                  </a:lnTo>
                  <a:lnTo>
                    <a:pt x="113" y="727"/>
                  </a:lnTo>
                  <a:lnTo>
                    <a:pt x="97" y="719"/>
                  </a:lnTo>
                  <a:lnTo>
                    <a:pt x="85" y="714"/>
                  </a:lnTo>
                  <a:lnTo>
                    <a:pt x="72" y="710"/>
                  </a:lnTo>
                  <a:lnTo>
                    <a:pt x="61" y="709"/>
                  </a:lnTo>
                  <a:lnTo>
                    <a:pt x="50" y="707"/>
                  </a:lnTo>
                  <a:lnTo>
                    <a:pt x="38" y="706"/>
                  </a:lnTo>
                  <a:lnTo>
                    <a:pt x="26" y="706"/>
                  </a:lnTo>
                  <a:lnTo>
                    <a:pt x="14" y="704"/>
                  </a:lnTo>
                  <a:lnTo>
                    <a:pt x="0" y="700"/>
                  </a:lnTo>
                  <a:lnTo>
                    <a:pt x="0" y="700"/>
                  </a:lnTo>
                  <a:lnTo>
                    <a:pt x="168" y="65"/>
                  </a:lnTo>
                  <a:lnTo>
                    <a:pt x="667" y="0"/>
                  </a:lnTo>
                  <a:lnTo>
                    <a:pt x="667" y="0"/>
                  </a:lnTo>
                  <a:close/>
                </a:path>
              </a:pathLst>
            </a:custGeom>
            <a:solidFill>
              <a:srgbClr val="ED7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5" name="Freeform 182">
              <a:extLst>
                <a:ext uri="{FF2B5EF4-FFF2-40B4-BE49-F238E27FC236}">
                  <a16:creationId xmlns:a16="http://schemas.microsoft.com/office/drawing/2014/main" id="{65E7C193-9C9B-4289-BA7F-C842C7E3A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4372" y="2613047"/>
              <a:ext cx="2335080" cy="1627695"/>
            </a:xfrm>
            <a:custGeom>
              <a:avLst/>
              <a:gdLst>
                <a:gd name="T0" fmla="*/ 614 w 2602"/>
                <a:gd name="T1" fmla="*/ 86 h 1757"/>
                <a:gd name="T2" fmla="*/ 609 w 2602"/>
                <a:gd name="T3" fmla="*/ 155 h 1757"/>
                <a:gd name="T4" fmla="*/ 693 w 2602"/>
                <a:gd name="T5" fmla="*/ 41 h 1757"/>
                <a:gd name="T6" fmla="*/ 727 w 2602"/>
                <a:gd name="T7" fmla="*/ 141 h 1757"/>
                <a:gd name="T8" fmla="*/ 688 w 2602"/>
                <a:gd name="T9" fmla="*/ 217 h 1757"/>
                <a:gd name="T10" fmla="*/ 764 w 2602"/>
                <a:gd name="T11" fmla="*/ 240 h 1757"/>
                <a:gd name="T12" fmla="*/ 827 w 2602"/>
                <a:gd name="T13" fmla="*/ 142 h 1757"/>
                <a:gd name="T14" fmla="*/ 917 w 2602"/>
                <a:gd name="T15" fmla="*/ 267 h 1757"/>
                <a:gd name="T16" fmla="*/ 991 w 2602"/>
                <a:gd name="T17" fmla="*/ 428 h 1757"/>
                <a:gd name="T18" fmla="*/ 1083 w 2602"/>
                <a:gd name="T19" fmla="*/ 439 h 1757"/>
                <a:gd name="T20" fmla="*/ 1253 w 2602"/>
                <a:gd name="T21" fmla="*/ 485 h 1757"/>
                <a:gd name="T22" fmla="*/ 1421 w 2602"/>
                <a:gd name="T23" fmla="*/ 492 h 1757"/>
                <a:gd name="T24" fmla="*/ 1532 w 2602"/>
                <a:gd name="T25" fmla="*/ 596 h 1757"/>
                <a:gd name="T26" fmla="*/ 1568 w 2602"/>
                <a:gd name="T27" fmla="*/ 700 h 1757"/>
                <a:gd name="T28" fmla="*/ 1550 w 2602"/>
                <a:gd name="T29" fmla="*/ 766 h 1757"/>
                <a:gd name="T30" fmla="*/ 1558 w 2602"/>
                <a:gd name="T31" fmla="*/ 865 h 1757"/>
                <a:gd name="T32" fmla="*/ 1617 w 2602"/>
                <a:gd name="T33" fmla="*/ 910 h 1757"/>
                <a:gd name="T34" fmla="*/ 1663 w 2602"/>
                <a:gd name="T35" fmla="*/ 1010 h 1757"/>
                <a:gd name="T36" fmla="*/ 1817 w 2602"/>
                <a:gd name="T37" fmla="*/ 1041 h 1757"/>
                <a:gd name="T38" fmla="*/ 1907 w 2602"/>
                <a:gd name="T39" fmla="*/ 1001 h 1757"/>
                <a:gd name="T40" fmla="*/ 2032 w 2602"/>
                <a:gd name="T41" fmla="*/ 916 h 1757"/>
                <a:gd name="T42" fmla="*/ 2189 w 2602"/>
                <a:gd name="T43" fmla="*/ 841 h 1757"/>
                <a:gd name="T44" fmla="*/ 2312 w 2602"/>
                <a:gd name="T45" fmla="*/ 828 h 1757"/>
                <a:gd name="T46" fmla="*/ 2228 w 2602"/>
                <a:gd name="T47" fmla="*/ 908 h 1757"/>
                <a:gd name="T48" fmla="*/ 2247 w 2602"/>
                <a:gd name="T49" fmla="*/ 972 h 1757"/>
                <a:gd name="T50" fmla="*/ 2295 w 2602"/>
                <a:gd name="T51" fmla="*/ 977 h 1757"/>
                <a:gd name="T52" fmla="*/ 2404 w 2602"/>
                <a:gd name="T53" fmla="*/ 1011 h 1757"/>
                <a:gd name="T54" fmla="*/ 2477 w 2602"/>
                <a:gd name="T55" fmla="*/ 1089 h 1757"/>
                <a:gd name="T56" fmla="*/ 2594 w 2602"/>
                <a:gd name="T57" fmla="*/ 1089 h 1757"/>
                <a:gd name="T58" fmla="*/ 2559 w 2602"/>
                <a:gd name="T59" fmla="*/ 1139 h 1757"/>
                <a:gd name="T60" fmla="*/ 2479 w 2602"/>
                <a:gd name="T61" fmla="*/ 1217 h 1757"/>
                <a:gd name="T62" fmla="*/ 2411 w 2602"/>
                <a:gd name="T63" fmla="*/ 1197 h 1757"/>
                <a:gd name="T64" fmla="*/ 2334 w 2602"/>
                <a:gd name="T65" fmla="*/ 1225 h 1757"/>
                <a:gd name="T66" fmla="*/ 2257 w 2602"/>
                <a:gd name="T67" fmla="*/ 1235 h 1757"/>
                <a:gd name="T68" fmla="*/ 2186 w 2602"/>
                <a:gd name="T69" fmla="*/ 1258 h 1757"/>
                <a:gd name="T70" fmla="*/ 2180 w 2602"/>
                <a:gd name="T71" fmla="*/ 1140 h 1757"/>
                <a:gd name="T72" fmla="*/ 2140 w 2602"/>
                <a:gd name="T73" fmla="*/ 1032 h 1757"/>
                <a:gd name="T74" fmla="*/ 2042 w 2602"/>
                <a:gd name="T75" fmla="*/ 1081 h 1757"/>
                <a:gd name="T76" fmla="*/ 1948 w 2602"/>
                <a:gd name="T77" fmla="*/ 1155 h 1757"/>
                <a:gd name="T78" fmla="*/ 1846 w 2602"/>
                <a:gd name="T79" fmla="*/ 1223 h 1757"/>
                <a:gd name="T80" fmla="*/ 1758 w 2602"/>
                <a:gd name="T81" fmla="*/ 1288 h 1757"/>
                <a:gd name="T82" fmla="*/ 1671 w 2602"/>
                <a:gd name="T83" fmla="*/ 1304 h 1757"/>
                <a:gd name="T84" fmla="*/ 1691 w 2602"/>
                <a:gd name="T85" fmla="*/ 1432 h 1757"/>
                <a:gd name="T86" fmla="*/ 1738 w 2602"/>
                <a:gd name="T87" fmla="*/ 1491 h 1757"/>
                <a:gd name="T88" fmla="*/ 1756 w 2602"/>
                <a:gd name="T89" fmla="*/ 1574 h 1757"/>
                <a:gd name="T90" fmla="*/ 1668 w 2602"/>
                <a:gd name="T91" fmla="*/ 1717 h 1757"/>
                <a:gd name="T92" fmla="*/ 1553 w 2602"/>
                <a:gd name="T93" fmla="*/ 1694 h 1757"/>
                <a:gd name="T94" fmla="*/ 1542 w 2602"/>
                <a:gd name="T95" fmla="*/ 1603 h 1757"/>
                <a:gd name="T96" fmla="*/ 1270 w 2602"/>
                <a:gd name="T97" fmla="*/ 1424 h 1757"/>
                <a:gd name="T98" fmla="*/ 1082 w 2602"/>
                <a:gd name="T99" fmla="*/ 1285 h 1757"/>
                <a:gd name="T100" fmla="*/ 981 w 2602"/>
                <a:gd name="T101" fmla="*/ 1112 h 1757"/>
                <a:gd name="T102" fmla="*/ 919 w 2602"/>
                <a:gd name="T103" fmla="*/ 926 h 1757"/>
                <a:gd name="T104" fmla="*/ 791 w 2602"/>
                <a:gd name="T105" fmla="*/ 824 h 1757"/>
                <a:gd name="T106" fmla="*/ 696 w 2602"/>
                <a:gd name="T107" fmla="*/ 762 h 1757"/>
                <a:gd name="T108" fmla="*/ 677 w 2602"/>
                <a:gd name="T109" fmla="*/ 622 h 1757"/>
                <a:gd name="T110" fmla="*/ 550 w 2602"/>
                <a:gd name="T111" fmla="*/ 539 h 1757"/>
                <a:gd name="T112" fmla="*/ 436 w 2602"/>
                <a:gd name="T113" fmla="*/ 585 h 1757"/>
                <a:gd name="T114" fmla="*/ 287 w 2602"/>
                <a:gd name="T115" fmla="*/ 613 h 1757"/>
                <a:gd name="T116" fmla="*/ 229 w 2602"/>
                <a:gd name="T117" fmla="*/ 680 h 1757"/>
                <a:gd name="T118" fmla="*/ 159 w 2602"/>
                <a:gd name="T119" fmla="*/ 745 h 1757"/>
                <a:gd name="T120" fmla="*/ 38 w 2602"/>
                <a:gd name="T121" fmla="*/ 706 h 1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02" h="1757">
                  <a:moveTo>
                    <a:pt x="667" y="0"/>
                  </a:moveTo>
                  <a:lnTo>
                    <a:pt x="663" y="8"/>
                  </a:lnTo>
                  <a:lnTo>
                    <a:pt x="661" y="15"/>
                  </a:lnTo>
                  <a:lnTo>
                    <a:pt x="656" y="23"/>
                  </a:lnTo>
                  <a:lnTo>
                    <a:pt x="651" y="29"/>
                  </a:lnTo>
                  <a:lnTo>
                    <a:pt x="639" y="43"/>
                  </a:lnTo>
                  <a:lnTo>
                    <a:pt x="629" y="55"/>
                  </a:lnTo>
                  <a:lnTo>
                    <a:pt x="625" y="62"/>
                  </a:lnTo>
                  <a:lnTo>
                    <a:pt x="621" y="70"/>
                  </a:lnTo>
                  <a:lnTo>
                    <a:pt x="618" y="77"/>
                  </a:lnTo>
                  <a:lnTo>
                    <a:pt x="614" y="86"/>
                  </a:lnTo>
                  <a:lnTo>
                    <a:pt x="604" y="118"/>
                  </a:lnTo>
                  <a:lnTo>
                    <a:pt x="595" y="145"/>
                  </a:lnTo>
                  <a:lnTo>
                    <a:pt x="588" y="174"/>
                  </a:lnTo>
                  <a:lnTo>
                    <a:pt x="579" y="205"/>
                  </a:lnTo>
                  <a:lnTo>
                    <a:pt x="585" y="203"/>
                  </a:lnTo>
                  <a:lnTo>
                    <a:pt x="590" y="199"/>
                  </a:lnTo>
                  <a:lnTo>
                    <a:pt x="594" y="194"/>
                  </a:lnTo>
                  <a:lnTo>
                    <a:pt x="596" y="189"/>
                  </a:lnTo>
                  <a:lnTo>
                    <a:pt x="601" y="178"/>
                  </a:lnTo>
                  <a:lnTo>
                    <a:pt x="605" y="164"/>
                  </a:lnTo>
                  <a:lnTo>
                    <a:pt x="609" y="155"/>
                  </a:lnTo>
                  <a:lnTo>
                    <a:pt x="613" y="147"/>
                  </a:lnTo>
                  <a:lnTo>
                    <a:pt x="616" y="139"/>
                  </a:lnTo>
                  <a:lnTo>
                    <a:pt x="621" y="132"/>
                  </a:lnTo>
                  <a:lnTo>
                    <a:pt x="632" y="118"/>
                  </a:lnTo>
                  <a:lnTo>
                    <a:pt x="645" y="103"/>
                  </a:lnTo>
                  <a:lnTo>
                    <a:pt x="652" y="93"/>
                  </a:lnTo>
                  <a:lnTo>
                    <a:pt x="657" y="83"/>
                  </a:lnTo>
                  <a:lnTo>
                    <a:pt x="663" y="75"/>
                  </a:lnTo>
                  <a:lnTo>
                    <a:pt x="671" y="65"/>
                  </a:lnTo>
                  <a:lnTo>
                    <a:pt x="683" y="54"/>
                  </a:lnTo>
                  <a:lnTo>
                    <a:pt x="693" y="41"/>
                  </a:lnTo>
                  <a:lnTo>
                    <a:pt x="701" y="29"/>
                  </a:lnTo>
                  <a:lnTo>
                    <a:pt x="706" y="19"/>
                  </a:lnTo>
                  <a:lnTo>
                    <a:pt x="713" y="9"/>
                  </a:lnTo>
                  <a:lnTo>
                    <a:pt x="723" y="0"/>
                  </a:lnTo>
                  <a:lnTo>
                    <a:pt x="726" y="13"/>
                  </a:lnTo>
                  <a:lnTo>
                    <a:pt x="726" y="65"/>
                  </a:lnTo>
                  <a:lnTo>
                    <a:pt x="731" y="80"/>
                  </a:lnTo>
                  <a:lnTo>
                    <a:pt x="736" y="95"/>
                  </a:lnTo>
                  <a:lnTo>
                    <a:pt x="732" y="112"/>
                  </a:lnTo>
                  <a:lnTo>
                    <a:pt x="728" y="131"/>
                  </a:lnTo>
                  <a:lnTo>
                    <a:pt x="727" y="141"/>
                  </a:lnTo>
                  <a:lnTo>
                    <a:pt x="727" y="149"/>
                  </a:lnTo>
                  <a:lnTo>
                    <a:pt x="726" y="153"/>
                  </a:lnTo>
                  <a:lnTo>
                    <a:pt x="724" y="158"/>
                  </a:lnTo>
                  <a:lnTo>
                    <a:pt x="723" y="162"/>
                  </a:lnTo>
                  <a:lnTo>
                    <a:pt x="721" y="165"/>
                  </a:lnTo>
                  <a:lnTo>
                    <a:pt x="709" y="179"/>
                  </a:lnTo>
                  <a:lnTo>
                    <a:pt x="698" y="190"/>
                  </a:lnTo>
                  <a:lnTo>
                    <a:pt x="695" y="196"/>
                  </a:lnTo>
                  <a:lnTo>
                    <a:pt x="691" y="203"/>
                  </a:lnTo>
                  <a:lnTo>
                    <a:pt x="688" y="210"/>
                  </a:lnTo>
                  <a:lnTo>
                    <a:pt x="688" y="217"/>
                  </a:lnTo>
                  <a:lnTo>
                    <a:pt x="688" y="230"/>
                  </a:lnTo>
                  <a:lnTo>
                    <a:pt x="704" y="230"/>
                  </a:lnTo>
                  <a:lnTo>
                    <a:pt x="716" y="227"/>
                  </a:lnTo>
                  <a:lnTo>
                    <a:pt x="722" y="234"/>
                  </a:lnTo>
                  <a:lnTo>
                    <a:pt x="727" y="238"/>
                  </a:lnTo>
                  <a:lnTo>
                    <a:pt x="731" y="241"/>
                  </a:lnTo>
                  <a:lnTo>
                    <a:pt x="734" y="242"/>
                  </a:lnTo>
                  <a:lnTo>
                    <a:pt x="738" y="243"/>
                  </a:lnTo>
                  <a:lnTo>
                    <a:pt x="742" y="243"/>
                  </a:lnTo>
                  <a:lnTo>
                    <a:pt x="753" y="242"/>
                  </a:lnTo>
                  <a:lnTo>
                    <a:pt x="764" y="240"/>
                  </a:lnTo>
                  <a:lnTo>
                    <a:pt x="773" y="235"/>
                  </a:lnTo>
                  <a:lnTo>
                    <a:pt x="781" y="227"/>
                  </a:lnTo>
                  <a:lnTo>
                    <a:pt x="788" y="220"/>
                  </a:lnTo>
                  <a:lnTo>
                    <a:pt x="794" y="210"/>
                  </a:lnTo>
                  <a:lnTo>
                    <a:pt x="800" y="200"/>
                  </a:lnTo>
                  <a:lnTo>
                    <a:pt x="804" y="189"/>
                  </a:lnTo>
                  <a:lnTo>
                    <a:pt x="810" y="175"/>
                  </a:lnTo>
                  <a:lnTo>
                    <a:pt x="816" y="164"/>
                  </a:lnTo>
                  <a:lnTo>
                    <a:pt x="822" y="153"/>
                  </a:lnTo>
                  <a:lnTo>
                    <a:pt x="827" y="142"/>
                  </a:lnTo>
                  <a:lnTo>
                    <a:pt x="827" y="142"/>
                  </a:lnTo>
                  <a:lnTo>
                    <a:pt x="835" y="154"/>
                  </a:lnTo>
                  <a:lnTo>
                    <a:pt x="842" y="164"/>
                  </a:lnTo>
                  <a:lnTo>
                    <a:pt x="850" y="173"/>
                  </a:lnTo>
                  <a:lnTo>
                    <a:pt x="858" y="181"/>
                  </a:lnTo>
                  <a:lnTo>
                    <a:pt x="876" y="196"/>
                  </a:lnTo>
                  <a:lnTo>
                    <a:pt x="894" y="215"/>
                  </a:lnTo>
                  <a:lnTo>
                    <a:pt x="902" y="226"/>
                  </a:lnTo>
                  <a:lnTo>
                    <a:pt x="907" y="236"/>
                  </a:lnTo>
                  <a:lnTo>
                    <a:pt x="911" y="246"/>
                  </a:lnTo>
                  <a:lnTo>
                    <a:pt x="913" y="257"/>
                  </a:lnTo>
                  <a:lnTo>
                    <a:pt x="917" y="267"/>
                  </a:lnTo>
                  <a:lnTo>
                    <a:pt x="919" y="278"/>
                  </a:lnTo>
                  <a:lnTo>
                    <a:pt x="923" y="289"/>
                  </a:lnTo>
                  <a:lnTo>
                    <a:pt x="928" y="301"/>
                  </a:lnTo>
                  <a:lnTo>
                    <a:pt x="940" y="322"/>
                  </a:lnTo>
                  <a:lnTo>
                    <a:pt x="952" y="340"/>
                  </a:lnTo>
                  <a:lnTo>
                    <a:pt x="963" y="359"/>
                  </a:lnTo>
                  <a:lnTo>
                    <a:pt x="974" y="380"/>
                  </a:lnTo>
                  <a:lnTo>
                    <a:pt x="979" y="392"/>
                  </a:lnTo>
                  <a:lnTo>
                    <a:pt x="984" y="403"/>
                  </a:lnTo>
                  <a:lnTo>
                    <a:pt x="989" y="416"/>
                  </a:lnTo>
                  <a:lnTo>
                    <a:pt x="991" y="428"/>
                  </a:lnTo>
                  <a:lnTo>
                    <a:pt x="993" y="438"/>
                  </a:lnTo>
                  <a:lnTo>
                    <a:pt x="994" y="447"/>
                  </a:lnTo>
                  <a:lnTo>
                    <a:pt x="995" y="452"/>
                  </a:lnTo>
                  <a:lnTo>
                    <a:pt x="998" y="454"/>
                  </a:lnTo>
                  <a:lnTo>
                    <a:pt x="1001" y="457"/>
                  </a:lnTo>
                  <a:lnTo>
                    <a:pt x="1005" y="457"/>
                  </a:lnTo>
                  <a:lnTo>
                    <a:pt x="1022" y="456"/>
                  </a:lnTo>
                  <a:lnTo>
                    <a:pt x="1039" y="453"/>
                  </a:lnTo>
                  <a:lnTo>
                    <a:pt x="1055" y="449"/>
                  </a:lnTo>
                  <a:lnTo>
                    <a:pt x="1068" y="444"/>
                  </a:lnTo>
                  <a:lnTo>
                    <a:pt x="1083" y="439"/>
                  </a:lnTo>
                  <a:lnTo>
                    <a:pt x="1098" y="436"/>
                  </a:lnTo>
                  <a:lnTo>
                    <a:pt x="1114" y="433"/>
                  </a:lnTo>
                  <a:lnTo>
                    <a:pt x="1132" y="432"/>
                  </a:lnTo>
                  <a:lnTo>
                    <a:pt x="1144" y="432"/>
                  </a:lnTo>
                  <a:lnTo>
                    <a:pt x="1157" y="436"/>
                  </a:lnTo>
                  <a:lnTo>
                    <a:pt x="1166" y="439"/>
                  </a:lnTo>
                  <a:lnTo>
                    <a:pt x="1176" y="444"/>
                  </a:lnTo>
                  <a:lnTo>
                    <a:pt x="1196" y="456"/>
                  </a:lnTo>
                  <a:lnTo>
                    <a:pt x="1219" y="468"/>
                  </a:lnTo>
                  <a:lnTo>
                    <a:pt x="1237" y="477"/>
                  </a:lnTo>
                  <a:lnTo>
                    <a:pt x="1253" y="485"/>
                  </a:lnTo>
                  <a:lnTo>
                    <a:pt x="1270" y="492"/>
                  </a:lnTo>
                  <a:lnTo>
                    <a:pt x="1286" y="497"/>
                  </a:lnTo>
                  <a:lnTo>
                    <a:pt x="1303" y="500"/>
                  </a:lnTo>
                  <a:lnTo>
                    <a:pt x="1319" y="503"/>
                  </a:lnTo>
                  <a:lnTo>
                    <a:pt x="1338" y="505"/>
                  </a:lnTo>
                  <a:lnTo>
                    <a:pt x="1358" y="505"/>
                  </a:lnTo>
                  <a:lnTo>
                    <a:pt x="1373" y="505"/>
                  </a:lnTo>
                  <a:lnTo>
                    <a:pt x="1385" y="503"/>
                  </a:lnTo>
                  <a:lnTo>
                    <a:pt x="1398" y="499"/>
                  </a:lnTo>
                  <a:lnTo>
                    <a:pt x="1410" y="495"/>
                  </a:lnTo>
                  <a:lnTo>
                    <a:pt x="1421" y="492"/>
                  </a:lnTo>
                  <a:lnTo>
                    <a:pt x="1434" y="489"/>
                  </a:lnTo>
                  <a:lnTo>
                    <a:pt x="1447" y="487"/>
                  </a:lnTo>
                  <a:lnTo>
                    <a:pt x="1461" y="485"/>
                  </a:lnTo>
                  <a:lnTo>
                    <a:pt x="1506" y="485"/>
                  </a:lnTo>
                  <a:lnTo>
                    <a:pt x="1509" y="504"/>
                  </a:lnTo>
                  <a:lnTo>
                    <a:pt x="1513" y="520"/>
                  </a:lnTo>
                  <a:lnTo>
                    <a:pt x="1517" y="535"/>
                  </a:lnTo>
                  <a:lnTo>
                    <a:pt x="1520" y="550"/>
                  </a:lnTo>
                  <a:lnTo>
                    <a:pt x="1524" y="563"/>
                  </a:lnTo>
                  <a:lnTo>
                    <a:pt x="1528" y="580"/>
                  </a:lnTo>
                  <a:lnTo>
                    <a:pt x="1532" y="596"/>
                  </a:lnTo>
                  <a:lnTo>
                    <a:pt x="1534" y="613"/>
                  </a:lnTo>
                  <a:lnTo>
                    <a:pt x="1534" y="632"/>
                  </a:lnTo>
                  <a:lnTo>
                    <a:pt x="1533" y="649"/>
                  </a:lnTo>
                  <a:lnTo>
                    <a:pt x="1533" y="658"/>
                  </a:lnTo>
                  <a:lnTo>
                    <a:pt x="1534" y="665"/>
                  </a:lnTo>
                  <a:lnTo>
                    <a:pt x="1535" y="674"/>
                  </a:lnTo>
                  <a:lnTo>
                    <a:pt x="1540" y="681"/>
                  </a:lnTo>
                  <a:lnTo>
                    <a:pt x="1547" y="688"/>
                  </a:lnTo>
                  <a:lnTo>
                    <a:pt x="1553" y="692"/>
                  </a:lnTo>
                  <a:lnTo>
                    <a:pt x="1560" y="696"/>
                  </a:lnTo>
                  <a:lnTo>
                    <a:pt x="1568" y="700"/>
                  </a:lnTo>
                  <a:lnTo>
                    <a:pt x="1575" y="704"/>
                  </a:lnTo>
                  <a:lnTo>
                    <a:pt x="1580" y="707"/>
                  </a:lnTo>
                  <a:lnTo>
                    <a:pt x="1583" y="710"/>
                  </a:lnTo>
                  <a:lnTo>
                    <a:pt x="1585" y="714"/>
                  </a:lnTo>
                  <a:lnTo>
                    <a:pt x="1585" y="717"/>
                  </a:lnTo>
                  <a:lnTo>
                    <a:pt x="1586" y="721"/>
                  </a:lnTo>
                  <a:lnTo>
                    <a:pt x="1586" y="756"/>
                  </a:lnTo>
                  <a:lnTo>
                    <a:pt x="1573" y="758"/>
                  </a:lnTo>
                  <a:lnTo>
                    <a:pt x="1560" y="761"/>
                  </a:lnTo>
                  <a:lnTo>
                    <a:pt x="1555" y="763"/>
                  </a:lnTo>
                  <a:lnTo>
                    <a:pt x="1550" y="766"/>
                  </a:lnTo>
                  <a:lnTo>
                    <a:pt x="1547" y="771"/>
                  </a:lnTo>
                  <a:lnTo>
                    <a:pt x="1543" y="776"/>
                  </a:lnTo>
                  <a:lnTo>
                    <a:pt x="1539" y="787"/>
                  </a:lnTo>
                  <a:lnTo>
                    <a:pt x="1537" y="797"/>
                  </a:lnTo>
                  <a:lnTo>
                    <a:pt x="1537" y="808"/>
                  </a:lnTo>
                  <a:lnTo>
                    <a:pt x="1537" y="818"/>
                  </a:lnTo>
                  <a:lnTo>
                    <a:pt x="1537" y="828"/>
                  </a:lnTo>
                  <a:lnTo>
                    <a:pt x="1537" y="838"/>
                  </a:lnTo>
                  <a:lnTo>
                    <a:pt x="1537" y="849"/>
                  </a:lnTo>
                  <a:lnTo>
                    <a:pt x="1534" y="861"/>
                  </a:lnTo>
                  <a:lnTo>
                    <a:pt x="1558" y="865"/>
                  </a:lnTo>
                  <a:lnTo>
                    <a:pt x="1580" y="867"/>
                  </a:lnTo>
                  <a:lnTo>
                    <a:pt x="1590" y="869"/>
                  </a:lnTo>
                  <a:lnTo>
                    <a:pt x="1599" y="872"/>
                  </a:lnTo>
                  <a:lnTo>
                    <a:pt x="1604" y="875"/>
                  </a:lnTo>
                  <a:lnTo>
                    <a:pt x="1607" y="879"/>
                  </a:lnTo>
                  <a:lnTo>
                    <a:pt x="1611" y="882"/>
                  </a:lnTo>
                  <a:lnTo>
                    <a:pt x="1615" y="886"/>
                  </a:lnTo>
                  <a:lnTo>
                    <a:pt x="1617" y="892"/>
                  </a:lnTo>
                  <a:lnTo>
                    <a:pt x="1619" y="898"/>
                  </a:lnTo>
                  <a:lnTo>
                    <a:pt x="1619" y="903"/>
                  </a:lnTo>
                  <a:lnTo>
                    <a:pt x="1617" y="910"/>
                  </a:lnTo>
                  <a:lnTo>
                    <a:pt x="1615" y="922"/>
                  </a:lnTo>
                  <a:lnTo>
                    <a:pt x="1615" y="934"/>
                  </a:lnTo>
                  <a:lnTo>
                    <a:pt x="1616" y="946"/>
                  </a:lnTo>
                  <a:lnTo>
                    <a:pt x="1619" y="957"/>
                  </a:lnTo>
                  <a:lnTo>
                    <a:pt x="1622" y="967"/>
                  </a:lnTo>
                  <a:lnTo>
                    <a:pt x="1626" y="977"/>
                  </a:lnTo>
                  <a:lnTo>
                    <a:pt x="1631" y="984"/>
                  </a:lnTo>
                  <a:lnTo>
                    <a:pt x="1637" y="993"/>
                  </a:lnTo>
                  <a:lnTo>
                    <a:pt x="1645" y="1000"/>
                  </a:lnTo>
                  <a:lnTo>
                    <a:pt x="1655" y="1006"/>
                  </a:lnTo>
                  <a:lnTo>
                    <a:pt x="1663" y="1010"/>
                  </a:lnTo>
                  <a:lnTo>
                    <a:pt x="1671" y="1013"/>
                  </a:lnTo>
                  <a:lnTo>
                    <a:pt x="1679" y="1014"/>
                  </a:lnTo>
                  <a:lnTo>
                    <a:pt x="1688" y="1014"/>
                  </a:lnTo>
                  <a:lnTo>
                    <a:pt x="1706" y="1014"/>
                  </a:lnTo>
                  <a:lnTo>
                    <a:pt x="1725" y="1015"/>
                  </a:lnTo>
                  <a:lnTo>
                    <a:pt x="1743" y="1017"/>
                  </a:lnTo>
                  <a:lnTo>
                    <a:pt x="1759" y="1021"/>
                  </a:lnTo>
                  <a:lnTo>
                    <a:pt x="1774" y="1026"/>
                  </a:lnTo>
                  <a:lnTo>
                    <a:pt x="1787" y="1032"/>
                  </a:lnTo>
                  <a:lnTo>
                    <a:pt x="1802" y="1037"/>
                  </a:lnTo>
                  <a:lnTo>
                    <a:pt x="1817" y="1041"/>
                  </a:lnTo>
                  <a:lnTo>
                    <a:pt x="1832" y="1045"/>
                  </a:lnTo>
                  <a:lnTo>
                    <a:pt x="1851" y="1046"/>
                  </a:lnTo>
                  <a:lnTo>
                    <a:pt x="1860" y="1045"/>
                  </a:lnTo>
                  <a:lnTo>
                    <a:pt x="1867" y="1044"/>
                  </a:lnTo>
                  <a:lnTo>
                    <a:pt x="1873" y="1041"/>
                  </a:lnTo>
                  <a:lnTo>
                    <a:pt x="1879" y="1037"/>
                  </a:lnTo>
                  <a:lnTo>
                    <a:pt x="1884" y="1032"/>
                  </a:lnTo>
                  <a:lnTo>
                    <a:pt x="1889" y="1027"/>
                  </a:lnTo>
                  <a:lnTo>
                    <a:pt x="1894" y="1021"/>
                  </a:lnTo>
                  <a:lnTo>
                    <a:pt x="1898" y="1015"/>
                  </a:lnTo>
                  <a:lnTo>
                    <a:pt x="1907" y="1001"/>
                  </a:lnTo>
                  <a:lnTo>
                    <a:pt x="1917" y="988"/>
                  </a:lnTo>
                  <a:lnTo>
                    <a:pt x="1922" y="982"/>
                  </a:lnTo>
                  <a:lnTo>
                    <a:pt x="1927" y="975"/>
                  </a:lnTo>
                  <a:lnTo>
                    <a:pt x="1933" y="969"/>
                  </a:lnTo>
                  <a:lnTo>
                    <a:pt x="1939" y="963"/>
                  </a:lnTo>
                  <a:lnTo>
                    <a:pt x="1955" y="952"/>
                  </a:lnTo>
                  <a:lnTo>
                    <a:pt x="1970" y="943"/>
                  </a:lnTo>
                  <a:lnTo>
                    <a:pt x="1985" y="934"/>
                  </a:lnTo>
                  <a:lnTo>
                    <a:pt x="2000" y="928"/>
                  </a:lnTo>
                  <a:lnTo>
                    <a:pt x="2016" y="922"/>
                  </a:lnTo>
                  <a:lnTo>
                    <a:pt x="2032" y="916"/>
                  </a:lnTo>
                  <a:lnTo>
                    <a:pt x="2050" y="911"/>
                  </a:lnTo>
                  <a:lnTo>
                    <a:pt x="2069" y="906"/>
                  </a:lnTo>
                  <a:lnTo>
                    <a:pt x="2086" y="902"/>
                  </a:lnTo>
                  <a:lnTo>
                    <a:pt x="2098" y="895"/>
                  </a:lnTo>
                  <a:lnTo>
                    <a:pt x="2110" y="887"/>
                  </a:lnTo>
                  <a:lnTo>
                    <a:pt x="2120" y="880"/>
                  </a:lnTo>
                  <a:lnTo>
                    <a:pt x="2132" y="871"/>
                  </a:lnTo>
                  <a:lnTo>
                    <a:pt x="2143" y="864"/>
                  </a:lnTo>
                  <a:lnTo>
                    <a:pt x="2155" y="856"/>
                  </a:lnTo>
                  <a:lnTo>
                    <a:pt x="2170" y="850"/>
                  </a:lnTo>
                  <a:lnTo>
                    <a:pt x="2189" y="841"/>
                  </a:lnTo>
                  <a:lnTo>
                    <a:pt x="2205" y="834"/>
                  </a:lnTo>
                  <a:lnTo>
                    <a:pt x="2221" y="825"/>
                  </a:lnTo>
                  <a:lnTo>
                    <a:pt x="2235" y="817"/>
                  </a:lnTo>
                  <a:lnTo>
                    <a:pt x="2263" y="798"/>
                  </a:lnTo>
                  <a:lnTo>
                    <a:pt x="2298" y="778"/>
                  </a:lnTo>
                  <a:lnTo>
                    <a:pt x="2298" y="778"/>
                  </a:lnTo>
                  <a:lnTo>
                    <a:pt x="2302" y="794"/>
                  </a:lnTo>
                  <a:lnTo>
                    <a:pt x="2305" y="807"/>
                  </a:lnTo>
                  <a:lnTo>
                    <a:pt x="2308" y="814"/>
                  </a:lnTo>
                  <a:lnTo>
                    <a:pt x="2310" y="820"/>
                  </a:lnTo>
                  <a:lnTo>
                    <a:pt x="2312" y="828"/>
                  </a:lnTo>
                  <a:lnTo>
                    <a:pt x="2312" y="836"/>
                  </a:lnTo>
                  <a:lnTo>
                    <a:pt x="2312" y="840"/>
                  </a:lnTo>
                  <a:lnTo>
                    <a:pt x="2310" y="844"/>
                  </a:lnTo>
                  <a:lnTo>
                    <a:pt x="2308" y="848"/>
                  </a:lnTo>
                  <a:lnTo>
                    <a:pt x="2305" y="850"/>
                  </a:lnTo>
                  <a:lnTo>
                    <a:pt x="2299" y="854"/>
                  </a:lnTo>
                  <a:lnTo>
                    <a:pt x="2292" y="857"/>
                  </a:lnTo>
                  <a:lnTo>
                    <a:pt x="2277" y="875"/>
                  </a:lnTo>
                  <a:lnTo>
                    <a:pt x="2261" y="890"/>
                  </a:lnTo>
                  <a:lnTo>
                    <a:pt x="2243" y="898"/>
                  </a:lnTo>
                  <a:lnTo>
                    <a:pt x="2228" y="908"/>
                  </a:lnTo>
                  <a:lnTo>
                    <a:pt x="2221" y="915"/>
                  </a:lnTo>
                  <a:lnTo>
                    <a:pt x="2216" y="921"/>
                  </a:lnTo>
                  <a:lnTo>
                    <a:pt x="2213" y="928"/>
                  </a:lnTo>
                  <a:lnTo>
                    <a:pt x="2212" y="938"/>
                  </a:lnTo>
                  <a:lnTo>
                    <a:pt x="2213" y="942"/>
                  </a:lnTo>
                  <a:lnTo>
                    <a:pt x="2215" y="946"/>
                  </a:lnTo>
                  <a:lnTo>
                    <a:pt x="2217" y="948"/>
                  </a:lnTo>
                  <a:lnTo>
                    <a:pt x="2221" y="950"/>
                  </a:lnTo>
                  <a:lnTo>
                    <a:pt x="2230" y="955"/>
                  </a:lnTo>
                  <a:lnTo>
                    <a:pt x="2238" y="960"/>
                  </a:lnTo>
                  <a:lnTo>
                    <a:pt x="2247" y="972"/>
                  </a:lnTo>
                  <a:lnTo>
                    <a:pt x="2254" y="982"/>
                  </a:lnTo>
                  <a:lnTo>
                    <a:pt x="2258" y="985"/>
                  </a:lnTo>
                  <a:lnTo>
                    <a:pt x="2263" y="989"/>
                  </a:lnTo>
                  <a:lnTo>
                    <a:pt x="2268" y="991"/>
                  </a:lnTo>
                  <a:lnTo>
                    <a:pt x="2274" y="991"/>
                  </a:lnTo>
                  <a:lnTo>
                    <a:pt x="2279" y="991"/>
                  </a:lnTo>
                  <a:lnTo>
                    <a:pt x="2283" y="989"/>
                  </a:lnTo>
                  <a:lnTo>
                    <a:pt x="2287" y="986"/>
                  </a:lnTo>
                  <a:lnTo>
                    <a:pt x="2289" y="983"/>
                  </a:lnTo>
                  <a:lnTo>
                    <a:pt x="2292" y="979"/>
                  </a:lnTo>
                  <a:lnTo>
                    <a:pt x="2295" y="977"/>
                  </a:lnTo>
                  <a:lnTo>
                    <a:pt x="2299" y="974"/>
                  </a:lnTo>
                  <a:lnTo>
                    <a:pt x="2303" y="972"/>
                  </a:lnTo>
                  <a:lnTo>
                    <a:pt x="2325" y="967"/>
                  </a:lnTo>
                  <a:lnTo>
                    <a:pt x="2344" y="964"/>
                  </a:lnTo>
                  <a:lnTo>
                    <a:pt x="2364" y="963"/>
                  </a:lnTo>
                  <a:lnTo>
                    <a:pt x="2386" y="963"/>
                  </a:lnTo>
                  <a:lnTo>
                    <a:pt x="2401" y="963"/>
                  </a:lnTo>
                  <a:lnTo>
                    <a:pt x="2402" y="982"/>
                  </a:lnTo>
                  <a:lnTo>
                    <a:pt x="2401" y="1000"/>
                  </a:lnTo>
                  <a:lnTo>
                    <a:pt x="2402" y="1006"/>
                  </a:lnTo>
                  <a:lnTo>
                    <a:pt x="2404" y="1011"/>
                  </a:lnTo>
                  <a:lnTo>
                    <a:pt x="2406" y="1015"/>
                  </a:lnTo>
                  <a:lnTo>
                    <a:pt x="2408" y="1020"/>
                  </a:lnTo>
                  <a:lnTo>
                    <a:pt x="2416" y="1026"/>
                  </a:lnTo>
                  <a:lnTo>
                    <a:pt x="2425" y="1032"/>
                  </a:lnTo>
                  <a:lnTo>
                    <a:pt x="2433" y="1037"/>
                  </a:lnTo>
                  <a:lnTo>
                    <a:pt x="2443" y="1044"/>
                  </a:lnTo>
                  <a:lnTo>
                    <a:pt x="2452" y="1051"/>
                  </a:lnTo>
                  <a:lnTo>
                    <a:pt x="2459" y="1060"/>
                  </a:lnTo>
                  <a:lnTo>
                    <a:pt x="2467" y="1072"/>
                  </a:lnTo>
                  <a:lnTo>
                    <a:pt x="2473" y="1084"/>
                  </a:lnTo>
                  <a:lnTo>
                    <a:pt x="2477" y="1089"/>
                  </a:lnTo>
                  <a:lnTo>
                    <a:pt x="2482" y="1093"/>
                  </a:lnTo>
                  <a:lnTo>
                    <a:pt x="2488" y="1096"/>
                  </a:lnTo>
                  <a:lnTo>
                    <a:pt x="2494" y="1097"/>
                  </a:lnTo>
                  <a:lnTo>
                    <a:pt x="2510" y="1096"/>
                  </a:lnTo>
                  <a:lnTo>
                    <a:pt x="2524" y="1093"/>
                  </a:lnTo>
                  <a:lnTo>
                    <a:pt x="2539" y="1089"/>
                  </a:lnTo>
                  <a:lnTo>
                    <a:pt x="2555" y="1088"/>
                  </a:lnTo>
                  <a:lnTo>
                    <a:pt x="2565" y="1088"/>
                  </a:lnTo>
                  <a:lnTo>
                    <a:pt x="2574" y="1089"/>
                  </a:lnTo>
                  <a:lnTo>
                    <a:pt x="2584" y="1089"/>
                  </a:lnTo>
                  <a:lnTo>
                    <a:pt x="2594" y="1089"/>
                  </a:lnTo>
                  <a:lnTo>
                    <a:pt x="2599" y="1096"/>
                  </a:lnTo>
                  <a:lnTo>
                    <a:pt x="2602" y="1103"/>
                  </a:lnTo>
                  <a:lnTo>
                    <a:pt x="2601" y="1109"/>
                  </a:lnTo>
                  <a:lnTo>
                    <a:pt x="2600" y="1115"/>
                  </a:lnTo>
                  <a:lnTo>
                    <a:pt x="2597" y="1120"/>
                  </a:lnTo>
                  <a:lnTo>
                    <a:pt x="2594" y="1124"/>
                  </a:lnTo>
                  <a:lnTo>
                    <a:pt x="2589" y="1128"/>
                  </a:lnTo>
                  <a:lnTo>
                    <a:pt x="2584" y="1130"/>
                  </a:lnTo>
                  <a:lnTo>
                    <a:pt x="2579" y="1133"/>
                  </a:lnTo>
                  <a:lnTo>
                    <a:pt x="2572" y="1135"/>
                  </a:lnTo>
                  <a:lnTo>
                    <a:pt x="2559" y="1139"/>
                  </a:lnTo>
                  <a:lnTo>
                    <a:pt x="2545" y="1144"/>
                  </a:lnTo>
                  <a:lnTo>
                    <a:pt x="2531" y="1149"/>
                  </a:lnTo>
                  <a:lnTo>
                    <a:pt x="2519" y="1156"/>
                  </a:lnTo>
                  <a:lnTo>
                    <a:pt x="2514" y="1161"/>
                  </a:lnTo>
                  <a:lnTo>
                    <a:pt x="2510" y="1165"/>
                  </a:lnTo>
                  <a:lnTo>
                    <a:pt x="2507" y="1171"/>
                  </a:lnTo>
                  <a:lnTo>
                    <a:pt x="2503" y="1176"/>
                  </a:lnTo>
                  <a:lnTo>
                    <a:pt x="2497" y="1187"/>
                  </a:lnTo>
                  <a:lnTo>
                    <a:pt x="2492" y="1199"/>
                  </a:lnTo>
                  <a:lnTo>
                    <a:pt x="2485" y="1209"/>
                  </a:lnTo>
                  <a:lnTo>
                    <a:pt x="2479" y="1217"/>
                  </a:lnTo>
                  <a:lnTo>
                    <a:pt x="2474" y="1221"/>
                  </a:lnTo>
                  <a:lnTo>
                    <a:pt x="2471" y="1222"/>
                  </a:lnTo>
                  <a:lnTo>
                    <a:pt x="2464" y="1225"/>
                  </a:lnTo>
                  <a:lnTo>
                    <a:pt x="2458" y="1225"/>
                  </a:lnTo>
                  <a:lnTo>
                    <a:pt x="2452" y="1225"/>
                  </a:lnTo>
                  <a:lnTo>
                    <a:pt x="2447" y="1223"/>
                  </a:lnTo>
                  <a:lnTo>
                    <a:pt x="2442" y="1221"/>
                  </a:lnTo>
                  <a:lnTo>
                    <a:pt x="2437" y="1218"/>
                  </a:lnTo>
                  <a:lnTo>
                    <a:pt x="2427" y="1212"/>
                  </a:lnTo>
                  <a:lnTo>
                    <a:pt x="2420" y="1205"/>
                  </a:lnTo>
                  <a:lnTo>
                    <a:pt x="2411" y="1197"/>
                  </a:lnTo>
                  <a:lnTo>
                    <a:pt x="2402" y="1191"/>
                  </a:lnTo>
                  <a:lnTo>
                    <a:pt x="2397" y="1189"/>
                  </a:lnTo>
                  <a:lnTo>
                    <a:pt x="2392" y="1186"/>
                  </a:lnTo>
                  <a:lnTo>
                    <a:pt x="2386" y="1185"/>
                  </a:lnTo>
                  <a:lnTo>
                    <a:pt x="2380" y="1185"/>
                  </a:lnTo>
                  <a:lnTo>
                    <a:pt x="2372" y="1186"/>
                  </a:lnTo>
                  <a:lnTo>
                    <a:pt x="2365" y="1189"/>
                  </a:lnTo>
                  <a:lnTo>
                    <a:pt x="2359" y="1192"/>
                  </a:lnTo>
                  <a:lnTo>
                    <a:pt x="2353" y="1197"/>
                  </a:lnTo>
                  <a:lnTo>
                    <a:pt x="2343" y="1210"/>
                  </a:lnTo>
                  <a:lnTo>
                    <a:pt x="2334" y="1225"/>
                  </a:lnTo>
                  <a:lnTo>
                    <a:pt x="2327" y="1240"/>
                  </a:lnTo>
                  <a:lnTo>
                    <a:pt x="2317" y="1252"/>
                  </a:lnTo>
                  <a:lnTo>
                    <a:pt x="2310" y="1257"/>
                  </a:lnTo>
                  <a:lnTo>
                    <a:pt x="2304" y="1261"/>
                  </a:lnTo>
                  <a:lnTo>
                    <a:pt x="2297" y="1264"/>
                  </a:lnTo>
                  <a:lnTo>
                    <a:pt x="2289" y="1264"/>
                  </a:lnTo>
                  <a:lnTo>
                    <a:pt x="2281" y="1263"/>
                  </a:lnTo>
                  <a:lnTo>
                    <a:pt x="2274" y="1261"/>
                  </a:lnTo>
                  <a:lnTo>
                    <a:pt x="2269" y="1256"/>
                  </a:lnTo>
                  <a:lnTo>
                    <a:pt x="2266" y="1249"/>
                  </a:lnTo>
                  <a:lnTo>
                    <a:pt x="2257" y="1235"/>
                  </a:lnTo>
                  <a:lnTo>
                    <a:pt x="2250" y="1220"/>
                  </a:lnTo>
                  <a:lnTo>
                    <a:pt x="2238" y="1213"/>
                  </a:lnTo>
                  <a:lnTo>
                    <a:pt x="2237" y="1222"/>
                  </a:lnTo>
                  <a:lnTo>
                    <a:pt x="2235" y="1231"/>
                  </a:lnTo>
                  <a:lnTo>
                    <a:pt x="2230" y="1238"/>
                  </a:lnTo>
                  <a:lnTo>
                    <a:pt x="2225" y="1246"/>
                  </a:lnTo>
                  <a:lnTo>
                    <a:pt x="2217" y="1251"/>
                  </a:lnTo>
                  <a:lnTo>
                    <a:pt x="2210" y="1256"/>
                  </a:lnTo>
                  <a:lnTo>
                    <a:pt x="2201" y="1258"/>
                  </a:lnTo>
                  <a:lnTo>
                    <a:pt x="2192" y="1259"/>
                  </a:lnTo>
                  <a:lnTo>
                    <a:pt x="2186" y="1258"/>
                  </a:lnTo>
                  <a:lnTo>
                    <a:pt x="2181" y="1257"/>
                  </a:lnTo>
                  <a:lnTo>
                    <a:pt x="2176" y="1256"/>
                  </a:lnTo>
                  <a:lnTo>
                    <a:pt x="2171" y="1253"/>
                  </a:lnTo>
                  <a:lnTo>
                    <a:pt x="2164" y="1247"/>
                  </a:lnTo>
                  <a:lnTo>
                    <a:pt x="2156" y="1238"/>
                  </a:lnTo>
                  <a:lnTo>
                    <a:pt x="2144" y="1218"/>
                  </a:lnTo>
                  <a:lnTo>
                    <a:pt x="2129" y="1200"/>
                  </a:lnTo>
                  <a:lnTo>
                    <a:pt x="2129" y="1200"/>
                  </a:lnTo>
                  <a:lnTo>
                    <a:pt x="2150" y="1173"/>
                  </a:lnTo>
                  <a:lnTo>
                    <a:pt x="2171" y="1151"/>
                  </a:lnTo>
                  <a:lnTo>
                    <a:pt x="2180" y="1140"/>
                  </a:lnTo>
                  <a:lnTo>
                    <a:pt x="2186" y="1128"/>
                  </a:lnTo>
                  <a:lnTo>
                    <a:pt x="2189" y="1120"/>
                  </a:lnTo>
                  <a:lnTo>
                    <a:pt x="2191" y="1113"/>
                  </a:lnTo>
                  <a:lnTo>
                    <a:pt x="2192" y="1106"/>
                  </a:lnTo>
                  <a:lnTo>
                    <a:pt x="2192" y="1097"/>
                  </a:lnTo>
                  <a:lnTo>
                    <a:pt x="2191" y="1077"/>
                  </a:lnTo>
                  <a:lnTo>
                    <a:pt x="2187" y="1060"/>
                  </a:lnTo>
                  <a:lnTo>
                    <a:pt x="2185" y="1042"/>
                  </a:lnTo>
                  <a:lnTo>
                    <a:pt x="2184" y="1022"/>
                  </a:lnTo>
                  <a:lnTo>
                    <a:pt x="2150" y="1020"/>
                  </a:lnTo>
                  <a:lnTo>
                    <a:pt x="2140" y="1032"/>
                  </a:lnTo>
                  <a:lnTo>
                    <a:pt x="2130" y="1045"/>
                  </a:lnTo>
                  <a:lnTo>
                    <a:pt x="2120" y="1055"/>
                  </a:lnTo>
                  <a:lnTo>
                    <a:pt x="2109" y="1065"/>
                  </a:lnTo>
                  <a:lnTo>
                    <a:pt x="2098" y="1072"/>
                  </a:lnTo>
                  <a:lnTo>
                    <a:pt x="2086" y="1078"/>
                  </a:lnTo>
                  <a:lnTo>
                    <a:pt x="2078" y="1079"/>
                  </a:lnTo>
                  <a:lnTo>
                    <a:pt x="2071" y="1082"/>
                  </a:lnTo>
                  <a:lnTo>
                    <a:pt x="2063" y="1082"/>
                  </a:lnTo>
                  <a:lnTo>
                    <a:pt x="2056" y="1083"/>
                  </a:lnTo>
                  <a:lnTo>
                    <a:pt x="2048" y="1082"/>
                  </a:lnTo>
                  <a:lnTo>
                    <a:pt x="2042" y="1081"/>
                  </a:lnTo>
                  <a:lnTo>
                    <a:pt x="2036" y="1078"/>
                  </a:lnTo>
                  <a:lnTo>
                    <a:pt x="2030" y="1076"/>
                  </a:lnTo>
                  <a:lnTo>
                    <a:pt x="2023" y="1073"/>
                  </a:lnTo>
                  <a:lnTo>
                    <a:pt x="2017" y="1071"/>
                  </a:lnTo>
                  <a:lnTo>
                    <a:pt x="2011" y="1070"/>
                  </a:lnTo>
                  <a:lnTo>
                    <a:pt x="2004" y="1068"/>
                  </a:lnTo>
                  <a:lnTo>
                    <a:pt x="1959" y="1068"/>
                  </a:lnTo>
                  <a:lnTo>
                    <a:pt x="1956" y="1101"/>
                  </a:lnTo>
                  <a:lnTo>
                    <a:pt x="1954" y="1129"/>
                  </a:lnTo>
                  <a:lnTo>
                    <a:pt x="1953" y="1143"/>
                  </a:lnTo>
                  <a:lnTo>
                    <a:pt x="1948" y="1155"/>
                  </a:lnTo>
                  <a:lnTo>
                    <a:pt x="1945" y="1161"/>
                  </a:lnTo>
                  <a:lnTo>
                    <a:pt x="1940" y="1168"/>
                  </a:lnTo>
                  <a:lnTo>
                    <a:pt x="1937" y="1174"/>
                  </a:lnTo>
                  <a:lnTo>
                    <a:pt x="1930" y="1179"/>
                  </a:lnTo>
                  <a:lnTo>
                    <a:pt x="1914" y="1187"/>
                  </a:lnTo>
                  <a:lnTo>
                    <a:pt x="1897" y="1194"/>
                  </a:lnTo>
                  <a:lnTo>
                    <a:pt x="1879" y="1201"/>
                  </a:lnTo>
                  <a:lnTo>
                    <a:pt x="1866" y="1209"/>
                  </a:lnTo>
                  <a:lnTo>
                    <a:pt x="1858" y="1213"/>
                  </a:lnTo>
                  <a:lnTo>
                    <a:pt x="1852" y="1217"/>
                  </a:lnTo>
                  <a:lnTo>
                    <a:pt x="1846" y="1223"/>
                  </a:lnTo>
                  <a:lnTo>
                    <a:pt x="1840" y="1231"/>
                  </a:lnTo>
                  <a:lnTo>
                    <a:pt x="1826" y="1251"/>
                  </a:lnTo>
                  <a:lnTo>
                    <a:pt x="1814" y="1271"/>
                  </a:lnTo>
                  <a:lnTo>
                    <a:pt x="1807" y="1278"/>
                  </a:lnTo>
                  <a:lnTo>
                    <a:pt x="1799" y="1284"/>
                  </a:lnTo>
                  <a:lnTo>
                    <a:pt x="1795" y="1287"/>
                  </a:lnTo>
                  <a:lnTo>
                    <a:pt x="1790" y="1289"/>
                  </a:lnTo>
                  <a:lnTo>
                    <a:pt x="1784" y="1290"/>
                  </a:lnTo>
                  <a:lnTo>
                    <a:pt x="1778" y="1290"/>
                  </a:lnTo>
                  <a:lnTo>
                    <a:pt x="1768" y="1289"/>
                  </a:lnTo>
                  <a:lnTo>
                    <a:pt x="1758" y="1288"/>
                  </a:lnTo>
                  <a:lnTo>
                    <a:pt x="1748" y="1287"/>
                  </a:lnTo>
                  <a:lnTo>
                    <a:pt x="1739" y="1284"/>
                  </a:lnTo>
                  <a:lnTo>
                    <a:pt x="1730" y="1283"/>
                  </a:lnTo>
                  <a:lnTo>
                    <a:pt x="1722" y="1280"/>
                  </a:lnTo>
                  <a:lnTo>
                    <a:pt x="1712" y="1279"/>
                  </a:lnTo>
                  <a:lnTo>
                    <a:pt x="1701" y="1279"/>
                  </a:lnTo>
                  <a:lnTo>
                    <a:pt x="1694" y="1279"/>
                  </a:lnTo>
                  <a:lnTo>
                    <a:pt x="1688" y="1283"/>
                  </a:lnTo>
                  <a:lnTo>
                    <a:pt x="1682" y="1287"/>
                  </a:lnTo>
                  <a:lnTo>
                    <a:pt x="1678" y="1292"/>
                  </a:lnTo>
                  <a:lnTo>
                    <a:pt x="1671" y="1304"/>
                  </a:lnTo>
                  <a:lnTo>
                    <a:pt x="1663" y="1319"/>
                  </a:lnTo>
                  <a:lnTo>
                    <a:pt x="1651" y="1338"/>
                  </a:lnTo>
                  <a:lnTo>
                    <a:pt x="1641" y="1354"/>
                  </a:lnTo>
                  <a:lnTo>
                    <a:pt x="1636" y="1361"/>
                  </a:lnTo>
                  <a:lnTo>
                    <a:pt x="1631" y="1370"/>
                  </a:lnTo>
                  <a:lnTo>
                    <a:pt x="1627" y="1380"/>
                  </a:lnTo>
                  <a:lnTo>
                    <a:pt x="1622" y="1390"/>
                  </a:lnTo>
                  <a:lnTo>
                    <a:pt x="1641" y="1401"/>
                  </a:lnTo>
                  <a:lnTo>
                    <a:pt x="1657" y="1412"/>
                  </a:lnTo>
                  <a:lnTo>
                    <a:pt x="1672" y="1423"/>
                  </a:lnTo>
                  <a:lnTo>
                    <a:pt x="1691" y="1432"/>
                  </a:lnTo>
                  <a:lnTo>
                    <a:pt x="1701" y="1436"/>
                  </a:lnTo>
                  <a:lnTo>
                    <a:pt x="1710" y="1437"/>
                  </a:lnTo>
                  <a:lnTo>
                    <a:pt x="1714" y="1437"/>
                  </a:lnTo>
                  <a:lnTo>
                    <a:pt x="1718" y="1438"/>
                  </a:lnTo>
                  <a:lnTo>
                    <a:pt x="1722" y="1440"/>
                  </a:lnTo>
                  <a:lnTo>
                    <a:pt x="1725" y="1444"/>
                  </a:lnTo>
                  <a:lnTo>
                    <a:pt x="1730" y="1450"/>
                  </a:lnTo>
                  <a:lnTo>
                    <a:pt x="1734" y="1458"/>
                  </a:lnTo>
                  <a:lnTo>
                    <a:pt x="1737" y="1467"/>
                  </a:lnTo>
                  <a:lnTo>
                    <a:pt x="1738" y="1474"/>
                  </a:lnTo>
                  <a:lnTo>
                    <a:pt x="1738" y="1491"/>
                  </a:lnTo>
                  <a:lnTo>
                    <a:pt x="1738" y="1507"/>
                  </a:lnTo>
                  <a:lnTo>
                    <a:pt x="1738" y="1515"/>
                  </a:lnTo>
                  <a:lnTo>
                    <a:pt x="1739" y="1524"/>
                  </a:lnTo>
                  <a:lnTo>
                    <a:pt x="1740" y="1531"/>
                  </a:lnTo>
                  <a:lnTo>
                    <a:pt x="1742" y="1538"/>
                  </a:lnTo>
                  <a:lnTo>
                    <a:pt x="1745" y="1545"/>
                  </a:lnTo>
                  <a:lnTo>
                    <a:pt x="1749" y="1551"/>
                  </a:lnTo>
                  <a:lnTo>
                    <a:pt x="1755" y="1556"/>
                  </a:lnTo>
                  <a:lnTo>
                    <a:pt x="1763" y="1561"/>
                  </a:lnTo>
                  <a:lnTo>
                    <a:pt x="1760" y="1568"/>
                  </a:lnTo>
                  <a:lnTo>
                    <a:pt x="1756" y="1574"/>
                  </a:lnTo>
                  <a:lnTo>
                    <a:pt x="1751" y="1579"/>
                  </a:lnTo>
                  <a:lnTo>
                    <a:pt x="1747" y="1586"/>
                  </a:lnTo>
                  <a:lnTo>
                    <a:pt x="1742" y="1591"/>
                  </a:lnTo>
                  <a:lnTo>
                    <a:pt x="1737" y="1596"/>
                  </a:lnTo>
                  <a:lnTo>
                    <a:pt x="1732" y="1602"/>
                  </a:lnTo>
                  <a:lnTo>
                    <a:pt x="1728" y="1609"/>
                  </a:lnTo>
                  <a:lnTo>
                    <a:pt x="1718" y="1630"/>
                  </a:lnTo>
                  <a:lnTo>
                    <a:pt x="1708" y="1649"/>
                  </a:lnTo>
                  <a:lnTo>
                    <a:pt x="1698" y="1666"/>
                  </a:lnTo>
                  <a:lnTo>
                    <a:pt x="1688" y="1684"/>
                  </a:lnTo>
                  <a:lnTo>
                    <a:pt x="1668" y="1717"/>
                  </a:lnTo>
                  <a:lnTo>
                    <a:pt x="1646" y="1757"/>
                  </a:lnTo>
                  <a:lnTo>
                    <a:pt x="1646" y="1757"/>
                  </a:lnTo>
                  <a:lnTo>
                    <a:pt x="1617" y="1753"/>
                  </a:lnTo>
                  <a:lnTo>
                    <a:pt x="1592" y="1748"/>
                  </a:lnTo>
                  <a:lnTo>
                    <a:pt x="1568" y="1742"/>
                  </a:lnTo>
                  <a:lnTo>
                    <a:pt x="1540" y="1734"/>
                  </a:lnTo>
                  <a:lnTo>
                    <a:pt x="1540" y="1734"/>
                  </a:lnTo>
                  <a:lnTo>
                    <a:pt x="1543" y="1723"/>
                  </a:lnTo>
                  <a:lnTo>
                    <a:pt x="1545" y="1712"/>
                  </a:lnTo>
                  <a:lnTo>
                    <a:pt x="1549" y="1702"/>
                  </a:lnTo>
                  <a:lnTo>
                    <a:pt x="1553" y="1694"/>
                  </a:lnTo>
                  <a:lnTo>
                    <a:pt x="1556" y="1684"/>
                  </a:lnTo>
                  <a:lnTo>
                    <a:pt x="1560" y="1674"/>
                  </a:lnTo>
                  <a:lnTo>
                    <a:pt x="1563" y="1664"/>
                  </a:lnTo>
                  <a:lnTo>
                    <a:pt x="1563" y="1651"/>
                  </a:lnTo>
                  <a:lnTo>
                    <a:pt x="1563" y="1643"/>
                  </a:lnTo>
                  <a:lnTo>
                    <a:pt x="1561" y="1635"/>
                  </a:lnTo>
                  <a:lnTo>
                    <a:pt x="1559" y="1628"/>
                  </a:lnTo>
                  <a:lnTo>
                    <a:pt x="1555" y="1620"/>
                  </a:lnTo>
                  <a:lnTo>
                    <a:pt x="1552" y="1614"/>
                  </a:lnTo>
                  <a:lnTo>
                    <a:pt x="1547" y="1609"/>
                  </a:lnTo>
                  <a:lnTo>
                    <a:pt x="1542" y="1603"/>
                  </a:lnTo>
                  <a:lnTo>
                    <a:pt x="1535" y="1598"/>
                  </a:lnTo>
                  <a:lnTo>
                    <a:pt x="1509" y="1579"/>
                  </a:lnTo>
                  <a:lnTo>
                    <a:pt x="1481" y="1561"/>
                  </a:lnTo>
                  <a:lnTo>
                    <a:pt x="1457" y="1543"/>
                  </a:lnTo>
                  <a:lnTo>
                    <a:pt x="1435" y="1529"/>
                  </a:lnTo>
                  <a:lnTo>
                    <a:pt x="1414" y="1516"/>
                  </a:lnTo>
                  <a:lnTo>
                    <a:pt x="1394" y="1504"/>
                  </a:lnTo>
                  <a:lnTo>
                    <a:pt x="1352" y="1479"/>
                  </a:lnTo>
                  <a:lnTo>
                    <a:pt x="1304" y="1449"/>
                  </a:lnTo>
                  <a:lnTo>
                    <a:pt x="1286" y="1437"/>
                  </a:lnTo>
                  <a:lnTo>
                    <a:pt x="1270" y="1424"/>
                  </a:lnTo>
                  <a:lnTo>
                    <a:pt x="1256" y="1411"/>
                  </a:lnTo>
                  <a:lnTo>
                    <a:pt x="1241" y="1398"/>
                  </a:lnTo>
                  <a:lnTo>
                    <a:pt x="1227" y="1387"/>
                  </a:lnTo>
                  <a:lnTo>
                    <a:pt x="1212" y="1375"/>
                  </a:lnTo>
                  <a:lnTo>
                    <a:pt x="1195" y="1364"/>
                  </a:lnTo>
                  <a:lnTo>
                    <a:pt x="1176" y="1352"/>
                  </a:lnTo>
                  <a:lnTo>
                    <a:pt x="1153" y="1341"/>
                  </a:lnTo>
                  <a:lnTo>
                    <a:pt x="1133" y="1329"/>
                  </a:lnTo>
                  <a:lnTo>
                    <a:pt x="1114" y="1315"/>
                  </a:lnTo>
                  <a:lnTo>
                    <a:pt x="1097" y="1302"/>
                  </a:lnTo>
                  <a:lnTo>
                    <a:pt x="1082" y="1285"/>
                  </a:lnTo>
                  <a:lnTo>
                    <a:pt x="1067" y="1268"/>
                  </a:lnTo>
                  <a:lnTo>
                    <a:pt x="1053" y="1249"/>
                  </a:lnTo>
                  <a:lnTo>
                    <a:pt x="1040" y="1227"/>
                  </a:lnTo>
                  <a:lnTo>
                    <a:pt x="1024" y="1207"/>
                  </a:lnTo>
                  <a:lnTo>
                    <a:pt x="1008" y="1190"/>
                  </a:lnTo>
                  <a:lnTo>
                    <a:pt x="1001" y="1181"/>
                  </a:lnTo>
                  <a:lnTo>
                    <a:pt x="994" y="1171"/>
                  </a:lnTo>
                  <a:lnTo>
                    <a:pt x="989" y="1161"/>
                  </a:lnTo>
                  <a:lnTo>
                    <a:pt x="985" y="1148"/>
                  </a:lnTo>
                  <a:lnTo>
                    <a:pt x="983" y="1129"/>
                  </a:lnTo>
                  <a:lnTo>
                    <a:pt x="981" y="1112"/>
                  </a:lnTo>
                  <a:lnTo>
                    <a:pt x="981" y="1103"/>
                  </a:lnTo>
                  <a:lnTo>
                    <a:pt x="980" y="1094"/>
                  </a:lnTo>
                  <a:lnTo>
                    <a:pt x="978" y="1086"/>
                  </a:lnTo>
                  <a:lnTo>
                    <a:pt x="974" y="1077"/>
                  </a:lnTo>
                  <a:lnTo>
                    <a:pt x="958" y="1041"/>
                  </a:lnTo>
                  <a:lnTo>
                    <a:pt x="944" y="1009"/>
                  </a:lnTo>
                  <a:lnTo>
                    <a:pt x="938" y="993"/>
                  </a:lnTo>
                  <a:lnTo>
                    <a:pt x="933" y="975"/>
                  </a:lnTo>
                  <a:lnTo>
                    <a:pt x="928" y="958"/>
                  </a:lnTo>
                  <a:lnTo>
                    <a:pt x="923" y="938"/>
                  </a:lnTo>
                  <a:lnTo>
                    <a:pt x="919" y="926"/>
                  </a:lnTo>
                  <a:lnTo>
                    <a:pt x="914" y="915"/>
                  </a:lnTo>
                  <a:lnTo>
                    <a:pt x="909" y="905"/>
                  </a:lnTo>
                  <a:lnTo>
                    <a:pt x="904" y="895"/>
                  </a:lnTo>
                  <a:lnTo>
                    <a:pt x="898" y="886"/>
                  </a:lnTo>
                  <a:lnTo>
                    <a:pt x="891" y="879"/>
                  </a:lnTo>
                  <a:lnTo>
                    <a:pt x="883" y="871"/>
                  </a:lnTo>
                  <a:lnTo>
                    <a:pt x="875" y="864"/>
                  </a:lnTo>
                  <a:lnTo>
                    <a:pt x="857" y="851"/>
                  </a:lnTo>
                  <a:lnTo>
                    <a:pt x="837" y="841"/>
                  </a:lnTo>
                  <a:lnTo>
                    <a:pt x="815" y="833"/>
                  </a:lnTo>
                  <a:lnTo>
                    <a:pt x="791" y="824"/>
                  </a:lnTo>
                  <a:lnTo>
                    <a:pt x="775" y="819"/>
                  </a:lnTo>
                  <a:lnTo>
                    <a:pt x="758" y="814"/>
                  </a:lnTo>
                  <a:lnTo>
                    <a:pt x="742" y="808"/>
                  </a:lnTo>
                  <a:lnTo>
                    <a:pt x="727" y="800"/>
                  </a:lnTo>
                  <a:lnTo>
                    <a:pt x="719" y="797"/>
                  </a:lnTo>
                  <a:lnTo>
                    <a:pt x="714" y="793"/>
                  </a:lnTo>
                  <a:lnTo>
                    <a:pt x="708" y="788"/>
                  </a:lnTo>
                  <a:lnTo>
                    <a:pt x="703" y="782"/>
                  </a:lnTo>
                  <a:lnTo>
                    <a:pt x="700" y="777"/>
                  </a:lnTo>
                  <a:lnTo>
                    <a:pt x="697" y="769"/>
                  </a:lnTo>
                  <a:lnTo>
                    <a:pt x="696" y="762"/>
                  </a:lnTo>
                  <a:lnTo>
                    <a:pt x="695" y="753"/>
                  </a:lnTo>
                  <a:lnTo>
                    <a:pt x="695" y="692"/>
                  </a:lnTo>
                  <a:lnTo>
                    <a:pt x="698" y="678"/>
                  </a:lnTo>
                  <a:lnTo>
                    <a:pt x="701" y="663"/>
                  </a:lnTo>
                  <a:lnTo>
                    <a:pt x="700" y="655"/>
                  </a:lnTo>
                  <a:lnTo>
                    <a:pt x="698" y="648"/>
                  </a:lnTo>
                  <a:lnTo>
                    <a:pt x="696" y="642"/>
                  </a:lnTo>
                  <a:lnTo>
                    <a:pt x="692" y="637"/>
                  </a:lnTo>
                  <a:lnTo>
                    <a:pt x="688" y="632"/>
                  </a:lnTo>
                  <a:lnTo>
                    <a:pt x="683" y="627"/>
                  </a:lnTo>
                  <a:lnTo>
                    <a:pt x="677" y="622"/>
                  </a:lnTo>
                  <a:lnTo>
                    <a:pt x="671" y="618"/>
                  </a:lnTo>
                  <a:lnTo>
                    <a:pt x="642" y="604"/>
                  </a:lnTo>
                  <a:lnTo>
                    <a:pt x="613" y="591"/>
                  </a:lnTo>
                  <a:lnTo>
                    <a:pt x="601" y="583"/>
                  </a:lnTo>
                  <a:lnTo>
                    <a:pt x="593" y="576"/>
                  </a:lnTo>
                  <a:lnTo>
                    <a:pt x="585" y="566"/>
                  </a:lnTo>
                  <a:lnTo>
                    <a:pt x="577" y="557"/>
                  </a:lnTo>
                  <a:lnTo>
                    <a:pt x="569" y="550"/>
                  </a:lnTo>
                  <a:lnTo>
                    <a:pt x="560" y="542"/>
                  </a:lnTo>
                  <a:lnTo>
                    <a:pt x="555" y="540"/>
                  </a:lnTo>
                  <a:lnTo>
                    <a:pt x="550" y="539"/>
                  </a:lnTo>
                  <a:lnTo>
                    <a:pt x="544" y="537"/>
                  </a:lnTo>
                  <a:lnTo>
                    <a:pt x="538" y="536"/>
                  </a:lnTo>
                  <a:lnTo>
                    <a:pt x="523" y="537"/>
                  </a:lnTo>
                  <a:lnTo>
                    <a:pt x="509" y="540"/>
                  </a:lnTo>
                  <a:lnTo>
                    <a:pt x="497" y="542"/>
                  </a:lnTo>
                  <a:lnTo>
                    <a:pt x="485" y="547"/>
                  </a:lnTo>
                  <a:lnTo>
                    <a:pt x="473" y="555"/>
                  </a:lnTo>
                  <a:lnTo>
                    <a:pt x="464" y="562"/>
                  </a:lnTo>
                  <a:lnTo>
                    <a:pt x="455" y="573"/>
                  </a:lnTo>
                  <a:lnTo>
                    <a:pt x="447" y="585"/>
                  </a:lnTo>
                  <a:lnTo>
                    <a:pt x="436" y="585"/>
                  </a:lnTo>
                  <a:lnTo>
                    <a:pt x="426" y="583"/>
                  </a:lnTo>
                  <a:lnTo>
                    <a:pt x="416" y="582"/>
                  </a:lnTo>
                  <a:lnTo>
                    <a:pt x="405" y="582"/>
                  </a:lnTo>
                  <a:lnTo>
                    <a:pt x="389" y="583"/>
                  </a:lnTo>
                  <a:lnTo>
                    <a:pt x="374" y="587"/>
                  </a:lnTo>
                  <a:lnTo>
                    <a:pt x="359" y="592"/>
                  </a:lnTo>
                  <a:lnTo>
                    <a:pt x="347" y="598"/>
                  </a:lnTo>
                  <a:lnTo>
                    <a:pt x="333" y="603"/>
                  </a:lnTo>
                  <a:lnTo>
                    <a:pt x="319" y="608"/>
                  </a:lnTo>
                  <a:lnTo>
                    <a:pt x="305" y="612"/>
                  </a:lnTo>
                  <a:lnTo>
                    <a:pt x="287" y="613"/>
                  </a:lnTo>
                  <a:lnTo>
                    <a:pt x="280" y="611"/>
                  </a:lnTo>
                  <a:lnTo>
                    <a:pt x="271" y="608"/>
                  </a:lnTo>
                  <a:lnTo>
                    <a:pt x="266" y="608"/>
                  </a:lnTo>
                  <a:lnTo>
                    <a:pt x="262" y="609"/>
                  </a:lnTo>
                  <a:lnTo>
                    <a:pt x="259" y="611"/>
                  </a:lnTo>
                  <a:lnTo>
                    <a:pt x="255" y="613"/>
                  </a:lnTo>
                  <a:lnTo>
                    <a:pt x="249" y="619"/>
                  </a:lnTo>
                  <a:lnTo>
                    <a:pt x="245" y="627"/>
                  </a:lnTo>
                  <a:lnTo>
                    <a:pt x="239" y="645"/>
                  </a:lnTo>
                  <a:lnTo>
                    <a:pt x="234" y="665"/>
                  </a:lnTo>
                  <a:lnTo>
                    <a:pt x="229" y="680"/>
                  </a:lnTo>
                  <a:lnTo>
                    <a:pt x="224" y="694"/>
                  </a:lnTo>
                  <a:lnTo>
                    <a:pt x="216" y="707"/>
                  </a:lnTo>
                  <a:lnTo>
                    <a:pt x="208" y="720"/>
                  </a:lnTo>
                  <a:lnTo>
                    <a:pt x="204" y="725"/>
                  </a:lnTo>
                  <a:lnTo>
                    <a:pt x="199" y="730"/>
                  </a:lnTo>
                  <a:lnTo>
                    <a:pt x="193" y="733"/>
                  </a:lnTo>
                  <a:lnTo>
                    <a:pt x="188" y="737"/>
                  </a:lnTo>
                  <a:lnTo>
                    <a:pt x="182" y="741"/>
                  </a:lnTo>
                  <a:lnTo>
                    <a:pt x="174" y="742"/>
                  </a:lnTo>
                  <a:lnTo>
                    <a:pt x="167" y="743"/>
                  </a:lnTo>
                  <a:lnTo>
                    <a:pt x="159" y="745"/>
                  </a:lnTo>
                  <a:lnTo>
                    <a:pt x="151" y="743"/>
                  </a:lnTo>
                  <a:lnTo>
                    <a:pt x="142" y="742"/>
                  </a:lnTo>
                  <a:lnTo>
                    <a:pt x="134" y="740"/>
                  </a:lnTo>
                  <a:lnTo>
                    <a:pt x="127" y="736"/>
                  </a:lnTo>
                  <a:lnTo>
                    <a:pt x="113" y="727"/>
                  </a:lnTo>
                  <a:lnTo>
                    <a:pt x="97" y="719"/>
                  </a:lnTo>
                  <a:lnTo>
                    <a:pt x="85" y="714"/>
                  </a:lnTo>
                  <a:lnTo>
                    <a:pt x="72" y="710"/>
                  </a:lnTo>
                  <a:lnTo>
                    <a:pt x="61" y="709"/>
                  </a:lnTo>
                  <a:lnTo>
                    <a:pt x="50" y="707"/>
                  </a:lnTo>
                  <a:lnTo>
                    <a:pt x="38" y="706"/>
                  </a:lnTo>
                  <a:lnTo>
                    <a:pt x="26" y="706"/>
                  </a:lnTo>
                  <a:lnTo>
                    <a:pt x="14" y="704"/>
                  </a:lnTo>
                  <a:lnTo>
                    <a:pt x="0" y="700"/>
                  </a:lnTo>
                  <a:lnTo>
                    <a:pt x="0" y="700"/>
                  </a:lnTo>
                  <a:lnTo>
                    <a:pt x="168" y="65"/>
                  </a:lnTo>
                  <a:lnTo>
                    <a:pt x="667" y="0"/>
                  </a:lnTo>
                  <a:lnTo>
                    <a:pt x="667" y="0"/>
                  </a:lnTo>
                  <a:close/>
                </a:path>
              </a:pathLst>
            </a:custGeom>
            <a:noFill/>
            <a:ln w="317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6" name="Arrow: Curved Down 65">
              <a:extLst>
                <a:ext uri="{FF2B5EF4-FFF2-40B4-BE49-F238E27FC236}">
                  <a16:creationId xmlns:a16="http://schemas.microsoft.com/office/drawing/2014/main" id="{F9310455-3872-4D58-8F89-115854088B2A}"/>
                </a:ext>
              </a:extLst>
            </p:cNvPr>
            <p:cNvSpPr/>
            <p:nvPr/>
          </p:nvSpPr>
          <p:spPr>
            <a:xfrm rot="18808333">
              <a:off x="8671312" y="2619852"/>
              <a:ext cx="681099" cy="423907"/>
            </a:xfrm>
            <a:prstGeom prst="curvedDownArrow">
              <a:avLst/>
            </a:prstGeom>
            <a:solidFill>
              <a:srgbClr val="FFC000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TextBox 1537">
              <a:extLst>
                <a:ext uri="{FF2B5EF4-FFF2-40B4-BE49-F238E27FC236}">
                  <a16:creationId xmlns:a16="http://schemas.microsoft.com/office/drawing/2014/main" id="{0CB8AD12-38A2-4BA0-91A5-2F0061F6F06F}"/>
                </a:ext>
              </a:extLst>
            </p:cNvPr>
            <p:cNvSpPr txBox="1"/>
            <p:nvPr/>
          </p:nvSpPr>
          <p:spPr>
            <a:xfrm>
              <a:off x="7285474" y="1976469"/>
              <a:ext cx="2335081" cy="612181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rtlCol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1,05 млрд долл США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68" name="Arrow: Curved Down 67">
              <a:extLst>
                <a:ext uri="{FF2B5EF4-FFF2-40B4-BE49-F238E27FC236}">
                  <a16:creationId xmlns:a16="http://schemas.microsoft.com/office/drawing/2014/main" id="{BE48B044-D442-4E4B-8DA2-9419FA740C3B}"/>
                </a:ext>
              </a:extLst>
            </p:cNvPr>
            <p:cNvSpPr/>
            <p:nvPr/>
          </p:nvSpPr>
          <p:spPr>
            <a:xfrm rot="6267403">
              <a:off x="9210059" y="2984019"/>
              <a:ext cx="681099" cy="423907"/>
            </a:xfrm>
            <a:prstGeom prst="curvedDownArrow">
              <a:avLst/>
            </a:prstGeom>
            <a:solidFill>
              <a:srgbClr val="FFC000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TextBox 390">
              <a:extLst>
                <a:ext uri="{FF2B5EF4-FFF2-40B4-BE49-F238E27FC236}">
                  <a16:creationId xmlns:a16="http://schemas.microsoft.com/office/drawing/2014/main" id="{E9B51F15-D8BC-4CE9-B761-5291FB01C325}"/>
                </a:ext>
              </a:extLst>
            </p:cNvPr>
            <p:cNvSpPr txBox="1"/>
            <p:nvPr/>
          </p:nvSpPr>
          <p:spPr>
            <a:xfrm>
              <a:off x="9810629" y="2537088"/>
              <a:ext cx="2315993" cy="612513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rtlCol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2,84 млрд долл США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endParaRPr>
            </a:p>
          </p:txBody>
        </p: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25B659A4-F107-4B46-AFB3-8CCC8EE3EADC}"/>
              </a:ext>
            </a:extLst>
          </p:cNvPr>
          <p:cNvSpPr/>
          <p:nvPr/>
        </p:nvSpPr>
        <p:spPr>
          <a:xfrm>
            <a:off x="267590" y="1356557"/>
            <a:ext cx="11481499" cy="2670881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  <a:prstDash val="dash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45EA218-4665-4F49-BDF1-954E0515110F}"/>
              </a:ext>
            </a:extLst>
          </p:cNvPr>
          <p:cNvSpPr txBox="1"/>
          <p:nvPr/>
        </p:nvSpPr>
        <p:spPr>
          <a:xfrm>
            <a:off x="783052" y="1228034"/>
            <a:ext cx="44756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200" b="1" i="1">
                <a:solidFill>
                  <a:schemeClr val="accent5">
                    <a:lumMod val="75000"/>
                  </a:schemeClr>
                </a:solidFill>
                <a:highlight>
                  <a:srgbClr val="F1D4D9"/>
                </a:highlight>
              </a:rPr>
              <a:t>Двусторонние экономические отношения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E5EBBEB-F9FD-489B-9E9A-32128919166F}"/>
              </a:ext>
            </a:extLst>
          </p:cNvPr>
          <p:cNvSpPr txBox="1"/>
          <p:nvPr/>
        </p:nvSpPr>
        <p:spPr>
          <a:xfrm>
            <a:off x="6726289" y="1268299"/>
            <a:ext cx="44756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200" b="1" i="1">
                <a:solidFill>
                  <a:schemeClr val="accent5">
                    <a:lumMod val="75000"/>
                  </a:schemeClr>
                </a:solidFill>
                <a:highlight>
                  <a:srgbClr val="F1D4D9"/>
                </a:highlight>
              </a:rPr>
              <a:t>Распределение торгуемых товаров</a:t>
            </a:r>
          </a:p>
        </p:txBody>
      </p:sp>
      <p:graphicFrame>
        <p:nvGraphicFramePr>
          <p:cNvPr id="73" name="Chart 72">
            <a:extLst>
              <a:ext uri="{FF2B5EF4-FFF2-40B4-BE49-F238E27FC236}">
                <a16:creationId xmlns:a16="http://schemas.microsoft.com/office/drawing/2014/main" id="{19E5CA9F-B4E9-48F9-89E5-2827847ED7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78690109"/>
              </p:ext>
            </p:extLst>
          </p:nvPr>
        </p:nvGraphicFramePr>
        <p:xfrm>
          <a:off x="6432554" y="1856705"/>
          <a:ext cx="2271330" cy="19682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74" name="Rectangle 73">
            <a:extLst>
              <a:ext uri="{FF2B5EF4-FFF2-40B4-BE49-F238E27FC236}">
                <a16:creationId xmlns:a16="http://schemas.microsoft.com/office/drawing/2014/main" id="{11D1135C-80B5-439F-B47A-5F4750357D71}"/>
              </a:ext>
            </a:extLst>
          </p:cNvPr>
          <p:cNvSpPr/>
          <p:nvPr/>
        </p:nvSpPr>
        <p:spPr>
          <a:xfrm>
            <a:off x="6469276" y="1549402"/>
            <a:ext cx="2234608" cy="25544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</a:t>
            </a:r>
            <a:r>
              <a:rPr lang="ru" sz="10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спорт Казахстана в Узбекистан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0C4DB34-29D3-4826-9D84-EC4802D13EAE}"/>
              </a:ext>
            </a:extLst>
          </p:cNvPr>
          <p:cNvSpPr/>
          <p:nvPr/>
        </p:nvSpPr>
        <p:spPr>
          <a:xfrm>
            <a:off x="9218251" y="1549402"/>
            <a:ext cx="2238910" cy="26107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</a:t>
            </a:r>
            <a:r>
              <a:rPr lang="ru" sz="10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спорт Узбекистана в Казахстан</a:t>
            </a:r>
          </a:p>
        </p:txBody>
      </p:sp>
      <p:graphicFrame>
        <p:nvGraphicFramePr>
          <p:cNvPr id="76" name="Chart 75">
            <a:extLst>
              <a:ext uri="{FF2B5EF4-FFF2-40B4-BE49-F238E27FC236}">
                <a16:creationId xmlns:a16="http://schemas.microsoft.com/office/drawing/2014/main" id="{3E489D93-AB60-431D-8698-320803CF7D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7751787"/>
              </p:ext>
            </p:extLst>
          </p:nvPr>
        </p:nvGraphicFramePr>
        <p:xfrm>
          <a:off x="9223076" y="1846973"/>
          <a:ext cx="2343454" cy="19779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DCC53DAC-6729-421A-BEEB-FE16D242DA2E}"/>
              </a:ext>
            </a:extLst>
          </p:cNvPr>
          <p:cNvSpPr/>
          <p:nvPr/>
        </p:nvSpPr>
        <p:spPr>
          <a:xfrm>
            <a:off x="3192693" y="1903329"/>
            <a:ext cx="3094023" cy="1308027"/>
          </a:xfrm>
          <a:prstGeom prst="roundRect">
            <a:avLst>
              <a:gd name="adj" fmla="val 14475"/>
            </a:avLst>
          </a:prstGeom>
          <a:solidFill>
            <a:schemeClr val="bg2"/>
          </a:solidFill>
          <a:ln>
            <a:noFill/>
          </a:ln>
          <a:effectLst/>
        </p:spPr>
        <p:txBody>
          <a:bodyPr rtlCol="0" anchor="ctr"/>
          <a:lstStyle/>
          <a:p>
            <a:pPr marL="0" marR="0" lvl="2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Текущая торговля в основном ведется вокруг сырьевых товаров:</a:t>
            </a:r>
          </a:p>
          <a:p>
            <a:pPr marL="0" marR="0" lvl="2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" sz="1200" i="1" kern="0" dirty="0">
                <a:latin typeface="Arial"/>
              </a:rPr>
              <a:t>Из Казахстана в Узбекистан: </a:t>
            </a:r>
            <a:r>
              <a:rPr lang="ru" sz="1200" kern="0" dirty="0">
                <a:latin typeface="Arial"/>
              </a:rPr>
              <a:t>железо и сталь, алюминий, нефть и пшеница.</a:t>
            </a:r>
          </a:p>
          <a:p>
            <a:pPr marL="0" lvl="2" algn="ctr">
              <a:defRPr/>
            </a:pPr>
            <a:r>
              <a:rPr lang="ru" sz="1200" i="1" kern="0" dirty="0">
                <a:latin typeface="Arial"/>
              </a:rPr>
              <a:t>Из Узбекистана в Казахстан: </a:t>
            </a:r>
            <a:r>
              <a:rPr lang="ru" sz="1200" kern="0" dirty="0">
                <a:latin typeface="Arial"/>
              </a:rPr>
              <a:t>природный газ, фрукты, автомобили и химическая продукция.</a:t>
            </a:r>
            <a:endParaRPr kumimoji="0" lang="en-US" sz="120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79" name="Chart 78">
            <a:extLst>
              <a:ext uri="{FF2B5EF4-FFF2-40B4-BE49-F238E27FC236}">
                <a16:creationId xmlns:a16="http://schemas.microsoft.com/office/drawing/2014/main" id="{0DB4CD43-6A65-48B2-8F1F-149E5042DD0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04353158"/>
              </p:ext>
            </p:extLst>
          </p:nvPr>
        </p:nvGraphicFramePr>
        <p:xfrm>
          <a:off x="6658366" y="4280846"/>
          <a:ext cx="5084609" cy="11260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80" name="TextBox 79">
            <a:extLst>
              <a:ext uri="{FF2B5EF4-FFF2-40B4-BE49-F238E27FC236}">
                <a16:creationId xmlns:a16="http://schemas.microsoft.com/office/drawing/2014/main" id="{A836D1C6-70CD-4F33-B9DA-D7CCAF84A208}"/>
              </a:ext>
            </a:extLst>
          </p:cNvPr>
          <p:cNvSpPr txBox="1"/>
          <p:nvPr/>
        </p:nvSpPr>
        <p:spPr>
          <a:xfrm>
            <a:off x="368985" y="4355864"/>
            <a:ext cx="6100291" cy="160043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" sz="1400" dirty="0">
                <a:cs typeface="Arial" pitchFamily="34" charset="0"/>
              </a:rPr>
              <a:t>Производство в обеих странах росло относительно быстрее по сравнению с сектором услуг, а также сельским, лесным и рыболовным хозяйством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" sz="1400" dirty="0">
                <a:cs typeface="Arial" pitchFamily="34" charset="0"/>
              </a:rPr>
              <a:t>Однако ориентация производства на продукцию с высокой добавленной стоимостью ограничена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" sz="1400" dirty="0">
                <a:cs typeface="Arial" pitchFamily="34" charset="0"/>
              </a:rPr>
              <a:t>Обе страны имеют большой потенциал для использования своих природных ресурсов и сосредоточения внимания на улучшении торгового профиля для достижения желаемых целей.</a:t>
            </a: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4007D8AC-8A2A-4405-89B7-836F558A4A8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892079" y="5368467"/>
            <a:ext cx="6715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/>
              <a:t>Казахстан</a:t>
            </a:r>
            <a:endParaRPr lang="en-US" sz="1000" noProof="0" dirty="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711E4F0A-D311-4B82-86F0-F9BF51B7B3C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0418920" y="5412854"/>
            <a:ext cx="638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/>
              <a:t>Узбекистан</a:t>
            </a:r>
            <a:endParaRPr lang="en-US" sz="1000" noProof="0" dirty="0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AC9A5D4-4431-49A7-B789-86D1B1E0027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662070" y="5619352"/>
            <a:ext cx="179388" cy="133350"/>
          </a:xfrm>
          <a:prstGeom prst="rect">
            <a:avLst/>
          </a:prstGeom>
          <a:solidFill>
            <a:srgbClr val="DB536A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EDBA1BD-25EB-412C-957B-0A9630A249D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770270" y="5619352"/>
            <a:ext cx="179388" cy="133350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1A0F63FA-1F10-46D0-A4AA-2CF59B39DEC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0832308" y="5619352"/>
            <a:ext cx="179388" cy="133350"/>
          </a:xfrm>
          <a:prstGeom prst="rect">
            <a:avLst/>
          </a:prstGeom>
          <a:solidFill>
            <a:srgbClr val="464646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F215BD7-9A10-4DE5-9040-D2456F3F596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055645" y="5619352"/>
            <a:ext cx="179388" cy="133350"/>
          </a:xfrm>
          <a:prstGeom prst="rect">
            <a:avLst/>
          </a:prstGeom>
          <a:solidFill>
            <a:srgbClr val="A3202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9D477CA8-11A6-4749-BC26-64CBE0BE3EE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892258" y="5614590"/>
            <a:ext cx="1776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/>
              <a:t>Сельское, лесное и рыбное </a:t>
            </a:r>
          </a:p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/>
              <a:t>хозяйство</a:t>
            </a:r>
            <a:endParaRPr lang="en-US" sz="1000" noProof="0" dirty="0"/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E6D67C9B-A14D-4ED2-B32F-59995C79A27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000458" y="5614590"/>
            <a:ext cx="730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sz="1000" noProof="0" dirty="0"/>
              <a:t>производство</a:t>
            </a:r>
            <a:endParaRPr lang="en-US" sz="1000" noProof="0" dirty="0"/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7695EA24-741B-488B-BFFA-F5551F10E5A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062495" y="5614590"/>
            <a:ext cx="485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/>
              <a:t>Услуги</a:t>
            </a:r>
            <a:endParaRPr lang="en-US" sz="1000" noProof="0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163D2175-3043-4878-8F93-E1B859F5CE2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285833" y="5614590"/>
            <a:ext cx="27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/>
              <a:t>ВВП</a:t>
            </a:r>
            <a:endParaRPr lang="en-US" sz="1000" noProof="0" dirty="0"/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3E7653CD-DCC6-4FAF-BD7B-B154072B211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859964" y="4062555"/>
            <a:ext cx="18891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r>
              <a:rPr lang="ru" altLang="en-US" sz="1000" i="1" dirty="0">
                <a:effectLst/>
              </a:rPr>
              <a:t>Темпы роста в период 2017-2021 гг.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8BE1D04-9567-4CCD-B5E4-A2BF6C190F9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68985" y="6484620"/>
            <a:ext cx="18891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marR="0" indent="0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7320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2963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3092" marR="0" indent="-203305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867" marR="0" indent="-201717" algn="l" defTabSz="8993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97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482" marR="0" indent="-203305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rabi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2963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alpha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092" marR="0" indent="-201717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+mj-lt"/>
              <a:buAutoNum type="romanLcPeriod"/>
              <a:tabLst/>
              <a:defRPr lang="en-GB" sz="97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8990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Tx/>
              <a:buSzTx/>
              <a:buFont typeface="Arial" pitchFamily="34" charset="0"/>
              <a:buNone/>
              <a:tabLst/>
              <a:defRPr lang="en-GB" sz="971" b="1" kern="120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ru" altLang="en-US" sz="1000" i="1" dirty="0">
                <a:effectLst/>
              </a:rPr>
              <a:t>Источник: Торговая карта МТЦ </a:t>
            </a:r>
            <a:r>
              <a:rPr lang="ru" altLang="en-US" sz="1000" i="1" dirty="0"/>
              <a:t>; База данных Всемирного банка</a:t>
            </a:r>
            <a:endParaRPr lang="en-US" altLang="en-US" sz="1000" i="1" dirty="0">
              <a:effectLst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5036080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095B41-810A-40B0-8ED6-F81B04F66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124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2" imgH="532" progId="TCLayout.ActiveDocument.1">
                  <p:embed/>
                </p:oleObj>
              </mc:Choice>
              <mc:Fallback>
                <p:oleObj name="think-cell Slide" r:id="rId5" imgW="532" imgH="5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095B41-810A-40B0-8ED6-F81B04F66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0BC18F9-2CD8-4F73-8858-45C4B53D82B2}"/>
              </a:ext>
            </a:extLst>
          </p:cNvPr>
          <p:cNvSpPr/>
          <p:nvPr/>
        </p:nvSpPr>
        <p:spPr>
          <a:xfrm>
            <a:off x="349336" y="5466067"/>
            <a:ext cx="11696274" cy="798378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AE6800"/>
            </a:solidFill>
            <a:prstDash val="lgDashDot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0" name="Google Shape;50;p2"/>
          <p:cNvSpPr txBox="1">
            <a:spLocks noGrp="1"/>
          </p:cNvSpPr>
          <p:nvPr>
            <p:ph type="title"/>
          </p:nvPr>
        </p:nvSpPr>
        <p:spPr>
          <a:xfrm>
            <a:off x="442914" y="345559"/>
            <a:ext cx="11306175" cy="369332"/>
          </a:xfrm>
        </p:spPr>
        <p:txBody>
          <a:bodyPr anchor="ctr" anchorCtr="0">
            <a:normAutofit/>
          </a:bodyPr>
          <a:lstStyle/>
          <a:p>
            <a:pPr lvl="0"/>
            <a:r>
              <a:rPr lang="ru" sz="2400" b="0" dirty="0">
                <a:latin typeface="Georgia" panose="02040502050405020303" pitchFamily="18" charset="0"/>
              </a:rPr>
              <a:t>Нетарифные барьеры между Казахстаном и Узбекистаном</a:t>
            </a: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2E221770-D155-4210-B438-453618879711}"/>
              </a:ext>
            </a:extLst>
          </p:cNvPr>
          <p:cNvSpPr/>
          <p:nvPr/>
        </p:nvSpPr>
        <p:spPr>
          <a:xfrm>
            <a:off x="349336" y="3501274"/>
            <a:ext cx="11696274" cy="1871336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AE6800"/>
            </a:solidFill>
            <a:prstDash val="lgDashDot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5081390-D4D4-4025-8641-086646EE7247}"/>
              </a:ext>
            </a:extLst>
          </p:cNvPr>
          <p:cNvSpPr/>
          <p:nvPr/>
        </p:nvSpPr>
        <p:spPr>
          <a:xfrm>
            <a:off x="349336" y="1668335"/>
            <a:ext cx="11696274" cy="1760665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AE6800"/>
            </a:solidFill>
            <a:prstDash val="lgDashDot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570146E-0CD3-4108-A073-CEB971B18340}"/>
              </a:ext>
            </a:extLst>
          </p:cNvPr>
          <p:cNvSpPr txBox="1"/>
          <p:nvPr/>
        </p:nvSpPr>
        <p:spPr>
          <a:xfrm>
            <a:off x="349336" y="1438318"/>
            <a:ext cx="11404739" cy="6463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" sz="1400" i="1" dirty="0">
                <a:cs typeface="Arial" pitchFamily="34" charset="0"/>
              </a:rPr>
              <a:t>Множественные </a:t>
            </a:r>
            <a:r>
              <a:rPr lang="ru" sz="1400" i="1" noProof="0" dirty="0">
                <a:solidFill>
                  <a:schemeClr val="tx1"/>
                </a:solidFill>
                <a:cs typeface="Arial" pitchFamily="34" charset="0"/>
              </a:rPr>
              <a:t>нетарифные барьеры ограничивают двустороннюю торговлю.</a:t>
            </a:r>
          </a:p>
          <a:p>
            <a:pPr algn="ctr"/>
            <a:endParaRPr lang="en-US" sz="1400" i="1" noProof="0" dirty="0">
              <a:solidFill>
                <a:schemeClr val="tx1"/>
              </a:solidFill>
              <a:cs typeface="Arial" pitchFamily="34" charset="0"/>
            </a:endParaRPr>
          </a:p>
          <a:p>
            <a:pPr algn="ctr"/>
            <a:endParaRPr lang="en-US" sz="1400" i="1" noProof="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729D9AA-954C-4EF2-B007-EECD3EF14233}"/>
              </a:ext>
            </a:extLst>
          </p:cNvPr>
          <p:cNvSpPr txBox="1"/>
          <p:nvPr/>
        </p:nvSpPr>
        <p:spPr>
          <a:xfrm>
            <a:off x="1201326" y="1187650"/>
            <a:ext cx="86826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ru" sz="1200" b="1" i="1">
                <a:solidFill>
                  <a:schemeClr val="accent5">
                    <a:lumMod val="75000"/>
                  </a:schemeClr>
                </a:solidFill>
                <a:highlight>
                  <a:srgbClr val="F1D4D9"/>
                </a:highlight>
              </a:rPr>
              <a:t>Нетарифные барьеры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680F7ADE-226D-4F1E-9050-8CC02CB46909}"/>
              </a:ext>
            </a:extLst>
          </p:cNvPr>
          <p:cNvSpPr/>
          <p:nvPr/>
        </p:nvSpPr>
        <p:spPr>
          <a:xfrm>
            <a:off x="4555448" y="1843627"/>
            <a:ext cx="7162167" cy="525529"/>
          </a:xfrm>
          <a:prstGeom prst="roundRect">
            <a:avLst>
              <a:gd name="adj" fmla="val 14475"/>
            </a:avLst>
          </a:prstGeom>
          <a:solidFill>
            <a:schemeClr val="bg2"/>
          </a:solidFill>
          <a:ln>
            <a:noFill/>
          </a:ln>
          <a:effectLst/>
        </p:spPr>
        <p:txBody>
          <a:bodyPr rtlCol="0" anchor="ctr"/>
          <a:lstStyle/>
          <a:p>
            <a:pPr marL="0" marR="0" lvl="2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i="1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Казахстан реализует </a:t>
            </a:r>
            <a:r>
              <a:rPr kumimoji="0" lang="ru" sz="1200" b="1" i="1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технические регламенты ЕАЭС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A24D285-366B-472A-80D5-B9209DC47BA3}"/>
              </a:ext>
            </a:extLst>
          </p:cNvPr>
          <p:cNvSpPr/>
          <p:nvPr/>
        </p:nvSpPr>
        <p:spPr>
          <a:xfrm>
            <a:off x="452099" y="1987375"/>
            <a:ext cx="3811814" cy="853456"/>
          </a:xfrm>
          <a:prstGeom prst="roundRect">
            <a:avLst/>
          </a:prstGeom>
          <a:solidFill>
            <a:srgbClr val="A32020"/>
          </a:solidFill>
          <a:ln w="635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 sz="1200" b="1">
                <a:solidFill>
                  <a:schemeClr val="bg1"/>
                </a:solidFill>
              </a:rPr>
              <a:t>Негармонизированные торговые стандарты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C675E43B-7FD9-4F26-8E63-C953D0559578}"/>
              </a:ext>
            </a:extLst>
          </p:cNvPr>
          <p:cNvSpPr/>
          <p:nvPr/>
        </p:nvSpPr>
        <p:spPr>
          <a:xfrm>
            <a:off x="562624" y="3870755"/>
            <a:ext cx="3811814" cy="646331"/>
          </a:xfrm>
          <a:prstGeom prst="roundRect">
            <a:avLst/>
          </a:prstGeom>
          <a:solidFill>
            <a:srgbClr val="A32020"/>
          </a:solidFill>
          <a:ln w="635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" sz="1200" b="1">
                <a:solidFill>
                  <a:schemeClr val="bg1"/>
                </a:solidFill>
              </a:rPr>
              <a:t>Высокая стоимость пересечения границы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0700623-5BEB-425B-81F5-F16C66838281}"/>
              </a:ext>
            </a:extLst>
          </p:cNvPr>
          <p:cNvGrpSpPr/>
          <p:nvPr/>
        </p:nvGrpSpPr>
        <p:grpSpPr>
          <a:xfrm>
            <a:off x="562624" y="5539873"/>
            <a:ext cx="11265510" cy="650766"/>
            <a:chOff x="562624" y="5615897"/>
            <a:chExt cx="11265510" cy="650766"/>
          </a:xfrm>
        </p:grpSpPr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81D100A9-D220-40D1-80F6-E2EB476FF49E}"/>
                </a:ext>
              </a:extLst>
            </p:cNvPr>
            <p:cNvSpPr/>
            <p:nvPr/>
          </p:nvSpPr>
          <p:spPr>
            <a:xfrm>
              <a:off x="562624" y="5615897"/>
              <a:ext cx="3811814" cy="646331"/>
            </a:xfrm>
            <a:prstGeom prst="roundRect">
              <a:avLst/>
            </a:prstGeom>
            <a:solidFill>
              <a:srgbClr val="A32020"/>
            </a:solidFill>
            <a:ln w="6350">
              <a:solidFill>
                <a:schemeClr val="bg1"/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" sz="1200" b="1" dirty="0">
                  <a:solidFill>
                    <a:schemeClr val="bg1"/>
                  </a:solidFill>
                </a:rPr>
                <a:t>Периодические торговые ограничения</a:t>
              </a:r>
            </a:p>
          </p:txBody>
        </p: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1D6C84B9-254A-4158-8899-F02ACCE3C06D}"/>
                </a:ext>
              </a:extLst>
            </p:cNvPr>
            <p:cNvSpPr/>
            <p:nvPr/>
          </p:nvSpPr>
          <p:spPr>
            <a:xfrm>
              <a:off x="4665967" y="5615897"/>
              <a:ext cx="7162167" cy="650766"/>
            </a:xfrm>
            <a:prstGeom prst="roundRect">
              <a:avLst>
                <a:gd name="adj" fmla="val 14475"/>
              </a:avLst>
            </a:prstGeom>
            <a:solidFill>
              <a:schemeClr val="bg2"/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2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i="1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Специальные ограничения на экспорт товаров первой необходимости негативно влияют на двусторонние торговые потоки и создают риски для трансграничных цепочек поставок.</a:t>
              </a:r>
            </a:p>
          </p:txBody>
        </p:sp>
      </p:grp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DAC90D72-638B-4E4B-9311-6ED7D96D5A45}"/>
              </a:ext>
            </a:extLst>
          </p:cNvPr>
          <p:cNvSpPr/>
          <p:nvPr/>
        </p:nvSpPr>
        <p:spPr>
          <a:xfrm>
            <a:off x="4555448" y="2484007"/>
            <a:ext cx="7162167" cy="381781"/>
          </a:xfrm>
          <a:prstGeom prst="roundRect">
            <a:avLst>
              <a:gd name="adj" fmla="val 14475"/>
            </a:avLst>
          </a:prstGeom>
          <a:solidFill>
            <a:schemeClr val="bg2"/>
          </a:solidFill>
          <a:ln>
            <a:noFill/>
          </a:ln>
          <a:effectLst/>
        </p:spPr>
        <p:txBody>
          <a:bodyPr rtlCol="0" anchor="ctr"/>
          <a:lstStyle/>
          <a:p>
            <a:pPr marL="0" marR="0" lvl="2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i="1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Узбекистан соблюдает свои </a:t>
            </a:r>
            <a:r>
              <a:rPr kumimoji="0" lang="ru" sz="1200" b="1" i="1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национальные технические регламенты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A4C589A-2331-482A-A330-4AB7DE8CDE80}"/>
              </a:ext>
            </a:extLst>
          </p:cNvPr>
          <p:cNvSpPr txBox="1"/>
          <p:nvPr/>
        </p:nvSpPr>
        <p:spPr>
          <a:xfrm>
            <a:off x="442915" y="2931114"/>
            <a:ext cx="11274700" cy="41857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" sz="1360" b="1">
                <a:solidFill>
                  <a:schemeClr val="accent5">
                    <a:lumMod val="75000"/>
                  </a:schemeClr>
                </a:solidFill>
                <a:cs typeface="Arial" pitchFamily="34" charset="0"/>
              </a:rPr>
              <a:t>Национальные технические стандарты ЕАЭС и Узбекистана лишь частично соответствуют международным стандартам, что создает значительные препятствия для двусторонней торговли.</a:t>
            </a:r>
            <a:endParaRPr lang="en-US" sz="1360" b="1" noProof="0">
              <a:solidFill>
                <a:schemeClr val="accent5">
                  <a:lumMod val="75000"/>
                </a:schemeClr>
              </a:solidFill>
              <a:cs typeface="Arial" pitchFamily="34" charset="0"/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35860C49-547D-4262-BC50-796E0936B90A}"/>
              </a:ext>
            </a:extLst>
          </p:cNvPr>
          <p:cNvSpPr/>
          <p:nvPr/>
        </p:nvSpPr>
        <p:spPr>
          <a:xfrm>
            <a:off x="4648317" y="3598811"/>
            <a:ext cx="7162167" cy="650766"/>
          </a:xfrm>
          <a:prstGeom prst="roundRect">
            <a:avLst>
              <a:gd name="adj" fmla="val 14475"/>
            </a:avLst>
          </a:prstGeom>
          <a:solidFill>
            <a:schemeClr val="bg2"/>
          </a:solidFill>
          <a:ln>
            <a:noFill/>
          </a:ln>
          <a:effectLst/>
        </p:spPr>
        <p:txBody>
          <a:bodyPr rtlCol="0" anchor="ctr"/>
          <a:lstStyle/>
          <a:p>
            <a:pPr marL="0" marR="0" lvl="2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Высокая стоимость пересечения границы при доставке грузов автомобильным и железнодорожным транспортом из-за </a:t>
            </a:r>
            <a:r>
              <a:rPr lang="ru" sz="1200" i="1" kern="0" dirty="0">
                <a:latin typeface="Arial"/>
              </a:rPr>
              <a:t>слабой</a:t>
            </a:r>
            <a:r>
              <a:rPr kumimoji="0" lang="ru" sz="12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инфраструктуры ППГ и обременительного пограничного контроля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1A63D1D-40B4-44D8-8517-7B9E2012ED66}"/>
              </a:ext>
            </a:extLst>
          </p:cNvPr>
          <p:cNvSpPr txBox="1"/>
          <p:nvPr/>
        </p:nvSpPr>
        <p:spPr>
          <a:xfrm>
            <a:off x="562624" y="4678753"/>
            <a:ext cx="3811814" cy="41857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" sz="1360" b="1">
                <a:solidFill>
                  <a:schemeClr val="accent5">
                    <a:lumMod val="75000"/>
                  </a:schemeClr>
                </a:solidFill>
                <a:cs typeface="Arial" pitchFamily="34" charset="0"/>
              </a:rPr>
              <a:t>Более высокие торговые издержки в % от стоимости продаваемых товаров</a:t>
            </a:r>
            <a:endParaRPr lang="en-US" sz="1360" b="1" noProof="0">
              <a:solidFill>
                <a:schemeClr val="accent5">
                  <a:lumMod val="75000"/>
                </a:schemeClr>
              </a:solidFill>
              <a:cs typeface="Arial" pitchFamily="34" charset="0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7343E33-DF8D-469A-A821-7AB8C7744E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8466697"/>
              </p:ext>
            </p:extLst>
          </p:nvPr>
        </p:nvGraphicFramePr>
        <p:xfrm>
          <a:off x="4648317" y="4298499"/>
          <a:ext cx="7194346" cy="1020948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2690356">
                  <a:extLst>
                    <a:ext uri="{9D8B030D-6E8A-4147-A177-3AD203B41FA5}">
                      <a16:colId xmlns:a16="http://schemas.microsoft.com/office/drawing/2014/main" val="2833792557"/>
                    </a:ext>
                  </a:extLst>
                </a:gridCol>
                <a:gridCol w="1501330">
                  <a:extLst>
                    <a:ext uri="{9D8B030D-6E8A-4147-A177-3AD203B41FA5}">
                      <a16:colId xmlns:a16="http://schemas.microsoft.com/office/drawing/2014/main" val="1238592215"/>
                    </a:ext>
                  </a:extLst>
                </a:gridCol>
                <a:gridCol w="1501330">
                  <a:extLst>
                    <a:ext uri="{9D8B030D-6E8A-4147-A177-3AD203B41FA5}">
                      <a16:colId xmlns:a16="http://schemas.microsoft.com/office/drawing/2014/main" val="2055720056"/>
                    </a:ext>
                  </a:extLst>
                </a:gridCol>
                <a:gridCol w="1501330">
                  <a:extLst>
                    <a:ext uri="{9D8B030D-6E8A-4147-A177-3AD203B41FA5}">
                      <a16:colId xmlns:a16="http://schemas.microsoft.com/office/drawing/2014/main" val="3779187455"/>
                    </a:ext>
                  </a:extLst>
                </a:gridCol>
              </a:tblGrid>
              <a:tr h="255237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Год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200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2017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2018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60872014"/>
                  </a:ext>
                </a:extLst>
              </a:tr>
              <a:tr h="255237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сельское хозяйство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dirty="0">
                          <a:effectLst/>
                        </a:rPr>
                        <a:t>145,07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78,79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68,78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82206818"/>
                  </a:ext>
                </a:extLst>
              </a:tr>
              <a:tr h="255237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Производство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dirty="0">
                          <a:effectLst/>
                        </a:rPr>
                        <a:t>69,94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86,16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80,96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14351447"/>
                  </a:ext>
                </a:extLst>
              </a:tr>
              <a:tr h="255237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dirty="0">
                          <a:effectLst/>
                        </a:rPr>
                        <a:t>Общий объем торговли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89,25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84,63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dirty="0">
                          <a:effectLst/>
                        </a:rPr>
                        <a:t>76,83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67081015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87DC60-5F92-43E8-B94B-901893F43E18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/>
              <a:t>сентябрь 2023</a:t>
            </a:r>
            <a:endParaRPr lang="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23A7113-30EF-488C-AD79-81F0B4F8FDA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en-US" smtClean="0"/>
              <a:pPr lvl="0"/>
              <a:t>9</a:t>
            </a:fld>
            <a:endParaRPr lang="en-US"/>
          </a:p>
        </p:txBody>
      </p:sp>
      <p:sp>
        <p:nvSpPr>
          <p:cNvPr id="22" name="Footer Placeholder 11">
            <a:extLst>
              <a:ext uri="{FF2B5EF4-FFF2-40B4-BE49-F238E27FC236}">
                <a16:creationId xmlns:a16="http://schemas.microsoft.com/office/drawing/2014/main" id="{C60ECAF1-3A2D-4F51-946B-0C8B132F0126}"/>
              </a:ext>
            </a:extLst>
          </p:cNvPr>
          <p:cNvSpPr txBox="1">
            <a:spLocks/>
          </p:cNvSpPr>
          <p:nvPr/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едварительное технико-экономическое обоснование создания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ЦПК</a:t>
            </a:r>
            <a:r>
              <a:rPr kumimoji="0" lang="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ри </a:t>
            </a:r>
            <a:r>
              <a:rPr kumimoji="0" lang="ru-RU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КШТХ</a:t>
            </a:r>
            <a:endParaRPr kumimoji="0" lang="ru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5389779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49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  <p:tag name="LASTSLIDEVIEWED" val="272,25,Thank you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BuaQn3_7tYEzA.iyPv9g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EhY81sKrn50bp2q8ukRA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2JpMD6Ujxa9xF_p04wVg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QgzzPxQ8zI.7Y6ww6yEA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ehOYK5hCqWcPEFsNChPw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TIUoLOEfwFsyRbGvSBKQ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YDNDQUwZZm63hbbkmOvw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x7feVmpH6UdIrO4THgqg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w06Ze4p0GvWqurmKPpuA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ViMuL1Hl8hQ9Lzj8dXd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e_FfK4JpcAT1boogvW.Q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mvsU4BItx2E9COo.v8kg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Sgf.NLKe.4Kp6tr.ZX.A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2vQUI9BEx.1htkmIYJ5A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R3zE.C3i25aKK79pdz4A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jH0rbnMWpqJSXQxPxjpA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mar8mXOmw.8npPsTZhbA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.Uy0OraQR_KS6tKG0SFA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PLgD_EukZVncuyxZfARA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ixBeDzWV4L20BLQHNFdA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KXhJmI2NiR3BKrbjj8jA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8M2XnprdGFmuWLB41SWg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D8D1YzI5W9GKOiBOAnwQ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haWaF.TR5Asn5wMI9LtA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rt97nhHlLvg4qzUc1YD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XquOIE3fkyi2ody48cdw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OH5Jz_BBo0rDdKJGL8pw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MF5OsHe.1UjFhPFFpnnw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eLF1aTa15FmuD9KS6dag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D_LQEnnlTe2hqS1cL4mw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I1nAE3j9rYueOuNy_EjQ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FppYiufbnXCL_L1mSsmQ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lHHsThJ4md4kRkQUao1w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JrPw7NJsEiUWQCzVsTNg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HGwuLz2TzqSAi0D0il7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.wa.__ivN097UGHVxhqg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kG4sJ3Vcn38XVS_ZZw3g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wjtZy5OIF7qqEEypDVcQ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Qo1aNuRoK6WSGX8yv_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Qo1aNuRoK6WSGX8yv_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Qo1aNuRoK6WSGX8yv_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Qo1aNuRoK6WSGX8yv_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gjm1fHYMOhIrdPwU7zLA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X.HVZatVS1VrAJ5D9ZY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1Velj2wVIdvXXIWH5IfQ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xC_G5F2Am9U9q7Re5_fg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O_UnBFE3D332z2YU5WM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s3wqjCQPiuQcf.3V2VHA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cTXlCwQPee1qa_S.nj1Q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_YhO.jAcZvSGIFgnhMv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Flw9Fn4mi.8BYn7fmwVA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rNoDp4QgvTlimXvxV1Nw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g6RQzQ02mEpCN83Krn.A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TxBAUK1.RW5evnR1w89w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TxBAUK1.RW5evnR1w89w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2IUhoShSLW7WvFtHF3fQ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n69shHx8HlMF9E3wJ7RQ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bTSM4UFIeWJAwpvS5eYw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uWNEq5Ey8SWgfcjM.iSA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Mp4JiSMgHPaxOzUeQNlg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vhothZBJ2YrpssbNa2VA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BAZc1Fi3vya44uH5pD8w"/>
</p:tagLst>
</file>

<file path=ppt/theme/theme1.xml><?xml version="1.0" encoding="utf-8"?>
<a:theme xmlns:a="http://schemas.openxmlformats.org/drawingml/2006/main" name="PwC Smart">
  <a:themeElements>
    <a:clrScheme name="PwC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Smart" id="{EBCEFFED-2F4C-4610-B3D1-C5FEABF08696}" vid="{147AACE8-1487-4472-AA95-F3AF2FAD5022}"/>
    </a:ext>
  </a:extLst>
</a:theme>
</file>

<file path=ppt/theme/theme2.xml><?xml version="1.0" encoding="utf-8"?>
<a:theme xmlns:a="http://schemas.openxmlformats.org/drawingml/2006/main" name="1_PwC Smart">
  <a:themeElements>
    <a:clrScheme name="PwC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Smart" id="{EBCEFFED-2F4C-4610-B3D1-C5FEABF08696}" vid="{147AACE8-1487-4472-AA95-F3AF2FAD5022}"/>
    </a:ext>
  </a:extLst>
</a:theme>
</file>

<file path=ppt/theme/theme3.xml><?xml version="1.0" encoding="utf-8"?>
<a:theme xmlns:a="http://schemas.openxmlformats.org/drawingml/2006/main" name="2_PwC Smart">
  <a:themeElements>
    <a:clrScheme name="PwC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Smart" id="{EBCEFFED-2F4C-4610-B3D1-C5FEABF08696}" vid="{147AACE8-1487-4472-AA95-F3AF2FAD5022}"/>
    </a:ext>
  </a:extLst>
</a:theme>
</file>

<file path=ppt/theme/theme4.xml><?xml version="1.0" encoding="utf-8"?>
<a:theme xmlns:a="http://schemas.openxmlformats.org/drawingml/2006/main" name="3_PwC Smart">
  <a:themeElements>
    <a:clrScheme name="PwC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Smart" id="{EBCEFFED-2F4C-4610-B3D1-C5FEABF08696}" vid="{147AACE8-1487-4472-AA95-F3AF2FAD502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rgbClr val="D04A0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Aft>
            <a:spcPts val="600"/>
          </a:spcAft>
          <a:buSzPct val="100000"/>
          <a:defRPr sz="1600" dirty="0" err="1" smtClean="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16x9 PowerPoint.potx" id="{D4DCA9A9-A671-44E4-915A-C83629F99A90}" vid="{6074E35A-D868-441C-8EFF-8DE4FA24430B}"/>
    </a:ext>
  </a:extLst>
</a:theme>
</file>

<file path=ppt/theme/theme7.xml><?xml version="1.0" encoding="utf-8"?>
<a:theme xmlns:a="http://schemas.openxmlformats.org/drawingml/2006/main" name="2_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resentation1" id="{F263BB68-960B-4111-8EAF-7ABCA2913049}" vid="{623EEB51-A4CC-4CFC-90F3-A67DAF2F600B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DcR_SlideID>e534f36f-2dfc-4b08-9d3a-337bb4f74219</DcR_SlideID>
</file>

<file path=customXml/item10.xml><?xml version="1.0" encoding="utf-8"?>
<DcR_SlideID>ffce969d-6e0b-44f7-b6f2-fb77ac5f7ffc</DcR_SlideID>
</file>

<file path=customXml/item11.xml><?xml version="1.0" encoding="utf-8"?>
<DcR_SlideID>ca274660-b6e6-419f-a63d-0633cff53611</DcR_SlideID>
</file>

<file path=customXml/item12.xml><?xml version="1.0" encoding="utf-8"?>
<DcR_SlideID>8a4b5a62-ba35-4f6d-b5dd-a89750dae290</DcR_SlideID>
</file>

<file path=customXml/item13.xml><?xml version="1.0" encoding="utf-8"?>
<DcR_SlideID>a711f86e-6379-4ea0-a615-b5a4c665697f</DcR_SlideID>
</file>

<file path=customXml/item14.xml><?xml version="1.0" encoding="utf-8"?>
<DcR_SlideID>ace8de8f-54a1-4d1f-9e54-49f56b6e1cd7</DcR_SlideID>
</file>

<file path=customXml/item15.xml><?xml version="1.0" encoding="utf-8"?>
<DcR_SlideID>bbf6e58a-5a93-4dcc-8f87-4ce07fe81a09</DcR_SlideID>
</file>

<file path=customXml/item16.xml><?xml version="1.0" encoding="utf-8"?>
<DcR_SlideID>fefe0bae-817a-4f69-bf04-49bccd2b6357</DcR_SlideID>
</file>

<file path=customXml/item17.xml><?xml version="1.0" encoding="utf-8"?>
<DcR_SlideID>972d74dd-8aab-436e-b3b2-85c46f4a6d0f</DcR_SlideID>
</file>

<file path=customXml/item18.xml><?xml version="1.0" encoding="utf-8"?>
<DcR_SlideID>744dacf9-bc30-48e1-a3bb-2a37151d9292</DcR_SlideID>
</file>

<file path=customXml/item19.xml><?xml version="1.0" encoding="utf-8"?>
<DcR_SlideID>94410e75-28db-4139-815b-77cf9254b60f</DcR_SlideID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F625478DEA614D968EE1EE5C3902FB" ma:contentTypeVersion="16" ma:contentTypeDescription="Create a new document." ma:contentTypeScope="" ma:versionID="c14a4fcb58f38daaaa8b80a6b6b21d32">
  <xsd:schema xmlns:xsd="http://www.w3.org/2001/XMLSchema" xmlns:xs="http://www.w3.org/2001/XMLSchema" xmlns:p="http://schemas.microsoft.com/office/2006/metadata/properties" xmlns:ns3="6ae2becb-1b35-47ed-8600-cadc0c7e851b" xmlns:ns4="109aea68-7353-4d73-8710-7f7efb2c2a6f" targetNamespace="http://schemas.microsoft.com/office/2006/metadata/properties" ma:root="true" ma:fieldsID="a598a5b775107971960c6fb886e8d28f" ns3:_="" ns4:_="">
    <xsd:import namespace="6ae2becb-1b35-47ed-8600-cadc0c7e851b"/>
    <xsd:import namespace="109aea68-7353-4d73-8710-7f7efb2c2a6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  <xsd:element ref="ns3:MediaServiceLocation" minOccurs="0"/>
                <xsd:element ref="ns3:_activity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e2becb-1b35-47ed-8600-cadc0c7e851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9aea68-7353-4d73-8710-7f7efb2c2a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1.xml><?xml version="1.0" encoding="utf-8"?>
<DcR_SlideID>e5cc07f8-0186-4cda-9f84-caaf86abaf2d</DcR_SlideID>
</file>

<file path=customXml/item22.xml><?xml version="1.0" encoding="utf-8"?>
<DcR_SlideID>981b909e-a505-4b8c-84b0-540fb531dc79</DcR_SlideID>
</file>

<file path=customXml/item23.xml><?xml version="1.0" encoding="utf-8"?>
<DcR_SlideID>335696d5-5b1c-46b7-a26a-3fdfe59dd6a6</DcR_SlideID>
</file>

<file path=customXml/item24.xml><?xml version="1.0" encoding="utf-8"?>
<DcR_SlideID>cfbae514-7757-4984-a08a-dbd4f4757582</DcR_SlideID>
</file>

<file path=customXml/item25.xml><?xml version="1.0" encoding="utf-8"?>
<DcR_SlideID>c4e248d0-cec7-4d73-bd77-7ae0a3db58bd</DcR_SlideID>
</file>

<file path=customXml/item26.xml><?xml version="1.0" encoding="utf-8"?>
<DcR_SlideID>938ad693-db7f-4f9b-9528-de4090377bdb</DcR_SlideID>
</file>

<file path=customXml/item27.xml><?xml version="1.0" encoding="utf-8"?>
<DcR_SlideID>ee18a143-e1f6-45c3-ba44-cb6d8f49f230</DcR_SlideID>
</file>

<file path=customXml/item28.xml><?xml version="1.0" encoding="utf-8"?>
<DcR_SlideID>0dd37571-14b6-4ea3-9d7e-45d08afb2533</DcR_SlideID>
</file>

<file path=customXml/item29.xml><?xml version="1.0" encoding="utf-8"?>
<DcR_SlideID>e5030261-0e6e-4cc0-b373-2ed36e4316ea</DcR_SlideID>
</file>

<file path=customXml/item3.xml><?xml version="1.0" encoding="utf-8"?>
<DcR_SlideID>e1e741e4-87db-416a-a87a-bd3ad146398b</DcR_SlideID>
</file>

<file path=customXml/item30.xml><?xml version="1.0" encoding="utf-8"?>
<DcR_SlideID>b7a49e03-dc56-4759-8209-9cb4427ef913</DcR_SlideID>
</file>

<file path=customXml/item31.xml><?xml version="1.0" encoding="utf-8"?>
<DcR_SlideID>28781599-d1b4-4091-8ecc-455fe8742ae8</DcR_SlideID>
</file>

<file path=customXml/item32.xml><?xml version="1.0" encoding="utf-8"?>
<DcR_SlideID>cee28bd4-73b2-416d-8cab-9453159cc4fc</DcR_SlideID>
</file>

<file path=customXml/item3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6ae2becb-1b35-47ed-8600-cadc0c7e851b" xsi:nil="true"/>
  </documentManagement>
</p:properties>
</file>

<file path=customXml/item34.xml><?xml version="1.0" encoding="utf-8"?>
<DcR_SlideID>b8b65443-f43e-4448-a230-79142af6e63f</DcR_SlideID>
</file>

<file path=customXml/item35.xml><?xml version="1.0" encoding="utf-8"?>
<DcR_SlideID>624393b1-c122-46e7-8821-1e19287a7ca5</DcR_SlideID>
</file>

<file path=customXml/item36.xml><?xml version="1.0" encoding="utf-8"?>
<DcR_SlideID>c788551d-9a60-4247-ad18-0ddd2fe87deb</DcR_SlideID>
</file>

<file path=customXml/item37.xml><?xml version="1.0" encoding="utf-8"?>
<DcR_SlideID>72fba399-0505-41b9-9fe3-7aa941ad3a43</DcR_SlideID>
</file>

<file path=customXml/item4.xml><?xml version="1.0" encoding="utf-8"?>
<DcR_SlideID>e40887e9-5a1d-4d7b-bf55-081391b06e06</DcR_SlideID>
</file>

<file path=customXml/item5.xml><?xml version="1.0" encoding="utf-8"?>
<DcR_SlideID>a8b8f9f4-20a1-4d0a-979e-477f1aa0231e</DcR_SlideID>
</file>

<file path=customXml/item6.xml><?xml version="1.0" encoding="utf-8"?>
<DcR_SlideID>ab4bf618-3b17-4e7e-a146-2d335ea4eb42</DcR_SlideID>
</file>

<file path=customXml/item7.xml><?xml version="1.0" encoding="utf-8"?>
<DcR_SlideID>909171fe-b68e-48f3-af13-9f698ee7cc10</DcR_SlideID>
</file>

<file path=customXml/item8.xml><?xml version="1.0" encoding="utf-8"?>
<DcR_SlideID>a1c98a80-d47c-4cb8-bd43-ff0427571893</DcR_SlideID>
</file>

<file path=customXml/item9.xml><?xml version="1.0" encoding="utf-8"?>
<DcR_SlideID>981b909e-a505-4b8c-84b0-540fb531dc79</DcR_SlideID>
</file>

<file path=customXml/itemProps1.xml><?xml version="1.0" encoding="utf-8"?>
<ds:datastoreItem xmlns:ds="http://schemas.openxmlformats.org/officeDocument/2006/customXml" ds:itemID="{CE6407D0-B4AD-458E-999B-D370CEC2B7FA}">
  <ds:schemaRefs/>
</ds:datastoreItem>
</file>

<file path=customXml/itemProps10.xml><?xml version="1.0" encoding="utf-8"?>
<ds:datastoreItem xmlns:ds="http://schemas.openxmlformats.org/officeDocument/2006/customXml" ds:itemID="{090D46AB-581B-4B99-A841-A94F749C1957}">
  <ds:schemaRefs/>
</ds:datastoreItem>
</file>

<file path=customXml/itemProps11.xml><?xml version="1.0" encoding="utf-8"?>
<ds:datastoreItem xmlns:ds="http://schemas.openxmlformats.org/officeDocument/2006/customXml" ds:itemID="{7CCFC231-147C-4D05-8D67-FB7034A23F86}">
  <ds:schemaRefs/>
</ds:datastoreItem>
</file>

<file path=customXml/itemProps12.xml><?xml version="1.0" encoding="utf-8"?>
<ds:datastoreItem xmlns:ds="http://schemas.openxmlformats.org/officeDocument/2006/customXml" ds:itemID="{1927F6BF-1349-4820-8746-E293E6D08711}">
  <ds:schemaRefs/>
</ds:datastoreItem>
</file>

<file path=customXml/itemProps13.xml><?xml version="1.0" encoding="utf-8"?>
<ds:datastoreItem xmlns:ds="http://schemas.openxmlformats.org/officeDocument/2006/customXml" ds:itemID="{E82A236A-DA97-4530-9618-55E30E4BE914}">
  <ds:schemaRefs/>
</ds:datastoreItem>
</file>

<file path=customXml/itemProps14.xml><?xml version="1.0" encoding="utf-8"?>
<ds:datastoreItem xmlns:ds="http://schemas.openxmlformats.org/officeDocument/2006/customXml" ds:itemID="{25D36F56-6BB3-4273-BFB3-21E7BBD1E7A7}">
  <ds:schemaRefs/>
</ds:datastoreItem>
</file>

<file path=customXml/itemProps15.xml><?xml version="1.0" encoding="utf-8"?>
<ds:datastoreItem xmlns:ds="http://schemas.openxmlformats.org/officeDocument/2006/customXml" ds:itemID="{C2EEE2AF-60F1-4A1A-A6C2-2633D2D0022D}">
  <ds:schemaRefs/>
</ds:datastoreItem>
</file>

<file path=customXml/itemProps16.xml><?xml version="1.0" encoding="utf-8"?>
<ds:datastoreItem xmlns:ds="http://schemas.openxmlformats.org/officeDocument/2006/customXml" ds:itemID="{ED3A7CA4-4036-4447-89C1-858225AA60BB}">
  <ds:schemaRefs/>
</ds:datastoreItem>
</file>

<file path=customXml/itemProps17.xml><?xml version="1.0" encoding="utf-8"?>
<ds:datastoreItem xmlns:ds="http://schemas.openxmlformats.org/officeDocument/2006/customXml" ds:itemID="{8EBB72F0-156C-47FE-B59B-6267D228B95D}">
  <ds:schemaRefs/>
</ds:datastoreItem>
</file>

<file path=customXml/itemProps18.xml><?xml version="1.0" encoding="utf-8"?>
<ds:datastoreItem xmlns:ds="http://schemas.openxmlformats.org/officeDocument/2006/customXml" ds:itemID="{8E15A070-C3FB-4EAC-8B94-065BC3D8A3B0}">
  <ds:schemaRefs/>
</ds:datastoreItem>
</file>

<file path=customXml/itemProps19.xml><?xml version="1.0" encoding="utf-8"?>
<ds:datastoreItem xmlns:ds="http://schemas.openxmlformats.org/officeDocument/2006/customXml" ds:itemID="{B15ABA61-5CAB-408C-BFCE-DA3D6C174835}">
  <ds:schemaRefs/>
</ds:datastoreItem>
</file>

<file path=customXml/itemProps2.xml><?xml version="1.0" encoding="utf-8"?>
<ds:datastoreItem xmlns:ds="http://schemas.openxmlformats.org/officeDocument/2006/customXml" ds:itemID="{2D0C0F16-686D-46B4-840F-972057AEB457}">
  <ds:schemaRefs>
    <ds:schemaRef ds:uri="http://schemas.microsoft.com/sharepoint/v3/contenttype/forms"/>
  </ds:schemaRefs>
</ds:datastoreItem>
</file>

<file path=customXml/itemProps20.xml><?xml version="1.0" encoding="utf-8"?>
<ds:datastoreItem xmlns:ds="http://schemas.openxmlformats.org/officeDocument/2006/customXml" ds:itemID="{2706E168-0541-4DDF-BECA-B99E7EBCCF2A}">
  <ds:schemaRefs>
    <ds:schemaRef ds:uri="109aea68-7353-4d73-8710-7f7efb2c2a6f"/>
    <ds:schemaRef ds:uri="6ae2becb-1b35-47ed-8600-cadc0c7e851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1.xml><?xml version="1.0" encoding="utf-8"?>
<ds:datastoreItem xmlns:ds="http://schemas.openxmlformats.org/officeDocument/2006/customXml" ds:itemID="{38DD86AF-9E2C-409C-BC03-F834AA49855A}">
  <ds:schemaRefs/>
</ds:datastoreItem>
</file>

<file path=customXml/itemProps22.xml><?xml version="1.0" encoding="utf-8"?>
<ds:datastoreItem xmlns:ds="http://schemas.openxmlformats.org/officeDocument/2006/customXml" ds:itemID="{28CC8965-7865-41AE-AA1A-97F418E26103}">
  <ds:schemaRefs/>
</ds:datastoreItem>
</file>

<file path=customXml/itemProps23.xml><?xml version="1.0" encoding="utf-8"?>
<ds:datastoreItem xmlns:ds="http://schemas.openxmlformats.org/officeDocument/2006/customXml" ds:itemID="{EC80D4D1-ECDC-43B2-9D18-DF1D2DC89413}">
  <ds:schemaRefs/>
</ds:datastoreItem>
</file>

<file path=customXml/itemProps24.xml><?xml version="1.0" encoding="utf-8"?>
<ds:datastoreItem xmlns:ds="http://schemas.openxmlformats.org/officeDocument/2006/customXml" ds:itemID="{DDB15C9D-CD77-4B1A-8543-3442078D736D}">
  <ds:schemaRefs/>
</ds:datastoreItem>
</file>

<file path=customXml/itemProps25.xml><?xml version="1.0" encoding="utf-8"?>
<ds:datastoreItem xmlns:ds="http://schemas.openxmlformats.org/officeDocument/2006/customXml" ds:itemID="{A4A1E698-C6AF-46CC-B3A4-435625B264B3}">
  <ds:schemaRefs/>
</ds:datastoreItem>
</file>

<file path=customXml/itemProps26.xml><?xml version="1.0" encoding="utf-8"?>
<ds:datastoreItem xmlns:ds="http://schemas.openxmlformats.org/officeDocument/2006/customXml" ds:itemID="{9FE03659-B436-43B6-8A84-3D1B2E8D5AF8}">
  <ds:schemaRefs/>
</ds:datastoreItem>
</file>

<file path=customXml/itemProps27.xml><?xml version="1.0" encoding="utf-8"?>
<ds:datastoreItem xmlns:ds="http://schemas.openxmlformats.org/officeDocument/2006/customXml" ds:itemID="{E5E9407C-9B16-4DD5-869C-C42C7ADA4EA9}">
  <ds:schemaRefs/>
</ds:datastoreItem>
</file>

<file path=customXml/itemProps28.xml><?xml version="1.0" encoding="utf-8"?>
<ds:datastoreItem xmlns:ds="http://schemas.openxmlformats.org/officeDocument/2006/customXml" ds:itemID="{0BEAF839-39BD-4210-8326-CB5F84BC77FF}">
  <ds:schemaRefs/>
</ds:datastoreItem>
</file>

<file path=customXml/itemProps29.xml><?xml version="1.0" encoding="utf-8"?>
<ds:datastoreItem xmlns:ds="http://schemas.openxmlformats.org/officeDocument/2006/customXml" ds:itemID="{4852008C-5D47-4BC1-BCE2-B88C7C8B686D}">
  <ds:schemaRefs/>
</ds:datastoreItem>
</file>

<file path=customXml/itemProps3.xml><?xml version="1.0" encoding="utf-8"?>
<ds:datastoreItem xmlns:ds="http://schemas.openxmlformats.org/officeDocument/2006/customXml" ds:itemID="{22385448-F385-4EFA-842B-E5D7580DC2F7}">
  <ds:schemaRefs/>
</ds:datastoreItem>
</file>

<file path=customXml/itemProps30.xml><?xml version="1.0" encoding="utf-8"?>
<ds:datastoreItem xmlns:ds="http://schemas.openxmlformats.org/officeDocument/2006/customXml" ds:itemID="{03BD4C03-4D49-4D57-810D-AD3715AEBE47}">
  <ds:schemaRefs/>
</ds:datastoreItem>
</file>

<file path=customXml/itemProps31.xml><?xml version="1.0" encoding="utf-8"?>
<ds:datastoreItem xmlns:ds="http://schemas.openxmlformats.org/officeDocument/2006/customXml" ds:itemID="{BE4D2A51-D4D5-47D2-8049-82058923689B}">
  <ds:schemaRefs/>
</ds:datastoreItem>
</file>

<file path=customXml/itemProps32.xml><?xml version="1.0" encoding="utf-8"?>
<ds:datastoreItem xmlns:ds="http://schemas.openxmlformats.org/officeDocument/2006/customXml" ds:itemID="{8DB8B7E3-CF7C-4CD6-8327-7C4F65E48269}">
  <ds:schemaRefs/>
</ds:datastoreItem>
</file>

<file path=customXml/itemProps33.xml><?xml version="1.0" encoding="utf-8"?>
<ds:datastoreItem xmlns:ds="http://schemas.openxmlformats.org/officeDocument/2006/customXml" ds:itemID="{6D5CB940-2B4C-4519-A531-D252B7575F7D}">
  <ds:schemaRefs>
    <ds:schemaRef ds:uri="http://purl.org/dc/elements/1.1/"/>
    <ds:schemaRef ds:uri="http://purl.org/dc/dcmitype/"/>
    <ds:schemaRef ds:uri="http://www.w3.org/XML/1998/namespace"/>
    <ds:schemaRef ds:uri="http://schemas.microsoft.com/office/2006/documentManagement/types"/>
    <ds:schemaRef ds:uri="6ae2becb-1b35-47ed-8600-cadc0c7e851b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109aea68-7353-4d73-8710-7f7efb2c2a6f"/>
  </ds:schemaRefs>
</ds:datastoreItem>
</file>

<file path=customXml/itemProps34.xml><?xml version="1.0" encoding="utf-8"?>
<ds:datastoreItem xmlns:ds="http://schemas.openxmlformats.org/officeDocument/2006/customXml" ds:itemID="{2F720C30-A463-4BBC-8809-6CC0E5C41282}">
  <ds:schemaRefs/>
</ds:datastoreItem>
</file>

<file path=customXml/itemProps35.xml><?xml version="1.0" encoding="utf-8"?>
<ds:datastoreItem xmlns:ds="http://schemas.openxmlformats.org/officeDocument/2006/customXml" ds:itemID="{BD591E7E-A9A0-4E32-B3A4-663D451EF98F}">
  <ds:schemaRefs/>
</ds:datastoreItem>
</file>

<file path=customXml/itemProps36.xml><?xml version="1.0" encoding="utf-8"?>
<ds:datastoreItem xmlns:ds="http://schemas.openxmlformats.org/officeDocument/2006/customXml" ds:itemID="{C7569F19-4D20-47B4-AB57-EBD6A0162491}">
  <ds:schemaRefs/>
</ds:datastoreItem>
</file>

<file path=customXml/itemProps37.xml><?xml version="1.0" encoding="utf-8"?>
<ds:datastoreItem xmlns:ds="http://schemas.openxmlformats.org/officeDocument/2006/customXml" ds:itemID="{3F5C45F6-5F13-4536-A9EB-521092225219}">
  <ds:schemaRefs/>
</ds:datastoreItem>
</file>

<file path=customXml/itemProps4.xml><?xml version="1.0" encoding="utf-8"?>
<ds:datastoreItem xmlns:ds="http://schemas.openxmlformats.org/officeDocument/2006/customXml" ds:itemID="{CDFBA06C-FFCA-4D36-9DAE-B2B2CEC96EF3}">
  <ds:schemaRefs/>
</ds:datastoreItem>
</file>

<file path=customXml/itemProps5.xml><?xml version="1.0" encoding="utf-8"?>
<ds:datastoreItem xmlns:ds="http://schemas.openxmlformats.org/officeDocument/2006/customXml" ds:itemID="{4FC076A8-85B3-437E-8118-B8EA4E848297}">
  <ds:schemaRefs/>
</ds:datastoreItem>
</file>

<file path=customXml/itemProps6.xml><?xml version="1.0" encoding="utf-8"?>
<ds:datastoreItem xmlns:ds="http://schemas.openxmlformats.org/officeDocument/2006/customXml" ds:itemID="{97D00B80-CA6A-44BE-BB70-734704963587}">
  <ds:schemaRefs/>
</ds:datastoreItem>
</file>

<file path=customXml/itemProps7.xml><?xml version="1.0" encoding="utf-8"?>
<ds:datastoreItem xmlns:ds="http://schemas.openxmlformats.org/officeDocument/2006/customXml" ds:itemID="{6D95B0F6-65B3-4B29-88B0-F14CDAAA60B2}">
  <ds:schemaRefs/>
</ds:datastoreItem>
</file>

<file path=customXml/itemProps8.xml><?xml version="1.0" encoding="utf-8"?>
<ds:datastoreItem xmlns:ds="http://schemas.openxmlformats.org/officeDocument/2006/customXml" ds:itemID="{CF1DC6E5-FE59-412A-8BA9-E8C6CE96BF26}">
  <ds:schemaRefs/>
</ds:datastoreItem>
</file>

<file path=customXml/itemProps9.xml><?xml version="1.0" encoding="utf-8"?>
<ds:datastoreItem xmlns:ds="http://schemas.openxmlformats.org/officeDocument/2006/customXml" ds:itemID="{E071B964-18ED-42DD-B366-D8DF79C5243A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46</TotalTime>
  <Words>2940</Words>
  <Application>Microsoft Office PowerPoint</Application>
  <PresentationFormat>Широкоэкранный</PresentationFormat>
  <Paragraphs>556</Paragraphs>
  <Slides>25</Slides>
  <Notes>1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42" baseType="lpstr">
      <vt:lpstr>Arial</vt:lpstr>
      <vt:lpstr>Arial</vt:lpstr>
      <vt:lpstr>Arial </vt:lpstr>
      <vt:lpstr>Calibri</vt:lpstr>
      <vt:lpstr>Calibri Light</vt:lpstr>
      <vt:lpstr>Georgia</vt:lpstr>
      <vt:lpstr>Helvetica Neue</vt:lpstr>
      <vt:lpstr>Times New Roman</vt:lpstr>
      <vt:lpstr>Wingdings</vt:lpstr>
      <vt:lpstr>PwC Smart</vt:lpstr>
      <vt:lpstr>1_PwC Smart</vt:lpstr>
      <vt:lpstr>2_PwC Smart</vt:lpstr>
      <vt:lpstr>3_PwC Smart</vt:lpstr>
      <vt:lpstr>Office Theme</vt:lpstr>
      <vt:lpstr>PwC</vt:lpstr>
      <vt:lpstr>2_PwC</vt:lpstr>
      <vt:lpstr>think-cell Slide</vt:lpstr>
      <vt:lpstr>Презентация PowerPoint</vt:lpstr>
      <vt:lpstr>Повестка дня для обсуждения</vt:lpstr>
      <vt:lpstr>Содержание</vt:lpstr>
      <vt:lpstr>Презентация PowerPoint</vt:lpstr>
      <vt:lpstr>Информация о предыстории проекта и ходе его реализации</vt:lpstr>
      <vt:lpstr>Заинтересованные стороны и основные ресурсы</vt:lpstr>
      <vt:lpstr>Презентация PowerPoint</vt:lpstr>
      <vt:lpstr>Рост двусторонней торговли и производства в Казахстане и Узбекистане</vt:lpstr>
      <vt:lpstr>Нетарифные барьеры между Казахстаном и Узбекистаном</vt:lpstr>
      <vt:lpstr>Обоснование развития МЦПК</vt:lpstr>
      <vt:lpstr>Презентация PowerPoint</vt:lpstr>
      <vt:lpstr>Структура концептуального плана МЦПК</vt:lpstr>
      <vt:lpstr>Обзор предлагаемого участка МЦПК вблизи ППГ Атамекен (Казахстан) – Гулистан (Узбекистан)</vt:lpstr>
      <vt:lpstr>Отрасли, включенные в шорт-лист для развития МЦПК</vt:lpstr>
      <vt:lpstr>Фискальные и нефискальные стимулы для инвесторов</vt:lpstr>
      <vt:lpstr>Институциональная структура МЦПК</vt:lpstr>
      <vt:lpstr>Компоненты МЦПК</vt:lpstr>
      <vt:lpstr>План зонирования в соответствии с двумя предлагаемыми институциональными моделями</vt:lpstr>
      <vt:lpstr>Презентация PowerPoint</vt:lpstr>
      <vt:lpstr>Финансовая оценка</vt:lpstr>
      <vt:lpstr>Презентация PowerPoint</vt:lpstr>
      <vt:lpstr>Инвестиции в инфраструктуру и содействие торговле</vt:lpstr>
      <vt:lpstr>Нормативно-правовая база</vt:lpstr>
      <vt:lpstr>Презентация PowerPoint</vt:lpstr>
      <vt:lpstr>Спасибо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ivani Sharma (IN)</dc:creator>
  <cp:lastModifiedBy>Janna Ustemirova</cp:lastModifiedBy>
  <cp:revision>28</cp:revision>
  <dcterms:created xsi:type="dcterms:W3CDTF">2023-08-14T05:42:59Z</dcterms:created>
  <dcterms:modified xsi:type="dcterms:W3CDTF">2023-09-07T17:41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F625478DEA614D968EE1EE5C3902FB</vt:lpwstr>
  </property>
  <property fmtid="{D5CDD505-2E9C-101B-9397-08002B2CF9AE}" pid="3" name="MSIP_Label_817d4574-7375-4d17-b29c-6e4c6df0fcb0_Enabled">
    <vt:lpwstr>true</vt:lpwstr>
  </property>
  <property fmtid="{D5CDD505-2E9C-101B-9397-08002B2CF9AE}" pid="4" name="MSIP_Label_817d4574-7375-4d17-b29c-6e4c6df0fcb0_SetDate">
    <vt:lpwstr>2023-09-03T02:57:10Z</vt:lpwstr>
  </property>
  <property fmtid="{D5CDD505-2E9C-101B-9397-08002B2CF9AE}" pid="5" name="MSIP_Label_817d4574-7375-4d17-b29c-6e4c6df0fcb0_Method">
    <vt:lpwstr>Standard</vt:lpwstr>
  </property>
  <property fmtid="{D5CDD505-2E9C-101B-9397-08002B2CF9AE}" pid="6" name="MSIP_Label_817d4574-7375-4d17-b29c-6e4c6df0fcb0_Name">
    <vt:lpwstr>ADB Internal</vt:lpwstr>
  </property>
  <property fmtid="{D5CDD505-2E9C-101B-9397-08002B2CF9AE}" pid="7" name="MSIP_Label_817d4574-7375-4d17-b29c-6e4c6df0fcb0_SiteId">
    <vt:lpwstr>9495d6bb-41c2-4c58-848f-92e52cf3d640</vt:lpwstr>
  </property>
  <property fmtid="{D5CDD505-2E9C-101B-9397-08002B2CF9AE}" pid="8" name="MSIP_Label_817d4574-7375-4d17-b29c-6e4c6df0fcb0_ActionId">
    <vt:lpwstr>1c380188-e3ab-4aec-9df6-26a68a159f13</vt:lpwstr>
  </property>
  <property fmtid="{D5CDD505-2E9C-101B-9397-08002B2CF9AE}" pid="9" name="MSIP_Label_817d4574-7375-4d17-b29c-6e4c6df0fcb0_ContentBits">
    <vt:lpwstr>2</vt:lpwstr>
  </property>
</Properties>
</file>